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1.xml" ContentType="application/vnd.openxmlformats-officedocument.drawingml.chartshape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7.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8.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 id="2147483694" r:id="rId5"/>
  </p:sldMasterIdLst>
  <p:notesMasterIdLst>
    <p:notesMasterId r:id="rId44"/>
  </p:notesMasterIdLst>
  <p:handoutMasterIdLst>
    <p:handoutMasterId r:id="rId45"/>
  </p:handoutMasterIdLst>
  <p:sldIdLst>
    <p:sldId id="257" r:id="rId6"/>
    <p:sldId id="457" r:id="rId7"/>
    <p:sldId id="458" r:id="rId8"/>
    <p:sldId id="411" r:id="rId9"/>
    <p:sldId id="459" r:id="rId10"/>
    <p:sldId id="480" r:id="rId11"/>
    <p:sldId id="487" r:id="rId12"/>
    <p:sldId id="485" r:id="rId13"/>
    <p:sldId id="481" r:id="rId14"/>
    <p:sldId id="460" r:id="rId15"/>
    <p:sldId id="462" r:id="rId16"/>
    <p:sldId id="461" r:id="rId17"/>
    <p:sldId id="463" r:id="rId18"/>
    <p:sldId id="300" r:id="rId19"/>
    <p:sldId id="492" r:id="rId20"/>
    <p:sldId id="464" r:id="rId21"/>
    <p:sldId id="465" r:id="rId22"/>
    <p:sldId id="466" r:id="rId23"/>
    <p:sldId id="467" r:id="rId24"/>
    <p:sldId id="343" r:id="rId25"/>
    <p:sldId id="491" r:id="rId26"/>
    <p:sldId id="365" r:id="rId27"/>
    <p:sldId id="472" r:id="rId28"/>
    <p:sldId id="497" r:id="rId29"/>
    <p:sldId id="489" r:id="rId30"/>
    <p:sldId id="363" r:id="rId31"/>
    <p:sldId id="498" r:id="rId32"/>
    <p:sldId id="471" r:id="rId33"/>
    <p:sldId id="477" r:id="rId34"/>
    <p:sldId id="410" r:id="rId35"/>
    <p:sldId id="372" r:id="rId36"/>
    <p:sldId id="495" r:id="rId37"/>
    <p:sldId id="496" r:id="rId38"/>
    <p:sldId id="488" r:id="rId39"/>
    <p:sldId id="447" r:id="rId40"/>
    <p:sldId id="494" r:id="rId41"/>
    <p:sldId id="423" r:id="rId42"/>
    <p:sldId id="269" r:id="rId43"/>
  </p:sldIdLst>
  <p:sldSz cx="9144000" cy="6858000" type="screen4x3"/>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D421935-7B8B-4DCF-8685-6675252BD4FC}">
          <p14:sldIdLst>
            <p14:sldId id="257"/>
            <p14:sldId id="457"/>
            <p14:sldId id="458"/>
            <p14:sldId id="411"/>
            <p14:sldId id="459"/>
            <p14:sldId id="480"/>
            <p14:sldId id="487"/>
            <p14:sldId id="485"/>
            <p14:sldId id="481"/>
            <p14:sldId id="460"/>
            <p14:sldId id="462"/>
            <p14:sldId id="461"/>
            <p14:sldId id="463"/>
            <p14:sldId id="300"/>
            <p14:sldId id="492"/>
            <p14:sldId id="464"/>
            <p14:sldId id="465"/>
            <p14:sldId id="466"/>
            <p14:sldId id="467"/>
            <p14:sldId id="343"/>
            <p14:sldId id="491"/>
            <p14:sldId id="365"/>
            <p14:sldId id="472"/>
            <p14:sldId id="497"/>
            <p14:sldId id="489"/>
            <p14:sldId id="363"/>
            <p14:sldId id="498"/>
            <p14:sldId id="471"/>
            <p14:sldId id="477"/>
            <p14:sldId id="410"/>
            <p14:sldId id="372"/>
            <p14:sldId id="495"/>
            <p14:sldId id="496"/>
            <p14:sldId id="488"/>
            <p14:sldId id="447"/>
            <p14:sldId id="494"/>
          </p14:sldIdLst>
        </p14:section>
        <p14:section name="Appendix II" id="{637EC06D-C748-4995-B51C-F563646E7D51}">
          <p14:sldIdLst>
            <p14:sldId id="423"/>
            <p14:sldId id="26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EC1D1C-9D58-781B-191B-C2E904F2F9F4}" name="Ina Yontchev" initials="IY" userId="S::iyont077@uottawa.ca::cdf1dd4a-e773-4050-b90b-9b7cc8e3ad00" providerId="AD"/>
  <p188:author id="{7E605533-EF5E-2827-EB12-3DCA35CD48E6}" name="Armaan Kumar" initials="AK" userId="S::akuma045@uottawa.ca::a351e95c-5450-4e5f-a2d5-0f74c8f92915" providerId="AD"/>
  <p188:author id="{A5A47948-232B-38B9-BC80-4DE84CCF9065}" name="Juan Pablo Venegas Hernandez" initials="JH" userId="S::jvene054@uottawa.ca::eeafcc6b-adb4-46bd-ace3-cee4a4361241" providerId="AD"/>
  <p188:author id="{3B3BEF54-F0B7-0FFE-2FAD-168DFD18B6CE}" name="Arman Bazarjani" initials="AB" userId="S::abaza094@uottawa.ca::450e03ee-301b-4aeb-9e35-1d972aec6f7b" providerId="AD"/>
  <p188:author id="{C7AB5C79-5BFD-3F85-766E-90E40DB63C1D}" name="andrej v" initials="av" userId="1505bc577df5e002" providerId="Windows Live"/>
  <p188:author id="{4E40727E-A9DA-EA41-95DA-79EA23DDE407}" name="Emerson Swales" initials="ES" userId="S::eswal065@uottawa.ca::ce7fdc21-7b6d-4591-82b5-bc614602bc9f" providerId="AD"/>
  <p188:author id="{440BCEA4-7507-6368-A9C9-E20B12D99369}" name="Aaron Kalala" initials="AK" userId="S::akala014@uottawa.ca::b3ee1fd5-aa31-4996-b6e9-b7b2279ce775" providerId="AD"/>
  <p188:author id="{2BBFA8D2-ADFD-161E-EE25-5460C7C85838}" name="Christian Gillam" initials="CG" userId="S::cgill016@uottawa.ca::178737ef-0014-4dd8-b439-bc02dd9433a1" providerId="AD"/>
  <p188:author id="{387303DD-7820-AFF5-84EA-3B9FC24836A6}" name="Michael Penney" initials="MP" userId="S::mpenn030@uottawa.ca::4f9b80c6-1a49-4d2e-92c5-79759f092c89" providerId="AD"/>
  <p188:author id="{42460EEB-AB0A-7F34-ECA5-198F023F85A5}" name="Marcel Adam Wogrodny" initials="MW" userId="S::mwogr051@uottawa.ca::48c7ee4d-c320-493d-9915-6a4c375b996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arlo Abi-Raad" initials="CA" lastIdx="2" clrIdx="6">
    <p:extLst>
      <p:ext uri="{19B8F6BF-5375-455C-9EA6-DF929625EA0E}">
        <p15:presenceInfo xmlns:p15="http://schemas.microsoft.com/office/powerpoint/2012/main" userId="S::cabir097@uottawa.ca::08fc5628-31e7-49b7-aa1d-2f25a1b05d33" providerId="AD"/>
      </p:ext>
    </p:extLst>
  </p:cmAuthor>
  <p:cmAuthor id="1" name="David MacNeill" initials="DM" lastIdx="5" clrIdx="0">
    <p:extLst>
      <p:ext uri="{19B8F6BF-5375-455C-9EA6-DF929625EA0E}">
        <p15:presenceInfo xmlns:p15="http://schemas.microsoft.com/office/powerpoint/2012/main" userId="David MacNeill" providerId="None"/>
      </p:ext>
    </p:extLst>
  </p:cmAuthor>
  <p:cmAuthor id="8" name="Michael Penney" initials="MP" lastIdx="1" clrIdx="7">
    <p:extLst>
      <p:ext uri="{19B8F6BF-5375-455C-9EA6-DF929625EA0E}">
        <p15:presenceInfo xmlns:p15="http://schemas.microsoft.com/office/powerpoint/2012/main" userId="S::mpenn030@uottawa.ca::4f9b80c6-1a49-4d2e-92c5-79759f092c89" providerId="AD"/>
      </p:ext>
    </p:extLst>
  </p:cmAuthor>
  <p:cmAuthor id="2" name="Aidan Penney" initials="AP" lastIdx="4" clrIdx="1">
    <p:extLst>
      <p:ext uri="{19B8F6BF-5375-455C-9EA6-DF929625EA0E}">
        <p15:presenceInfo xmlns:p15="http://schemas.microsoft.com/office/powerpoint/2012/main" userId="S::apenn007@uottawa.ca::c2e901a8-6863-4e7f-9df4-9419fae65668" providerId="AD"/>
      </p:ext>
    </p:extLst>
  </p:cmAuthor>
  <p:cmAuthor id="9" name="Christian Gillam" initials="CG" lastIdx="1" clrIdx="8">
    <p:extLst>
      <p:ext uri="{19B8F6BF-5375-455C-9EA6-DF929625EA0E}">
        <p15:presenceInfo xmlns:p15="http://schemas.microsoft.com/office/powerpoint/2012/main" userId="S::cgill016@uottawa.ca::178737ef-0014-4dd8-b439-bc02dd9433a1" providerId="AD"/>
      </p:ext>
    </p:extLst>
  </p:cmAuthor>
  <p:cmAuthor id="3" name="Joey Ray Zahr" initials="JZ" lastIdx="19" clrIdx="2">
    <p:extLst>
      <p:ext uri="{19B8F6BF-5375-455C-9EA6-DF929625EA0E}">
        <p15:presenceInfo xmlns:p15="http://schemas.microsoft.com/office/powerpoint/2012/main" userId="S::jzahr092@uottawa.ca::9150008f-b0d5-4c48-a0fe-8b032f63645f" providerId="AD"/>
      </p:ext>
    </p:extLst>
  </p:cmAuthor>
  <p:cmAuthor id="4" name="Armaan Kumar" initials="AK" lastIdx="2" clrIdx="3">
    <p:extLst>
      <p:ext uri="{19B8F6BF-5375-455C-9EA6-DF929625EA0E}">
        <p15:presenceInfo xmlns:p15="http://schemas.microsoft.com/office/powerpoint/2012/main" userId="S::akuma045@uottawa.ca::a351e95c-5450-4e5f-a2d5-0f74c8f92915" providerId="AD"/>
      </p:ext>
    </p:extLst>
  </p:cmAuthor>
  <p:cmAuthor id="5" name="Arman Bazarjani" initials="AB" lastIdx="56" clrIdx="4">
    <p:extLst>
      <p:ext uri="{19B8F6BF-5375-455C-9EA6-DF929625EA0E}">
        <p15:presenceInfo xmlns:p15="http://schemas.microsoft.com/office/powerpoint/2012/main" userId="S::abaza094@uottawa.ca::450e03ee-301b-4aeb-9e35-1d972aec6f7b" providerId="AD"/>
      </p:ext>
    </p:extLst>
  </p:cmAuthor>
  <p:cmAuthor id="6" name="Corey Yuan-Zhen Cao" initials="" lastIdx="16" clrIdx="5">
    <p:extLst>
      <p:ext uri="{19B8F6BF-5375-455C-9EA6-DF929625EA0E}">
        <p15:presenceInfo xmlns:p15="http://schemas.microsoft.com/office/powerpoint/2012/main" userId="S::ccao051@uottawa.ca::894c8f18-9551-4354-8c83-83a52876c7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4462"/>
    <a:srgbClr val="0F3557"/>
    <a:srgbClr val="2E89DB"/>
    <a:srgbClr val="74B1E7"/>
    <a:srgbClr val="0F3555"/>
    <a:srgbClr val="000000"/>
    <a:srgbClr val="081A2C"/>
    <a:srgbClr val="155387"/>
    <a:srgbClr val="E7E8EA"/>
    <a:srgbClr val="0F35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1A7B07-FD07-7854-B994-4B1CE520B57A}" v="35" dt="2025-02-23T19:05:54.577"/>
    <p1510:client id="{67A6DF72-2C1C-6933-8AEF-8A4E25B4BF5D}" v="46" dt="2025-02-24T01:03:14.265"/>
    <p1510:client id="{6C45711C-969E-1644-99D4-4CEB0381AC35}" v="304" dt="2025-02-24T00:43:16.274"/>
    <p1510:client id="{73E285BA-F6B4-4373-8556-D81DEB87AB43}" v="1564" dt="2025-02-24T01:03:01.872"/>
    <p1510:client id="{B1ABC299-FCA9-4C44-96D5-90D8CAAD4DDB}" v="2588" dt="2025-02-24T03:17:38.626"/>
    <p1510:client id="{B25B844D-A5A0-BD44-AAA6-57F1C021F5CC}" v="1" dt="2025-02-22T23:21:31.070"/>
    <p1510:client id="{EC7B9931-DA63-B74B-B31F-12D643B06E75}" v="648" dt="2025-02-23T19:10:00.938"/>
    <p1510:client id="{F79CD802-B2A1-44BD-BA9C-99B158E081A5}" v="57" dt="2025-02-24T02:58:44.3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man Bazarjani" userId="450e03ee-301b-4aeb-9e35-1d972aec6f7b" providerId="ADAL" clId="{E5832C15-BD99-4F31-A9A9-593E9998873B}"/>
    <pc:docChg chg="custSel addSld modSld modSection">
      <pc:chgData name="Arman Bazarjani" userId="450e03ee-301b-4aeb-9e35-1d972aec6f7b" providerId="ADAL" clId="{E5832C15-BD99-4F31-A9A9-593E9998873B}" dt="2025-02-22T03:35:18.487" v="135"/>
      <pc:docMkLst>
        <pc:docMk/>
      </pc:docMkLst>
      <pc:sldChg chg="addSp modSp mod">
        <pc:chgData name="Arman Bazarjani" userId="450e03ee-301b-4aeb-9e35-1d972aec6f7b" providerId="ADAL" clId="{E5832C15-BD99-4F31-A9A9-593E9998873B}" dt="2025-02-20T22:50:25.473" v="61" actId="1076"/>
        <pc:sldMkLst>
          <pc:docMk/>
          <pc:sldMk cId="395644326" sldId="300"/>
        </pc:sldMkLst>
        <pc:spChg chg="add mod">
          <ac:chgData name="Arman Bazarjani" userId="450e03ee-301b-4aeb-9e35-1d972aec6f7b" providerId="ADAL" clId="{E5832C15-BD99-4F31-A9A9-593E9998873B}" dt="2025-02-20T22:49:43.021" v="58" actId="1076"/>
          <ac:spMkLst>
            <pc:docMk/>
            <pc:sldMk cId="395644326" sldId="300"/>
            <ac:spMk id="7" creationId="{3A11754A-72C6-BCE5-0758-B3C6FB044A57}"/>
          </ac:spMkLst>
        </pc:spChg>
        <pc:graphicFrameChg chg="mod">
          <ac:chgData name="Arman Bazarjani" userId="450e03ee-301b-4aeb-9e35-1d972aec6f7b" providerId="ADAL" clId="{E5832C15-BD99-4F31-A9A9-593E9998873B}" dt="2025-02-20T22:50:21.618" v="60" actId="1076"/>
          <ac:graphicFrameMkLst>
            <pc:docMk/>
            <pc:sldMk cId="395644326" sldId="300"/>
            <ac:graphicFrameMk id="9" creationId="{3165235C-75C7-B1FD-4877-9CA4A6AFDA82}"/>
          </ac:graphicFrameMkLst>
        </pc:graphicFrameChg>
        <pc:graphicFrameChg chg="mod modGraphic">
          <ac:chgData name="Arman Bazarjani" userId="450e03ee-301b-4aeb-9e35-1d972aec6f7b" providerId="ADAL" clId="{E5832C15-BD99-4F31-A9A9-593E9998873B}" dt="2025-02-20T22:50:25.473" v="61" actId="1076"/>
          <ac:graphicFrameMkLst>
            <pc:docMk/>
            <pc:sldMk cId="395644326" sldId="300"/>
            <ac:graphicFrameMk id="57" creationId="{1D348BF6-1B53-ADC8-1C17-20735900F53B}"/>
          </ac:graphicFrameMkLst>
        </pc:graphicFrameChg>
      </pc:sldChg>
      <pc:sldChg chg="modCm">
        <pc:chgData name="Arman Bazarjani" userId="450e03ee-301b-4aeb-9e35-1d972aec6f7b" providerId="ADAL" clId="{E5832C15-BD99-4F31-A9A9-593E9998873B}" dt="2025-02-20T22:50:58.228" v="62"/>
        <pc:sldMkLst>
          <pc:docMk/>
          <pc:sldMk cId="3057897574" sldId="305"/>
        </pc:sldMkLst>
      </pc:sldChg>
      <pc:sldChg chg="modCm">
        <pc:chgData name="Arman Bazarjani" userId="450e03ee-301b-4aeb-9e35-1d972aec6f7b" providerId="ADAL" clId="{E5832C15-BD99-4F31-A9A9-593E9998873B}" dt="2025-02-20T23:03:24.210" v="131"/>
        <pc:sldMkLst>
          <pc:docMk/>
          <pc:sldMk cId="131303031" sldId="343"/>
        </pc:sldMkLst>
      </pc:sldChg>
      <pc:sldChg chg="modCm">
        <pc:chgData name="Arman Bazarjani" userId="450e03ee-301b-4aeb-9e35-1d972aec6f7b" providerId="ADAL" clId="{E5832C15-BD99-4F31-A9A9-593E9998873B}" dt="2025-02-20T21:49:57.849" v="38"/>
        <pc:sldMkLst>
          <pc:docMk/>
          <pc:sldMk cId="3362839997" sldId="365"/>
        </pc:sldMkLst>
      </pc:sldChg>
      <pc:sldChg chg="modCm">
        <pc:chgData name="Arman Bazarjani" userId="450e03ee-301b-4aeb-9e35-1d972aec6f7b" providerId="ADAL" clId="{E5832C15-BD99-4F31-A9A9-593E9998873B}" dt="2025-02-20T19:52:45.660" v="18"/>
        <pc:sldMkLst>
          <pc:docMk/>
          <pc:sldMk cId="1717628978" sldId="372"/>
        </pc:sldMkLst>
      </pc:sldChg>
      <pc:sldChg chg="modSp mod modCm">
        <pc:chgData name="Arman Bazarjani" userId="450e03ee-301b-4aeb-9e35-1d972aec6f7b" providerId="ADAL" clId="{E5832C15-BD99-4F31-A9A9-593E9998873B}" dt="2025-02-20T21:51:08.888" v="40"/>
        <pc:sldMkLst>
          <pc:docMk/>
          <pc:sldMk cId="4052889244" sldId="411"/>
        </pc:sldMkLst>
        <pc:graphicFrameChg chg="modGraphic">
          <ac:chgData name="Arman Bazarjani" userId="450e03ee-301b-4aeb-9e35-1d972aec6f7b" providerId="ADAL" clId="{E5832C15-BD99-4F31-A9A9-593E9998873B}" dt="2025-02-20T19:55:19.144" v="25" actId="20577"/>
          <ac:graphicFrameMkLst>
            <pc:docMk/>
            <pc:sldMk cId="4052889244" sldId="411"/>
            <ac:graphicFrameMk id="3" creationId="{C4869B7A-28D2-4087-CA6E-FC5C3C806D0D}"/>
          </ac:graphicFrameMkLst>
        </pc:graphicFrameChg>
      </pc:sldChg>
      <pc:sldChg chg="modSp modCm">
        <pc:chgData name="Arman Bazarjani" userId="450e03ee-301b-4aeb-9e35-1d972aec6f7b" providerId="ADAL" clId="{E5832C15-BD99-4F31-A9A9-593E9998873B}" dt="2025-02-20T19:49:38.430" v="9" actId="255"/>
        <pc:sldMkLst>
          <pc:docMk/>
          <pc:sldMk cId="4018175131" sldId="461"/>
        </pc:sldMkLst>
      </pc:sldChg>
      <pc:sldChg chg="modCm">
        <pc:chgData name="Arman Bazarjani" userId="450e03ee-301b-4aeb-9e35-1d972aec6f7b" providerId="ADAL" clId="{E5832C15-BD99-4F31-A9A9-593E9998873B}" dt="2025-02-20T19:49:20.027" v="7"/>
        <pc:sldMkLst>
          <pc:docMk/>
          <pc:sldMk cId="3458094001" sldId="462"/>
        </pc:sldMkLst>
      </pc:sldChg>
      <pc:sldChg chg="modSp mod modCm">
        <pc:chgData name="Arman Bazarjani" userId="450e03ee-301b-4aeb-9e35-1d972aec6f7b" providerId="ADAL" clId="{E5832C15-BD99-4F31-A9A9-593E9998873B}" dt="2025-02-20T22:58:47.627" v="128"/>
        <pc:sldMkLst>
          <pc:docMk/>
          <pc:sldMk cId="1573245639" sldId="465"/>
        </pc:sldMkLst>
      </pc:sldChg>
      <pc:sldChg chg="modSp mod modCm">
        <pc:chgData name="Arman Bazarjani" userId="450e03ee-301b-4aeb-9e35-1d972aec6f7b" providerId="ADAL" clId="{E5832C15-BD99-4F31-A9A9-593E9998873B}" dt="2025-02-20T22:59:39.147" v="129"/>
        <pc:sldMkLst>
          <pc:docMk/>
          <pc:sldMk cId="3029556874" sldId="466"/>
        </pc:sldMkLst>
      </pc:sldChg>
      <pc:sldChg chg="modCm">
        <pc:chgData name="Arman Bazarjani" userId="450e03ee-301b-4aeb-9e35-1d972aec6f7b" providerId="ADAL" clId="{E5832C15-BD99-4F31-A9A9-593E9998873B}" dt="2025-02-22T03:35:18.487" v="135"/>
        <pc:sldMkLst>
          <pc:docMk/>
          <pc:sldMk cId="2111688645" sldId="470"/>
        </pc:sldMkLst>
      </pc:sldChg>
      <pc:sldChg chg="modCm">
        <pc:chgData name="Arman Bazarjani" userId="450e03ee-301b-4aeb-9e35-1d972aec6f7b" providerId="ADAL" clId="{E5832C15-BD99-4F31-A9A9-593E9998873B}" dt="2025-02-20T20:02:16.747" v="36"/>
        <pc:sldMkLst>
          <pc:docMk/>
          <pc:sldMk cId="1572324154" sldId="473"/>
        </pc:sldMkLst>
      </pc:sldChg>
      <pc:sldChg chg="modSp mod modCm">
        <pc:chgData name="Arman Bazarjani" userId="450e03ee-301b-4aeb-9e35-1d972aec6f7b" providerId="ADAL" clId="{E5832C15-BD99-4F31-A9A9-593E9998873B}" dt="2025-02-20T22:45:49.616" v="48" actId="255"/>
        <pc:sldMkLst>
          <pc:docMk/>
          <pc:sldMk cId="2904048250" sldId="480"/>
        </pc:sldMkLst>
        <pc:spChg chg="mod">
          <ac:chgData name="Arman Bazarjani" userId="450e03ee-301b-4aeb-9e35-1d972aec6f7b" providerId="ADAL" clId="{E5832C15-BD99-4F31-A9A9-593E9998873B}" dt="2025-02-20T22:43:41.018" v="41" actId="20577"/>
          <ac:spMkLst>
            <pc:docMk/>
            <pc:sldMk cId="2904048250" sldId="480"/>
            <ac:spMk id="6" creationId="{6D621F5C-0A0B-AD13-B1A9-021DF7A92231}"/>
          </ac:spMkLst>
        </pc:spChg>
      </pc:sldChg>
      <pc:sldChg chg="modSp mod modCm">
        <pc:chgData name="Arman Bazarjani" userId="450e03ee-301b-4aeb-9e35-1d972aec6f7b" providerId="ADAL" clId="{E5832C15-BD99-4F31-A9A9-593E9998873B}" dt="2025-02-20T20:00:00.932" v="35"/>
        <pc:sldMkLst>
          <pc:docMk/>
          <pc:sldMk cId="579433030" sldId="481"/>
        </pc:sldMkLst>
        <pc:spChg chg="mod">
          <ac:chgData name="Arman Bazarjani" userId="450e03ee-301b-4aeb-9e35-1d972aec6f7b" providerId="ADAL" clId="{E5832C15-BD99-4F31-A9A9-593E9998873B}" dt="2025-02-20T19:58:57.953" v="33" actId="20577"/>
          <ac:spMkLst>
            <pc:docMk/>
            <pc:sldMk cId="579433030" sldId="481"/>
            <ac:spMk id="11" creationId="{B0434A7E-E35C-23B0-292F-F55553CFA903}"/>
          </ac:spMkLst>
        </pc:spChg>
      </pc:sldChg>
      <pc:sldChg chg="modCm">
        <pc:chgData name="Arman Bazarjani" userId="450e03ee-301b-4aeb-9e35-1d972aec6f7b" providerId="ADAL" clId="{E5832C15-BD99-4F31-A9A9-593E9998873B}" dt="2025-02-20T19:48:56.517" v="6"/>
        <pc:sldMkLst>
          <pc:docMk/>
          <pc:sldMk cId="1162722854" sldId="482"/>
        </pc:sldMkLst>
      </pc:sldChg>
      <pc:sldChg chg="modCm">
        <pc:chgData name="Arman Bazarjani" userId="450e03ee-301b-4aeb-9e35-1d972aec6f7b" providerId="ADAL" clId="{E5832C15-BD99-4F31-A9A9-593E9998873B}" dt="2025-02-20T19:56:20.803" v="27"/>
        <pc:sldMkLst>
          <pc:docMk/>
          <pc:sldMk cId="2215148334" sldId="485"/>
        </pc:sldMkLst>
      </pc:sldChg>
      <pc:sldChg chg="modCm">
        <pc:chgData name="Arman Bazarjani" userId="450e03ee-301b-4aeb-9e35-1d972aec6f7b" providerId="ADAL" clId="{E5832C15-BD99-4F31-A9A9-593E9998873B}" dt="2025-02-20T19:58:42.877" v="31"/>
        <pc:sldMkLst>
          <pc:docMk/>
          <pc:sldMk cId="364820169" sldId="487"/>
        </pc:sldMkLst>
      </pc:sldChg>
      <pc:sldChg chg="modCm">
        <pc:chgData name="Arman Bazarjani" userId="450e03ee-301b-4aeb-9e35-1d972aec6f7b" providerId="ADAL" clId="{E5832C15-BD99-4F31-A9A9-593E9998873B}" dt="2025-02-20T19:53:50.332" v="21"/>
        <pc:sldMkLst>
          <pc:docMk/>
          <pc:sldMk cId="3305817542" sldId="489"/>
        </pc:sldMkLst>
      </pc:sldChg>
      <pc:sldChg chg="modCm">
        <pc:chgData name="Arman Bazarjani" userId="450e03ee-301b-4aeb-9e35-1d972aec6f7b" providerId="ADAL" clId="{E5832C15-BD99-4F31-A9A9-593E9998873B}" dt="2025-02-20T19:53:01.931" v="19"/>
        <pc:sldMkLst>
          <pc:docMk/>
          <pc:sldMk cId="2749295762" sldId="490"/>
        </pc:sldMkLst>
      </pc:sldChg>
      <pc:sldChg chg="addSp delSp modSp new mod modCm">
        <pc:chgData name="Arman Bazarjani" userId="450e03ee-301b-4aeb-9e35-1d972aec6f7b" providerId="ADAL" clId="{E5832C15-BD99-4F31-A9A9-593E9998873B}" dt="2025-02-21T22:20:37.994" v="134" actId="478"/>
        <pc:sldMkLst>
          <pc:docMk/>
          <pc:sldMk cId="3223544848" sldId="492"/>
        </pc:sldMkLst>
        <pc:spChg chg="mod">
          <ac:chgData name="Arman Bazarjani" userId="450e03ee-301b-4aeb-9e35-1d972aec6f7b" providerId="ADAL" clId="{E5832C15-BD99-4F31-A9A9-593E9998873B}" dt="2025-02-21T22:20:34.537" v="133" actId="20577"/>
          <ac:spMkLst>
            <pc:docMk/>
            <pc:sldMk cId="3223544848" sldId="492"/>
            <ac:spMk id="2" creationId="{94761DA7-7BB9-0D68-683D-DC213CC0DFC2}"/>
          </ac:spMkLst>
        </pc:spChg>
        <pc:spChg chg="mod">
          <ac:chgData name="Arman Bazarjani" userId="450e03ee-301b-4aeb-9e35-1d972aec6f7b" providerId="ADAL" clId="{E5832C15-BD99-4F31-A9A9-593E9998873B}" dt="2025-02-20T22:51:18.658" v="91" actId="20577"/>
          <ac:spMkLst>
            <pc:docMk/>
            <pc:sldMk cId="3223544848" sldId="492"/>
            <ac:spMk id="3" creationId="{F239DFE9-552A-23B2-0948-32835BF64730}"/>
          </ac:spMkLst>
        </pc:spChg>
        <pc:spChg chg="mod">
          <ac:chgData name="Arman Bazarjani" userId="450e03ee-301b-4aeb-9e35-1d972aec6f7b" providerId="ADAL" clId="{E5832C15-BD99-4F31-A9A9-593E9998873B}" dt="2025-02-20T22:51:12.906" v="72" actId="20577"/>
          <ac:spMkLst>
            <pc:docMk/>
            <pc:sldMk cId="3223544848" sldId="492"/>
            <ac:spMk id="4" creationId="{6E1E23E1-BB90-0F87-512E-303562EF4368}"/>
          </ac:spMkLst>
        </pc:spChg>
        <pc:spChg chg="mod">
          <ac:chgData name="Arman Bazarjani" userId="450e03ee-301b-4aeb-9e35-1d972aec6f7b" providerId="ADAL" clId="{E5832C15-BD99-4F31-A9A9-593E9998873B}" dt="2025-02-20T22:51:30.514" v="112" actId="20577"/>
          <ac:spMkLst>
            <pc:docMk/>
            <pc:sldMk cId="3223544848" sldId="492"/>
            <ac:spMk id="5" creationId="{B19017A5-2AE3-28B3-CDFB-22D93047520F}"/>
          </ac:spMkLst>
        </pc:spChg>
        <pc:spChg chg="mod">
          <ac:chgData name="Arman Bazarjani" userId="450e03ee-301b-4aeb-9e35-1d972aec6f7b" providerId="ADAL" clId="{E5832C15-BD99-4F31-A9A9-593E9998873B}" dt="2025-02-20T22:51:23.299" v="105" actId="20577"/>
          <ac:spMkLst>
            <pc:docMk/>
            <pc:sldMk cId="3223544848" sldId="492"/>
            <ac:spMk id="7" creationId="{D4B0CF55-D7B1-1CAE-C504-077C1CA3A13B}"/>
          </ac:spMkLst>
        </pc:spChg>
        <pc:spChg chg="add mod">
          <ac:chgData name="Arman Bazarjani" userId="450e03ee-301b-4aeb-9e35-1d972aec6f7b" providerId="ADAL" clId="{E5832C15-BD99-4F31-A9A9-593E9998873B}" dt="2025-02-20T22:51:49.044" v="117" actId="255"/>
          <ac:spMkLst>
            <pc:docMk/>
            <pc:sldMk cId="3223544848" sldId="492"/>
            <ac:spMk id="9" creationId="{3A83B4C6-0D10-8792-4C27-43B36728DF9E}"/>
          </ac:spMkLst>
        </pc:spChg>
        <pc:spChg chg="add mod">
          <ac:chgData name="Arman Bazarjani" userId="450e03ee-301b-4aeb-9e35-1d972aec6f7b" providerId="ADAL" clId="{E5832C15-BD99-4F31-A9A9-593E9998873B}" dt="2025-02-20T22:51:49.044" v="117" actId="255"/>
          <ac:spMkLst>
            <pc:docMk/>
            <pc:sldMk cId="3223544848" sldId="492"/>
            <ac:spMk id="10" creationId="{808E3B31-0AA9-9C92-637C-8CD6F708AA7E}"/>
          </ac:spMkLst>
        </pc:spChg>
        <pc:spChg chg="add mod">
          <ac:chgData name="Arman Bazarjani" userId="450e03ee-301b-4aeb-9e35-1d972aec6f7b" providerId="ADAL" clId="{E5832C15-BD99-4F31-A9A9-593E9998873B}" dt="2025-02-20T22:51:49.044" v="117" actId="255"/>
          <ac:spMkLst>
            <pc:docMk/>
            <pc:sldMk cId="3223544848" sldId="492"/>
            <ac:spMk id="11" creationId="{21B135DF-EE58-C7DA-0E2F-7E34EFBE790C}"/>
          </ac:spMkLst>
        </pc:spChg>
        <pc:spChg chg="add mod">
          <ac:chgData name="Arman Bazarjani" userId="450e03ee-301b-4aeb-9e35-1d972aec6f7b" providerId="ADAL" clId="{E5832C15-BD99-4F31-A9A9-593E9998873B}" dt="2025-02-20T22:51:49.044" v="117" actId="255"/>
          <ac:spMkLst>
            <pc:docMk/>
            <pc:sldMk cId="3223544848" sldId="492"/>
            <ac:spMk id="12" creationId="{CEC2F80C-9C5D-9D96-740A-04A98902D5F9}"/>
          </ac:spMkLst>
        </pc:spChg>
        <pc:spChg chg="add mod">
          <ac:chgData name="Arman Bazarjani" userId="450e03ee-301b-4aeb-9e35-1d972aec6f7b" providerId="ADAL" clId="{E5832C15-BD99-4F31-A9A9-593E9998873B}" dt="2025-02-20T22:51:49.044" v="117" actId="255"/>
          <ac:spMkLst>
            <pc:docMk/>
            <pc:sldMk cId="3223544848" sldId="492"/>
            <ac:spMk id="13" creationId="{7F2D9661-1366-EF06-2ABF-2FBCCDDFFBEA}"/>
          </ac:spMkLst>
        </pc:spChg>
        <pc:spChg chg="add mod">
          <ac:chgData name="Arman Bazarjani" userId="450e03ee-301b-4aeb-9e35-1d972aec6f7b" providerId="ADAL" clId="{E5832C15-BD99-4F31-A9A9-593E9998873B}" dt="2025-02-20T22:51:49.044" v="117" actId="255"/>
          <ac:spMkLst>
            <pc:docMk/>
            <pc:sldMk cId="3223544848" sldId="492"/>
            <ac:spMk id="14" creationId="{FEA3D206-52E8-B71E-5BF0-8F1DF368A6BD}"/>
          </ac:spMkLst>
        </pc:spChg>
      </pc:sldChg>
    </pc:docChg>
  </pc:docChgLst>
  <pc:docChgLst>
    <pc:chgData name="Corey Yuan-Zhen Cao" userId="894c8f18-9551-4354-8c83-83a52876c78b" providerId="ADAL" clId="{F79CD802-B2A1-44BD-BA9C-99B158E081A5}"/>
    <pc:docChg chg="undo custSel modSld sldOrd">
      <pc:chgData name="Corey Yuan-Zhen Cao" userId="894c8f18-9551-4354-8c83-83a52876c78b" providerId="ADAL" clId="{F79CD802-B2A1-44BD-BA9C-99B158E081A5}" dt="2025-02-24T18:07:15.936" v="231"/>
      <pc:docMkLst>
        <pc:docMk/>
      </pc:docMkLst>
      <pc:sldChg chg="modSp mod">
        <pc:chgData name="Corey Yuan-Zhen Cao" userId="894c8f18-9551-4354-8c83-83a52876c78b" providerId="ADAL" clId="{F79CD802-B2A1-44BD-BA9C-99B158E081A5}" dt="2025-02-24T00:37:04.126" v="6" actId="20577"/>
        <pc:sldMkLst>
          <pc:docMk/>
          <pc:sldMk cId="2014744420" sldId="257"/>
        </pc:sldMkLst>
        <pc:spChg chg="mod">
          <ac:chgData name="Corey Yuan-Zhen Cao" userId="894c8f18-9551-4354-8c83-83a52876c78b" providerId="ADAL" clId="{F79CD802-B2A1-44BD-BA9C-99B158E081A5}" dt="2025-02-24T00:37:04.126" v="6" actId="20577"/>
          <ac:spMkLst>
            <pc:docMk/>
            <pc:sldMk cId="2014744420" sldId="257"/>
            <ac:spMk id="2" creationId="{08B31F13-B41B-876B-D1BD-EE75CD2E1EFC}"/>
          </ac:spMkLst>
        </pc:spChg>
      </pc:sldChg>
      <pc:sldChg chg="modSp mod">
        <pc:chgData name="Corey Yuan-Zhen Cao" userId="894c8f18-9551-4354-8c83-83a52876c78b" providerId="ADAL" clId="{F79CD802-B2A1-44BD-BA9C-99B158E081A5}" dt="2025-02-24T02:21:22.606" v="114" actId="20577"/>
        <pc:sldMkLst>
          <pc:docMk/>
          <pc:sldMk cId="131303031" sldId="343"/>
        </pc:sldMkLst>
        <pc:spChg chg="mod">
          <ac:chgData name="Corey Yuan-Zhen Cao" userId="894c8f18-9551-4354-8c83-83a52876c78b" providerId="ADAL" clId="{F79CD802-B2A1-44BD-BA9C-99B158E081A5}" dt="2025-02-24T02:21:22.606" v="114" actId="20577"/>
          <ac:spMkLst>
            <pc:docMk/>
            <pc:sldMk cId="131303031" sldId="343"/>
            <ac:spMk id="6" creationId="{698676A5-5EF0-D457-9967-E2B0F64E36A5}"/>
          </ac:spMkLst>
        </pc:spChg>
      </pc:sldChg>
      <pc:sldChg chg="modSp mod">
        <pc:chgData name="Corey Yuan-Zhen Cao" userId="894c8f18-9551-4354-8c83-83a52876c78b" providerId="ADAL" clId="{F79CD802-B2A1-44BD-BA9C-99B158E081A5}" dt="2025-02-24T17:42:30.466" v="229" actId="20577"/>
        <pc:sldMkLst>
          <pc:docMk/>
          <pc:sldMk cId="1028352504" sldId="363"/>
        </pc:sldMkLst>
        <pc:graphicFrameChg chg="modGraphic">
          <ac:chgData name="Corey Yuan-Zhen Cao" userId="894c8f18-9551-4354-8c83-83a52876c78b" providerId="ADAL" clId="{F79CD802-B2A1-44BD-BA9C-99B158E081A5}" dt="2025-02-24T17:42:30.466" v="229" actId="20577"/>
          <ac:graphicFrameMkLst>
            <pc:docMk/>
            <pc:sldMk cId="1028352504" sldId="363"/>
            <ac:graphicFrameMk id="6" creationId="{1E67A446-4B29-969E-B87E-3F3F7B241D63}"/>
          </ac:graphicFrameMkLst>
        </pc:graphicFrameChg>
      </pc:sldChg>
      <pc:sldChg chg="modSp mod">
        <pc:chgData name="Corey Yuan-Zhen Cao" userId="894c8f18-9551-4354-8c83-83a52876c78b" providerId="ADAL" clId="{F79CD802-B2A1-44BD-BA9C-99B158E081A5}" dt="2025-02-24T06:59:37.791" v="202" actId="20577"/>
        <pc:sldMkLst>
          <pc:docMk/>
          <pc:sldMk cId="3362839997" sldId="365"/>
        </pc:sldMkLst>
        <pc:graphicFrameChg chg="mod modGraphic">
          <ac:chgData name="Corey Yuan-Zhen Cao" userId="894c8f18-9551-4354-8c83-83a52876c78b" providerId="ADAL" clId="{F79CD802-B2A1-44BD-BA9C-99B158E081A5}" dt="2025-02-24T06:59:21.116" v="190" actId="122"/>
          <ac:graphicFrameMkLst>
            <pc:docMk/>
            <pc:sldMk cId="3362839997" sldId="365"/>
            <ac:graphicFrameMk id="3" creationId="{C5428B4A-019E-BEDB-82BA-5AD952B4C2F7}"/>
          </ac:graphicFrameMkLst>
        </pc:graphicFrameChg>
        <pc:graphicFrameChg chg="modGraphic">
          <ac:chgData name="Corey Yuan-Zhen Cao" userId="894c8f18-9551-4354-8c83-83a52876c78b" providerId="ADAL" clId="{F79CD802-B2A1-44BD-BA9C-99B158E081A5}" dt="2025-02-24T06:59:37.791" v="202" actId="20577"/>
          <ac:graphicFrameMkLst>
            <pc:docMk/>
            <pc:sldMk cId="3362839997" sldId="365"/>
            <ac:graphicFrameMk id="7" creationId="{4754AC75-BED6-6ED6-5C12-800EBB2E1C01}"/>
          </ac:graphicFrameMkLst>
        </pc:graphicFrameChg>
        <pc:graphicFrameChg chg="modGraphic">
          <ac:chgData name="Corey Yuan-Zhen Cao" userId="894c8f18-9551-4354-8c83-83a52876c78b" providerId="ADAL" clId="{F79CD802-B2A1-44BD-BA9C-99B158E081A5}" dt="2025-02-24T01:56:00.491" v="104" actId="20577"/>
          <ac:graphicFrameMkLst>
            <pc:docMk/>
            <pc:sldMk cId="3362839997" sldId="365"/>
            <ac:graphicFrameMk id="11" creationId="{1DD65CFC-7F1F-9252-C9EA-3DD79959499D}"/>
          </ac:graphicFrameMkLst>
        </pc:graphicFrameChg>
      </pc:sldChg>
      <pc:sldChg chg="modSp mod ord">
        <pc:chgData name="Corey Yuan-Zhen Cao" userId="894c8f18-9551-4354-8c83-83a52876c78b" providerId="ADAL" clId="{F79CD802-B2A1-44BD-BA9C-99B158E081A5}" dt="2025-02-24T02:50:10.624" v="139" actId="20577"/>
        <pc:sldMkLst>
          <pc:docMk/>
          <pc:sldMk cId="1717628978" sldId="372"/>
        </pc:sldMkLst>
        <pc:spChg chg="mod">
          <ac:chgData name="Corey Yuan-Zhen Cao" userId="894c8f18-9551-4354-8c83-83a52876c78b" providerId="ADAL" clId="{F79CD802-B2A1-44BD-BA9C-99B158E081A5}" dt="2025-02-24T02:50:10.624" v="139" actId="20577"/>
          <ac:spMkLst>
            <pc:docMk/>
            <pc:sldMk cId="1717628978" sldId="372"/>
            <ac:spMk id="4" creationId="{05A12222-6E57-4959-7421-2F8929E87FC5}"/>
          </ac:spMkLst>
        </pc:spChg>
      </pc:sldChg>
      <pc:sldChg chg="modSp mod modCm">
        <pc:chgData name="Corey Yuan-Zhen Cao" userId="894c8f18-9551-4354-8c83-83a52876c78b" providerId="ADAL" clId="{F79CD802-B2A1-44BD-BA9C-99B158E081A5}" dt="2025-02-24T18:07:15.936" v="231"/>
        <pc:sldMkLst>
          <pc:docMk/>
          <pc:sldMk cId="4052889244" sldId="411"/>
        </pc:sldMkLst>
        <pc:spChg chg="mod">
          <ac:chgData name="Corey Yuan-Zhen Cao" userId="894c8f18-9551-4354-8c83-83a52876c78b" providerId="ADAL" clId="{F79CD802-B2A1-44BD-BA9C-99B158E081A5}" dt="2025-02-24T06:58:37.151" v="186" actId="20577"/>
          <ac:spMkLst>
            <pc:docMk/>
            <pc:sldMk cId="4052889244" sldId="411"/>
            <ac:spMk id="15" creationId="{C48A4E1E-E808-D5A5-9D33-88CA8F60389A}"/>
          </ac:spMkLst>
        </pc:spChg>
        <pc:graphicFrameChg chg="modGraphic">
          <ac:chgData name="Corey Yuan-Zhen Cao" userId="894c8f18-9551-4354-8c83-83a52876c78b" providerId="ADAL" clId="{F79CD802-B2A1-44BD-BA9C-99B158E081A5}" dt="2025-02-24T06:58:29.530" v="176" actId="20577"/>
          <ac:graphicFrameMkLst>
            <pc:docMk/>
            <pc:sldMk cId="4052889244" sldId="411"/>
            <ac:graphicFrameMk id="3" creationId="{C4869B7A-28D2-4087-CA6E-FC5C3C806D0D}"/>
          </ac:graphicFrameMkLst>
        </pc:graphicFrameChg>
        <pc:graphicFrameChg chg="mod">
          <ac:chgData name="Corey Yuan-Zhen Cao" userId="894c8f18-9551-4354-8c83-83a52876c78b" providerId="ADAL" clId="{F79CD802-B2A1-44BD-BA9C-99B158E081A5}" dt="2025-02-24T18:07:15.936" v="231"/>
          <ac:graphicFrameMkLst>
            <pc:docMk/>
            <pc:sldMk cId="4052889244" sldId="411"/>
            <ac:graphicFrameMk id="6" creationId="{B2BABB7D-B004-6E4D-A8DF-909AFB9E0A09}"/>
          </ac:graphicFrameMkLst>
        </pc:graphicFrameChg>
      </pc:sldChg>
      <pc:sldChg chg="modSp mod">
        <pc:chgData name="Corey Yuan-Zhen Cao" userId="894c8f18-9551-4354-8c83-83a52876c78b" providerId="ADAL" clId="{F79CD802-B2A1-44BD-BA9C-99B158E081A5}" dt="2025-02-24T00:37:14.737" v="19" actId="20577"/>
        <pc:sldMkLst>
          <pc:docMk/>
          <pc:sldMk cId="279551331" sldId="457"/>
        </pc:sldMkLst>
        <pc:spChg chg="mod">
          <ac:chgData name="Corey Yuan-Zhen Cao" userId="894c8f18-9551-4354-8c83-83a52876c78b" providerId="ADAL" clId="{F79CD802-B2A1-44BD-BA9C-99B158E081A5}" dt="2025-02-24T00:37:14.737" v="19" actId="20577"/>
          <ac:spMkLst>
            <pc:docMk/>
            <pc:sldMk cId="279551331" sldId="457"/>
            <ac:spMk id="10" creationId="{49F71043-6736-2F9A-0A9A-17DBE803720D}"/>
          </ac:spMkLst>
        </pc:spChg>
      </pc:sldChg>
      <pc:sldChg chg="modSp mod">
        <pc:chgData name="Corey Yuan-Zhen Cao" userId="894c8f18-9551-4354-8c83-83a52876c78b" providerId="ADAL" clId="{F79CD802-B2A1-44BD-BA9C-99B158E081A5}" dt="2025-02-24T02:37:53.436" v="117"/>
        <pc:sldMkLst>
          <pc:docMk/>
          <pc:sldMk cId="1573245639" sldId="465"/>
        </pc:sldMkLst>
        <pc:graphicFrameChg chg="mod">
          <ac:chgData name="Corey Yuan-Zhen Cao" userId="894c8f18-9551-4354-8c83-83a52876c78b" providerId="ADAL" clId="{F79CD802-B2A1-44BD-BA9C-99B158E081A5}" dt="2025-02-24T00:46:27.826" v="64" actId="207"/>
          <ac:graphicFrameMkLst>
            <pc:docMk/>
            <pc:sldMk cId="1573245639" sldId="465"/>
            <ac:graphicFrameMk id="2" creationId="{406DE363-2CF0-3748-B18C-445A85DC0563}"/>
          </ac:graphicFrameMkLst>
        </pc:graphicFrameChg>
        <pc:graphicFrameChg chg="mod">
          <ac:chgData name="Corey Yuan-Zhen Cao" userId="894c8f18-9551-4354-8c83-83a52876c78b" providerId="ADAL" clId="{F79CD802-B2A1-44BD-BA9C-99B158E081A5}" dt="2025-02-24T02:37:53.436" v="117"/>
          <ac:graphicFrameMkLst>
            <pc:docMk/>
            <pc:sldMk cId="1573245639" sldId="465"/>
            <ac:graphicFrameMk id="19" creationId="{C251B1FE-75FC-E847-7258-12334D81AA9F}"/>
          </ac:graphicFrameMkLst>
        </pc:graphicFrameChg>
      </pc:sldChg>
      <pc:sldChg chg="modSp mod">
        <pc:chgData name="Corey Yuan-Zhen Cao" userId="894c8f18-9551-4354-8c83-83a52876c78b" providerId="ADAL" clId="{F79CD802-B2A1-44BD-BA9C-99B158E081A5}" dt="2025-02-24T02:47:12.244" v="120" actId="20577"/>
        <pc:sldMkLst>
          <pc:docMk/>
          <pc:sldMk cId="3029556874" sldId="466"/>
        </pc:sldMkLst>
        <pc:spChg chg="mod">
          <ac:chgData name="Corey Yuan-Zhen Cao" userId="894c8f18-9551-4354-8c83-83a52876c78b" providerId="ADAL" clId="{F79CD802-B2A1-44BD-BA9C-99B158E081A5}" dt="2025-02-24T02:47:12.244" v="120" actId="20577"/>
          <ac:spMkLst>
            <pc:docMk/>
            <pc:sldMk cId="3029556874" sldId="466"/>
            <ac:spMk id="12" creationId="{46BE5529-5E90-E52A-74E6-BE3F44760B1C}"/>
          </ac:spMkLst>
        </pc:spChg>
        <pc:graphicFrameChg chg="mod">
          <ac:chgData name="Corey Yuan-Zhen Cao" userId="894c8f18-9551-4354-8c83-83a52876c78b" providerId="ADAL" clId="{F79CD802-B2A1-44BD-BA9C-99B158E081A5}" dt="2025-02-24T02:46:28.327" v="119"/>
          <ac:graphicFrameMkLst>
            <pc:docMk/>
            <pc:sldMk cId="3029556874" sldId="466"/>
            <ac:graphicFrameMk id="18" creationId="{EB434806-DA5B-A781-6AE6-8B42B985A53E}"/>
          </ac:graphicFrameMkLst>
        </pc:graphicFrameChg>
      </pc:sldChg>
      <pc:sldChg chg="modSp mod">
        <pc:chgData name="Corey Yuan-Zhen Cao" userId="894c8f18-9551-4354-8c83-83a52876c78b" providerId="ADAL" clId="{F79CD802-B2A1-44BD-BA9C-99B158E081A5}" dt="2025-02-24T02:58:44.339" v="168" actId="122"/>
        <pc:sldMkLst>
          <pc:docMk/>
          <pc:sldMk cId="3720421451" sldId="472"/>
        </pc:sldMkLst>
        <pc:graphicFrameChg chg="modGraphic">
          <ac:chgData name="Corey Yuan-Zhen Cao" userId="894c8f18-9551-4354-8c83-83a52876c78b" providerId="ADAL" clId="{F79CD802-B2A1-44BD-BA9C-99B158E081A5}" dt="2025-02-24T02:58:44.339" v="168" actId="122"/>
          <ac:graphicFrameMkLst>
            <pc:docMk/>
            <pc:sldMk cId="3720421451" sldId="472"/>
            <ac:graphicFrameMk id="6" creationId="{15B9BECC-832E-CC88-EFF0-D51343A510D1}"/>
          </ac:graphicFrameMkLst>
        </pc:graphicFrameChg>
      </pc:sldChg>
      <pc:sldChg chg="ord">
        <pc:chgData name="Corey Yuan-Zhen Cao" userId="894c8f18-9551-4354-8c83-83a52876c78b" providerId="ADAL" clId="{F79CD802-B2A1-44BD-BA9C-99B158E081A5}" dt="2025-02-24T02:55:26.156" v="149"/>
        <pc:sldMkLst>
          <pc:docMk/>
          <pc:sldMk cId="423703719" sldId="477"/>
        </pc:sldMkLst>
      </pc:sldChg>
      <pc:sldChg chg="modSp mod ord">
        <pc:chgData name="Corey Yuan-Zhen Cao" userId="894c8f18-9551-4354-8c83-83a52876c78b" providerId="ADAL" clId="{F79CD802-B2A1-44BD-BA9C-99B158E081A5}" dt="2025-02-24T01:52:09.304" v="71"/>
        <pc:sldMkLst>
          <pc:docMk/>
          <pc:sldMk cId="2904048250" sldId="480"/>
        </pc:sldMkLst>
        <pc:spChg chg="mod">
          <ac:chgData name="Corey Yuan-Zhen Cao" userId="894c8f18-9551-4354-8c83-83a52876c78b" providerId="ADAL" clId="{F79CD802-B2A1-44BD-BA9C-99B158E081A5}" dt="2025-02-24T01:01:52.600" v="69" actId="20577"/>
          <ac:spMkLst>
            <pc:docMk/>
            <pc:sldMk cId="2904048250" sldId="480"/>
            <ac:spMk id="3" creationId="{9A72DF77-351F-17CD-CD2D-6C464790A118}"/>
          </ac:spMkLst>
        </pc:spChg>
      </pc:sldChg>
      <pc:sldChg chg="modSp mod">
        <pc:chgData name="Corey Yuan-Zhen Cao" userId="894c8f18-9551-4354-8c83-83a52876c78b" providerId="ADAL" clId="{F79CD802-B2A1-44BD-BA9C-99B158E081A5}" dt="2025-02-24T01:52:27.550" v="72" actId="20577"/>
        <pc:sldMkLst>
          <pc:docMk/>
          <pc:sldMk cId="364820169" sldId="487"/>
        </pc:sldMkLst>
        <pc:spChg chg="mod">
          <ac:chgData name="Corey Yuan-Zhen Cao" userId="894c8f18-9551-4354-8c83-83a52876c78b" providerId="ADAL" clId="{F79CD802-B2A1-44BD-BA9C-99B158E081A5}" dt="2025-02-24T01:01:49.565" v="67" actId="20577"/>
          <ac:spMkLst>
            <pc:docMk/>
            <pc:sldMk cId="364820169" sldId="487"/>
            <ac:spMk id="3" creationId="{64057AAE-B0BC-25B3-FB63-AE1EED7607BB}"/>
          </ac:spMkLst>
        </pc:spChg>
        <pc:spChg chg="mod">
          <ac:chgData name="Corey Yuan-Zhen Cao" userId="894c8f18-9551-4354-8c83-83a52876c78b" providerId="ADAL" clId="{F79CD802-B2A1-44BD-BA9C-99B158E081A5}" dt="2025-02-24T01:52:27.550" v="72" actId="20577"/>
          <ac:spMkLst>
            <pc:docMk/>
            <pc:sldMk cId="364820169" sldId="487"/>
            <ac:spMk id="6" creationId="{6D4C11B6-3EE5-67E8-45C8-3D0D28D18B8E}"/>
          </ac:spMkLst>
        </pc:spChg>
      </pc:sldChg>
      <pc:sldChg chg="modSp mod ord">
        <pc:chgData name="Corey Yuan-Zhen Cao" userId="894c8f18-9551-4354-8c83-83a52876c78b" providerId="ADAL" clId="{F79CD802-B2A1-44BD-BA9C-99B158E081A5}" dt="2025-02-24T02:55:37.996" v="167" actId="20577"/>
        <pc:sldMkLst>
          <pc:docMk/>
          <pc:sldMk cId="2590877607" sldId="488"/>
        </pc:sldMkLst>
        <pc:spChg chg="mod">
          <ac:chgData name="Corey Yuan-Zhen Cao" userId="894c8f18-9551-4354-8c83-83a52876c78b" providerId="ADAL" clId="{F79CD802-B2A1-44BD-BA9C-99B158E081A5}" dt="2025-02-24T02:55:37.996" v="167" actId="20577"/>
          <ac:spMkLst>
            <pc:docMk/>
            <pc:sldMk cId="2590877607" sldId="488"/>
            <ac:spMk id="4" creationId="{A7908C9C-72E8-5E71-4F40-0C8A1A8F2083}"/>
          </ac:spMkLst>
        </pc:spChg>
      </pc:sldChg>
      <pc:sldChg chg="modSp mod">
        <pc:chgData name="Corey Yuan-Zhen Cao" userId="894c8f18-9551-4354-8c83-83a52876c78b" providerId="ADAL" clId="{F79CD802-B2A1-44BD-BA9C-99B158E081A5}" dt="2025-02-24T02:28:31.041" v="116" actId="20577"/>
        <pc:sldMkLst>
          <pc:docMk/>
          <pc:sldMk cId="3223544848" sldId="492"/>
        </pc:sldMkLst>
        <pc:spChg chg="mod">
          <ac:chgData name="Corey Yuan-Zhen Cao" userId="894c8f18-9551-4354-8c83-83a52876c78b" providerId="ADAL" clId="{F79CD802-B2A1-44BD-BA9C-99B158E081A5}" dt="2025-02-24T02:28:31.041" v="116" actId="20577"/>
          <ac:spMkLst>
            <pc:docMk/>
            <pc:sldMk cId="3223544848" sldId="492"/>
            <ac:spMk id="14" creationId="{FEA3D206-52E8-B71E-5BF0-8F1DF368A6BD}"/>
          </ac:spMkLst>
        </pc:spChg>
      </pc:sldChg>
      <pc:sldChg chg="modSp mod">
        <pc:chgData name="Corey Yuan-Zhen Cao" userId="894c8f18-9551-4354-8c83-83a52876c78b" providerId="ADAL" clId="{F79CD802-B2A1-44BD-BA9C-99B158E081A5}" dt="2025-02-24T00:42:49.367" v="63" actId="20577"/>
        <pc:sldMkLst>
          <pc:docMk/>
          <pc:sldMk cId="107402232" sldId="494"/>
        </pc:sldMkLst>
        <pc:spChg chg="mod">
          <ac:chgData name="Corey Yuan-Zhen Cao" userId="894c8f18-9551-4354-8c83-83a52876c78b" providerId="ADAL" clId="{F79CD802-B2A1-44BD-BA9C-99B158E081A5}" dt="2025-02-24T00:42:49.367" v="63" actId="20577"/>
          <ac:spMkLst>
            <pc:docMk/>
            <pc:sldMk cId="107402232" sldId="494"/>
            <ac:spMk id="5" creationId="{AF577936-04F4-E1E4-F8C7-02594028FDC3}"/>
          </ac:spMkLst>
        </pc:spChg>
        <pc:spChg chg="mod">
          <ac:chgData name="Corey Yuan-Zhen Cao" userId="894c8f18-9551-4354-8c83-83a52876c78b" providerId="ADAL" clId="{F79CD802-B2A1-44BD-BA9C-99B158E081A5}" dt="2025-02-24T00:42:42.593" v="45" actId="20577"/>
          <ac:spMkLst>
            <pc:docMk/>
            <pc:sldMk cId="107402232" sldId="494"/>
            <ac:spMk id="17" creationId="{DC41E672-0B33-BE37-31DF-F06A90A7E86D}"/>
          </ac:spMkLst>
        </pc:spChg>
      </pc:sldChg>
      <pc:sldChg chg="modSp mod">
        <pc:chgData name="Corey Yuan-Zhen Cao" userId="894c8f18-9551-4354-8c83-83a52876c78b" providerId="ADAL" clId="{F79CD802-B2A1-44BD-BA9C-99B158E081A5}" dt="2025-02-24T02:50:13.713" v="142" actId="20577"/>
        <pc:sldMkLst>
          <pc:docMk/>
          <pc:sldMk cId="1155382054" sldId="495"/>
        </pc:sldMkLst>
        <pc:spChg chg="mod">
          <ac:chgData name="Corey Yuan-Zhen Cao" userId="894c8f18-9551-4354-8c83-83a52876c78b" providerId="ADAL" clId="{F79CD802-B2A1-44BD-BA9C-99B158E081A5}" dt="2025-02-24T02:50:13.713" v="142" actId="20577"/>
          <ac:spMkLst>
            <pc:docMk/>
            <pc:sldMk cId="1155382054" sldId="495"/>
            <ac:spMk id="4" creationId="{6D056015-3794-D950-AD04-AA118D2CDCC6}"/>
          </ac:spMkLst>
        </pc:spChg>
      </pc:sldChg>
      <pc:sldChg chg="modSp mod">
        <pc:chgData name="Corey Yuan-Zhen Cao" userId="894c8f18-9551-4354-8c83-83a52876c78b" providerId="ADAL" clId="{F79CD802-B2A1-44BD-BA9C-99B158E081A5}" dt="2025-02-24T02:50:17.092" v="145" actId="20577"/>
        <pc:sldMkLst>
          <pc:docMk/>
          <pc:sldMk cId="167859376" sldId="496"/>
        </pc:sldMkLst>
        <pc:spChg chg="mod">
          <ac:chgData name="Corey Yuan-Zhen Cao" userId="894c8f18-9551-4354-8c83-83a52876c78b" providerId="ADAL" clId="{F79CD802-B2A1-44BD-BA9C-99B158E081A5}" dt="2025-02-24T02:50:17.092" v="145" actId="20577"/>
          <ac:spMkLst>
            <pc:docMk/>
            <pc:sldMk cId="167859376" sldId="496"/>
            <ac:spMk id="4" creationId="{551732DB-E401-9DD3-E639-1A78A542417B}"/>
          </ac:spMkLst>
        </pc:spChg>
      </pc:sldChg>
    </pc:docChg>
  </pc:docChgLst>
  <pc:docChgLst>
    <pc:chgData name="Arman Bazarjani" userId="450e03ee-301b-4aeb-9e35-1d972aec6f7b" providerId="ADAL" clId="{848A27C8-508E-4B93-B138-0F5C55FDF254}"/>
    <pc:docChg chg="custSel modSld">
      <pc:chgData name="Arman Bazarjani" userId="450e03ee-301b-4aeb-9e35-1d972aec6f7b" providerId="ADAL" clId="{848A27C8-508E-4B93-B138-0F5C55FDF254}" dt="2025-02-23T17:11:15.093" v="61" actId="207"/>
      <pc:docMkLst>
        <pc:docMk/>
      </pc:docMkLst>
      <pc:sldChg chg="modSp mod">
        <pc:chgData name="Arman Bazarjani" userId="450e03ee-301b-4aeb-9e35-1d972aec6f7b" providerId="ADAL" clId="{848A27C8-508E-4B93-B138-0F5C55FDF254}" dt="2025-02-23T17:05:32.796" v="32" actId="20577"/>
        <pc:sldMkLst>
          <pc:docMk/>
          <pc:sldMk cId="131303031" sldId="343"/>
        </pc:sldMkLst>
        <pc:spChg chg="mod">
          <ac:chgData name="Arman Bazarjani" userId="450e03ee-301b-4aeb-9e35-1d972aec6f7b" providerId="ADAL" clId="{848A27C8-508E-4B93-B138-0F5C55FDF254}" dt="2025-02-23T17:05:32.796" v="32" actId="20577"/>
          <ac:spMkLst>
            <pc:docMk/>
            <pc:sldMk cId="131303031" sldId="343"/>
            <ac:spMk id="48" creationId="{6A2005C7-EA64-9F66-123F-2D71A2B9BC8D}"/>
          </ac:spMkLst>
        </pc:spChg>
        <pc:spChg chg="mod">
          <ac:chgData name="Arman Bazarjani" userId="450e03ee-301b-4aeb-9e35-1d972aec6f7b" providerId="ADAL" clId="{848A27C8-508E-4B93-B138-0F5C55FDF254}" dt="2025-02-23T17:05:29.438" v="29" actId="20577"/>
          <ac:spMkLst>
            <pc:docMk/>
            <pc:sldMk cId="131303031" sldId="343"/>
            <ac:spMk id="49" creationId="{74B96426-ED82-7448-11A1-05C75100A5A0}"/>
          </ac:spMkLst>
        </pc:spChg>
      </pc:sldChg>
      <pc:sldChg chg="modSp mod">
        <pc:chgData name="Arman Bazarjani" userId="450e03ee-301b-4aeb-9e35-1d972aec6f7b" providerId="ADAL" clId="{848A27C8-508E-4B93-B138-0F5C55FDF254}" dt="2025-02-23T17:06:13.394" v="34" actId="207"/>
        <pc:sldMkLst>
          <pc:docMk/>
          <pc:sldMk cId="3362839997" sldId="365"/>
        </pc:sldMkLst>
        <pc:graphicFrameChg chg="modGraphic">
          <ac:chgData name="Arman Bazarjani" userId="450e03ee-301b-4aeb-9e35-1d972aec6f7b" providerId="ADAL" clId="{848A27C8-508E-4B93-B138-0F5C55FDF254}" dt="2025-02-23T17:06:13.394" v="34" actId="207"/>
          <ac:graphicFrameMkLst>
            <pc:docMk/>
            <pc:sldMk cId="3362839997" sldId="365"/>
            <ac:graphicFrameMk id="3" creationId="{C5428B4A-019E-BEDB-82BA-5AD952B4C2F7}"/>
          </ac:graphicFrameMkLst>
        </pc:graphicFrameChg>
      </pc:sldChg>
      <pc:sldChg chg="modSp mod">
        <pc:chgData name="Arman Bazarjani" userId="450e03ee-301b-4aeb-9e35-1d972aec6f7b" providerId="ADAL" clId="{848A27C8-508E-4B93-B138-0F5C55FDF254}" dt="2025-02-23T17:06:42.058" v="36" actId="242"/>
        <pc:sldMkLst>
          <pc:docMk/>
          <pc:sldMk cId="1717628978" sldId="372"/>
        </pc:sldMkLst>
        <pc:graphicFrameChg chg="modGraphic">
          <ac:chgData name="Arman Bazarjani" userId="450e03ee-301b-4aeb-9e35-1d972aec6f7b" providerId="ADAL" clId="{848A27C8-508E-4B93-B138-0F5C55FDF254}" dt="2025-02-23T17:06:42.058" v="36" actId="242"/>
          <ac:graphicFrameMkLst>
            <pc:docMk/>
            <pc:sldMk cId="1717628978" sldId="372"/>
            <ac:graphicFrameMk id="6" creationId="{CC2697E5-8B13-017F-3271-FEADDE6836B4}"/>
          </ac:graphicFrameMkLst>
        </pc:graphicFrameChg>
      </pc:sldChg>
      <pc:sldChg chg="modSp mod">
        <pc:chgData name="Arman Bazarjani" userId="450e03ee-301b-4aeb-9e35-1d972aec6f7b" providerId="ADAL" clId="{848A27C8-508E-4B93-B138-0F5C55FDF254}" dt="2025-02-23T17:03:04.713" v="24" actId="20577"/>
        <pc:sldMkLst>
          <pc:docMk/>
          <pc:sldMk cId="4052889244" sldId="411"/>
        </pc:sldMkLst>
        <pc:spChg chg="mod">
          <ac:chgData name="Arman Bazarjani" userId="450e03ee-301b-4aeb-9e35-1d972aec6f7b" providerId="ADAL" clId="{848A27C8-508E-4B93-B138-0F5C55FDF254}" dt="2025-02-23T17:03:04.713" v="24" actId="20577"/>
          <ac:spMkLst>
            <pc:docMk/>
            <pc:sldMk cId="4052889244" sldId="411"/>
            <ac:spMk id="15" creationId="{C48A4E1E-E808-D5A5-9D33-88CA8F60389A}"/>
          </ac:spMkLst>
        </pc:spChg>
      </pc:sldChg>
      <pc:sldChg chg="modSp mod">
        <pc:chgData name="Arman Bazarjani" userId="450e03ee-301b-4aeb-9e35-1d972aec6f7b" providerId="ADAL" clId="{848A27C8-508E-4B93-B138-0F5C55FDF254}" dt="2025-02-23T16:59:38.589" v="9" actId="255"/>
        <pc:sldMkLst>
          <pc:docMk/>
          <pc:sldMk cId="4018175131" sldId="461"/>
        </pc:sldMkLst>
        <pc:spChg chg="mod">
          <ac:chgData name="Arman Bazarjani" userId="450e03ee-301b-4aeb-9e35-1d972aec6f7b" providerId="ADAL" clId="{848A27C8-508E-4B93-B138-0F5C55FDF254}" dt="2025-02-23T16:59:22.889" v="5" actId="20577"/>
          <ac:spMkLst>
            <pc:docMk/>
            <pc:sldMk cId="4018175131" sldId="461"/>
            <ac:spMk id="10" creationId="{F1DBDD8D-2235-935D-1DEC-0244FBE47705}"/>
          </ac:spMkLst>
        </pc:spChg>
        <pc:spChg chg="mod">
          <ac:chgData name="Arman Bazarjani" userId="450e03ee-301b-4aeb-9e35-1d972aec6f7b" providerId="ADAL" clId="{848A27C8-508E-4B93-B138-0F5C55FDF254}" dt="2025-02-23T16:59:17.221" v="2" actId="20577"/>
          <ac:spMkLst>
            <pc:docMk/>
            <pc:sldMk cId="4018175131" sldId="461"/>
            <ac:spMk id="33" creationId="{B39DA3E8-3069-8AD3-2B7B-BD60D9E63C82}"/>
          </ac:spMkLst>
        </pc:spChg>
        <pc:graphicFrameChg chg="mod">
          <ac:chgData name="Arman Bazarjani" userId="450e03ee-301b-4aeb-9e35-1d972aec6f7b" providerId="ADAL" clId="{848A27C8-508E-4B93-B138-0F5C55FDF254}" dt="2025-02-23T16:59:38.589" v="9" actId="255"/>
          <ac:graphicFrameMkLst>
            <pc:docMk/>
            <pc:sldMk cId="4018175131" sldId="461"/>
            <ac:graphicFrameMk id="3" creationId="{E24571A6-AB7E-3E90-2AC3-AD6CABFC28FA}"/>
          </ac:graphicFrameMkLst>
        </pc:graphicFrameChg>
      </pc:sldChg>
      <pc:sldChg chg="modSp mod">
        <pc:chgData name="Arman Bazarjani" userId="450e03ee-301b-4aeb-9e35-1d972aec6f7b" providerId="ADAL" clId="{848A27C8-508E-4B93-B138-0F5C55FDF254}" dt="2025-02-23T17:04:59.294" v="26" actId="20577"/>
        <pc:sldMkLst>
          <pc:docMk/>
          <pc:sldMk cId="1573245639" sldId="465"/>
        </pc:sldMkLst>
        <pc:spChg chg="mod">
          <ac:chgData name="Arman Bazarjani" userId="450e03ee-301b-4aeb-9e35-1d972aec6f7b" providerId="ADAL" clId="{848A27C8-508E-4B93-B138-0F5C55FDF254}" dt="2025-02-23T17:04:56.396" v="25" actId="20577"/>
          <ac:spMkLst>
            <pc:docMk/>
            <pc:sldMk cId="1573245639" sldId="465"/>
            <ac:spMk id="4" creationId="{D6C08917-25E7-E49F-8424-188C8D00FF4E}"/>
          </ac:spMkLst>
        </pc:spChg>
        <pc:spChg chg="mod">
          <ac:chgData name="Arman Bazarjani" userId="450e03ee-301b-4aeb-9e35-1d972aec6f7b" providerId="ADAL" clId="{848A27C8-508E-4B93-B138-0F5C55FDF254}" dt="2025-02-23T17:04:59.294" v="26" actId="20577"/>
          <ac:spMkLst>
            <pc:docMk/>
            <pc:sldMk cId="1573245639" sldId="465"/>
            <ac:spMk id="20" creationId="{D3B9A70F-AB96-9C3E-8C85-A600FCBB6A6C}"/>
          </ac:spMkLst>
        </pc:spChg>
      </pc:sldChg>
      <pc:sldChg chg="modSp mod">
        <pc:chgData name="Arman Bazarjani" userId="450e03ee-301b-4aeb-9e35-1d972aec6f7b" providerId="ADAL" clId="{848A27C8-508E-4B93-B138-0F5C55FDF254}" dt="2025-02-23T17:07:37.964" v="46" actId="123"/>
        <pc:sldMkLst>
          <pc:docMk/>
          <pc:sldMk cId="3720421451" sldId="472"/>
        </pc:sldMkLst>
        <pc:graphicFrameChg chg="modGraphic">
          <ac:chgData name="Arman Bazarjani" userId="450e03ee-301b-4aeb-9e35-1d972aec6f7b" providerId="ADAL" clId="{848A27C8-508E-4B93-B138-0F5C55FDF254}" dt="2025-02-23T17:07:37.964" v="46" actId="123"/>
          <ac:graphicFrameMkLst>
            <pc:docMk/>
            <pc:sldMk cId="3720421451" sldId="472"/>
            <ac:graphicFrameMk id="6" creationId="{15B9BECC-832E-CC88-EFF0-D51343A510D1}"/>
          </ac:graphicFrameMkLst>
        </pc:graphicFrameChg>
        <pc:picChg chg="mod">
          <ac:chgData name="Arman Bazarjani" userId="450e03ee-301b-4aeb-9e35-1d972aec6f7b" providerId="ADAL" clId="{848A27C8-508E-4B93-B138-0F5C55FDF254}" dt="2025-02-23T17:07:20.166" v="44" actId="1038"/>
          <ac:picMkLst>
            <pc:docMk/>
            <pc:sldMk cId="3720421451" sldId="472"/>
            <ac:picMk id="3" creationId="{890ADE51-6182-D550-CD09-E28990E5AA8A}"/>
          </ac:picMkLst>
        </pc:picChg>
        <pc:picChg chg="mod">
          <ac:chgData name="Arman Bazarjani" userId="450e03ee-301b-4aeb-9e35-1d972aec6f7b" providerId="ADAL" clId="{848A27C8-508E-4B93-B138-0F5C55FDF254}" dt="2025-02-23T17:07:20.166" v="44" actId="1038"/>
          <ac:picMkLst>
            <pc:docMk/>
            <pc:sldMk cId="3720421451" sldId="472"/>
            <ac:picMk id="1028" creationId="{731D2BDC-6CB3-20EE-32BB-E3AEA43B1E8A}"/>
          </ac:picMkLst>
        </pc:picChg>
        <pc:picChg chg="mod">
          <ac:chgData name="Arman Bazarjani" userId="450e03ee-301b-4aeb-9e35-1d972aec6f7b" providerId="ADAL" clId="{848A27C8-508E-4B93-B138-0F5C55FDF254}" dt="2025-02-23T17:07:20.166" v="44" actId="1038"/>
          <ac:picMkLst>
            <pc:docMk/>
            <pc:sldMk cId="3720421451" sldId="472"/>
            <ac:picMk id="1034" creationId="{1464E7B6-39F1-66CD-ADF9-34F0250BB64D}"/>
          </ac:picMkLst>
        </pc:picChg>
        <pc:picChg chg="mod">
          <ac:chgData name="Arman Bazarjani" userId="450e03ee-301b-4aeb-9e35-1d972aec6f7b" providerId="ADAL" clId="{848A27C8-508E-4B93-B138-0F5C55FDF254}" dt="2025-02-23T17:07:20.166" v="44" actId="1038"/>
          <ac:picMkLst>
            <pc:docMk/>
            <pc:sldMk cId="3720421451" sldId="472"/>
            <ac:picMk id="1040" creationId="{4F23BC99-19E1-BA03-1EFE-C5B5160FB816}"/>
          </ac:picMkLst>
        </pc:picChg>
        <pc:picChg chg="mod">
          <ac:chgData name="Arman Bazarjani" userId="450e03ee-301b-4aeb-9e35-1d972aec6f7b" providerId="ADAL" clId="{848A27C8-508E-4B93-B138-0F5C55FDF254}" dt="2025-02-23T17:07:20.166" v="44" actId="1038"/>
          <ac:picMkLst>
            <pc:docMk/>
            <pc:sldMk cId="3720421451" sldId="472"/>
            <ac:picMk id="1044" creationId="{6AF20B2B-1547-4939-0C53-AB106A7F1731}"/>
          </ac:picMkLst>
        </pc:picChg>
      </pc:sldChg>
      <pc:sldChg chg="modSp mod">
        <pc:chgData name="Arman Bazarjani" userId="450e03ee-301b-4aeb-9e35-1d972aec6f7b" providerId="ADAL" clId="{848A27C8-508E-4B93-B138-0F5C55FDF254}" dt="2025-02-23T17:01:49.381" v="18" actId="207"/>
        <pc:sldMkLst>
          <pc:docMk/>
          <pc:sldMk cId="2904048250" sldId="480"/>
        </pc:sldMkLst>
        <pc:graphicFrameChg chg="mod">
          <ac:chgData name="Arman Bazarjani" userId="450e03ee-301b-4aeb-9e35-1d972aec6f7b" providerId="ADAL" clId="{848A27C8-508E-4B93-B138-0F5C55FDF254}" dt="2025-02-23T17:01:49.381" v="18" actId="207"/>
          <ac:graphicFrameMkLst>
            <pc:docMk/>
            <pc:sldMk cId="2904048250" sldId="480"/>
            <ac:graphicFrameMk id="16" creationId="{5D8CC849-7E34-A72D-7C08-207F22B9DE75}"/>
          </ac:graphicFrameMkLst>
        </pc:graphicFrameChg>
      </pc:sldChg>
      <pc:sldChg chg="modSp mod">
        <pc:chgData name="Arman Bazarjani" userId="450e03ee-301b-4aeb-9e35-1d972aec6f7b" providerId="ADAL" clId="{848A27C8-508E-4B93-B138-0F5C55FDF254}" dt="2025-02-23T17:10:38.891" v="60" actId="1076"/>
        <pc:sldMkLst>
          <pc:docMk/>
          <pc:sldMk cId="2590877607" sldId="488"/>
        </pc:sldMkLst>
        <pc:graphicFrameChg chg="mod">
          <ac:chgData name="Arman Bazarjani" userId="450e03ee-301b-4aeb-9e35-1d972aec6f7b" providerId="ADAL" clId="{848A27C8-508E-4B93-B138-0F5C55FDF254}" dt="2025-02-23T17:10:38.891" v="60" actId="1076"/>
          <ac:graphicFrameMkLst>
            <pc:docMk/>
            <pc:sldMk cId="2590877607" sldId="488"/>
            <ac:graphicFrameMk id="14" creationId="{B933B813-F59A-4F76-6451-92932A3F5CAC}"/>
          </ac:graphicFrameMkLst>
        </pc:graphicFrameChg>
      </pc:sldChg>
      <pc:sldChg chg="modSp mod">
        <pc:chgData name="Arman Bazarjani" userId="450e03ee-301b-4aeb-9e35-1d972aec6f7b" providerId="ADAL" clId="{848A27C8-508E-4B93-B138-0F5C55FDF254}" dt="2025-02-23T17:09:31.572" v="58" actId="1076"/>
        <pc:sldMkLst>
          <pc:docMk/>
          <pc:sldMk cId="3305817542" sldId="489"/>
        </pc:sldMkLst>
        <pc:graphicFrameChg chg="mod">
          <ac:chgData name="Arman Bazarjani" userId="450e03ee-301b-4aeb-9e35-1d972aec6f7b" providerId="ADAL" clId="{848A27C8-508E-4B93-B138-0F5C55FDF254}" dt="2025-02-23T17:09:31.572" v="58" actId="1076"/>
          <ac:graphicFrameMkLst>
            <pc:docMk/>
            <pc:sldMk cId="3305817542" sldId="489"/>
            <ac:graphicFrameMk id="31" creationId="{61836F71-F1AB-E69D-1ED1-CEBF563BB49B}"/>
          </ac:graphicFrameMkLst>
        </pc:graphicFrameChg>
      </pc:sldChg>
      <pc:sldChg chg="modSp">
        <pc:chgData name="Arman Bazarjani" userId="450e03ee-301b-4aeb-9e35-1d972aec6f7b" providerId="ADAL" clId="{848A27C8-508E-4B93-B138-0F5C55FDF254}" dt="2025-02-23T17:05:52.812" v="33" actId="207"/>
        <pc:sldMkLst>
          <pc:docMk/>
          <pc:sldMk cId="2949077002" sldId="491"/>
        </pc:sldMkLst>
        <pc:graphicFrameChg chg="mod">
          <ac:chgData name="Arman Bazarjani" userId="450e03ee-301b-4aeb-9e35-1d972aec6f7b" providerId="ADAL" clId="{848A27C8-508E-4B93-B138-0F5C55FDF254}" dt="2025-02-23T17:05:52.812" v="33" actId="207"/>
          <ac:graphicFrameMkLst>
            <pc:docMk/>
            <pc:sldMk cId="2949077002" sldId="491"/>
            <ac:graphicFrameMk id="18" creationId="{5B3D2C50-140E-0A40-89FF-95313F6F2A9D}"/>
          </ac:graphicFrameMkLst>
        </pc:graphicFrameChg>
      </pc:sldChg>
      <pc:sldChg chg="modSp mod">
        <pc:chgData name="Arman Bazarjani" userId="450e03ee-301b-4aeb-9e35-1d972aec6f7b" providerId="ADAL" clId="{848A27C8-508E-4B93-B138-0F5C55FDF254}" dt="2025-02-23T17:11:15.093" v="61" actId="207"/>
        <pc:sldMkLst>
          <pc:docMk/>
          <pc:sldMk cId="1155382054" sldId="495"/>
        </pc:sldMkLst>
        <pc:graphicFrameChg chg="modGraphic">
          <ac:chgData name="Arman Bazarjani" userId="450e03ee-301b-4aeb-9e35-1d972aec6f7b" providerId="ADAL" clId="{848A27C8-508E-4B93-B138-0F5C55FDF254}" dt="2025-02-23T17:11:15.093" v="61" actId="207"/>
          <ac:graphicFrameMkLst>
            <pc:docMk/>
            <pc:sldMk cId="1155382054" sldId="495"/>
            <ac:graphicFrameMk id="3" creationId="{2E33675E-613F-69DC-7F34-B95BB1B034A7}"/>
          </ac:graphicFrameMkLst>
        </pc:graphicFrameChg>
      </pc:sldChg>
      <pc:sldChg chg="addSp delSp modSp mod modClrScheme chgLayout">
        <pc:chgData name="Arman Bazarjani" userId="450e03ee-301b-4aeb-9e35-1d972aec6f7b" providerId="ADAL" clId="{848A27C8-508E-4B93-B138-0F5C55FDF254}" dt="2025-02-23T17:09:14.864" v="57" actId="1076"/>
        <pc:sldMkLst>
          <pc:docMk/>
          <pc:sldMk cId="3172926621" sldId="497"/>
        </pc:sldMkLst>
        <pc:spChg chg="add del mod ord">
          <ac:chgData name="Arman Bazarjani" userId="450e03ee-301b-4aeb-9e35-1d972aec6f7b" providerId="ADAL" clId="{848A27C8-508E-4B93-B138-0F5C55FDF254}" dt="2025-02-23T17:08:28.858" v="52" actId="700"/>
          <ac:spMkLst>
            <pc:docMk/>
            <pc:sldMk cId="3172926621" sldId="497"/>
            <ac:spMk id="2" creationId="{C623B9E0-A92A-2730-8466-910309588E23}"/>
          </ac:spMkLst>
        </pc:spChg>
        <pc:spChg chg="add del mod ord">
          <ac:chgData name="Arman Bazarjani" userId="450e03ee-301b-4aeb-9e35-1d972aec6f7b" providerId="ADAL" clId="{848A27C8-508E-4B93-B138-0F5C55FDF254}" dt="2025-02-23T17:08:28.858" v="52" actId="700"/>
          <ac:spMkLst>
            <pc:docMk/>
            <pc:sldMk cId="3172926621" sldId="497"/>
            <ac:spMk id="3" creationId="{B0B86AD3-37E8-9D65-76F4-EECC3F02905E}"/>
          </ac:spMkLst>
        </pc:spChg>
        <pc:spChg chg="add del mod ord">
          <ac:chgData name="Arman Bazarjani" userId="450e03ee-301b-4aeb-9e35-1d972aec6f7b" providerId="ADAL" clId="{848A27C8-508E-4B93-B138-0F5C55FDF254}" dt="2025-02-23T17:08:28.858" v="52" actId="700"/>
          <ac:spMkLst>
            <pc:docMk/>
            <pc:sldMk cId="3172926621" sldId="497"/>
            <ac:spMk id="4" creationId="{47525D5C-0AAC-89D6-6095-6354052F3C77}"/>
          </ac:spMkLst>
        </pc:spChg>
        <pc:spChg chg="add del mod ord">
          <ac:chgData name="Arman Bazarjani" userId="450e03ee-301b-4aeb-9e35-1d972aec6f7b" providerId="ADAL" clId="{848A27C8-508E-4B93-B138-0F5C55FDF254}" dt="2025-02-23T17:08:28.858" v="52" actId="700"/>
          <ac:spMkLst>
            <pc:docMk/>
            <pc:sldMk cId="3172926621" sldId="497"/>
            <ac:spMk id="5" creationId="{BB213D56-810A-F38E-7087-795602DB79F8}"/>
          </ac:spMkLst>
        </pc:spChg>
        <pc:spChg chg="add mod ord">
          <ac:chgData name="Arman Bazarjani" userId="450e03ee-301b-4aeb-9e35-1d972aec6f7b" providerId="ADAL" clId="{848A27C8-508E-4B93-B138-0F5C55FDF254}" dt="2025-02-23T17:08:28.858" v="52" actId="700"/>
          <ac:spMkLst>
            <pc:docMk/>
            <pc:sldMk cId="3172926621" sldId="497"/>
            <ac:spMk id="6" creationId="{B67A51C7-09C4-64C3-0833-657EFE58DA16}"/>
          </ac:spMkLst>
        </pc:spChg>
        <pc:spChg chg="mod ord">
          <ac:chgData name="Arman Bazarjani" userId="450e03ee-301b-4aeb-9e35-1d972aec6f7b" providerId="ADAL" clId="{848A27C8-508E-4B93-B138-0F5C55FDF254}" dt="2025-02-23T17:08:28.858" v="52" actId="700"/>
          <ac:spMkLst>
            <pc:docMk/>
            <pc:sldMk cId="3172926621" sldId="497"/>
            <ac:spMk id="9" creationId="{D1806AAA-B93A-7D0D-AF09-22B15AD42AEB}"/>
          </ac:spMkLst>
        </pc:spChg>
        <pc:spChg chg="mod ord">
          <ac:chgData name="Arman Bazarjani" userId="450e03ee-301b-4aeb-9e35-1d972aec6f7b" providerId="ADAL" clId="{848A27C8-508E-4B93-B138-0F5C55FDF254}" dt="2025-02-23T17:08:28.858" v="52" actId="700"/>
          <ac:spMkLst>
            <pc:docMk/>
            <pc:sldMk cId="3172926621" sldId="497"/>
            <ac:spMk id="10" creationId="{EB3CB472-F164-CBEA-74F2-6A1E4BD72885}"/>
          </ac:spMkLst>
        </pc:spChg>
        <pc:spChg chg="mod ord">
          <ac:chgData name="Arman Bazarjani" userId="450e03ee-301b-4aeb-9e35-1d972aec6f7b" providerId="ADAL" clId="{848A27C8-508E-4B93-B138-0F5C55FDF254}" dt="2025-02-23T17:08:28.858" v="52" actId="700"/>
          <ac:spMkLst>
            <pc:docMk/>
            <pc:sldMk cId="3172926621" sldId="497"/>
            <ac:spMk id="12" creationId="{D1F345C2-F28F-FD52-624E-86B5FE10A992}"/>
          </ac:spMkLst>
        </pc:spChg>
        <pc:spChg chg="del mod ord">
          <ac:chgData name="Arman Bazarjani" userId="450e03ee-301b-4aeb-9e35-1d972aec6f7b" providerId="ADAL" clId="{848A27C8-508E-4B93-B138-0F5C55FDF254}" dt="2025-02-23T17:08:14.555" v="49" actId="700"/>
          <ac:spMkLst>
            <pc:docMk/>
            <pc:sldMk cId="3172926621" sldId="497"/>
            <ac:spMk id="17" creationId="{9E8ADF88-F484-0B26-7712-EA827E3B5AE6}"/>
          </ac:spMkLst>
        </pc:spChg>
        <pc:graphicFrameChg chg="mod modGraphic">
          <ac:chgData name="Arman Bazarjani" userId="450e03ee-301b-4aeb-9e35-1d972aec6f7b" providerId="ADAL" clId="{848A27C8-508E-4B93-B138-0F5C55FDF254}" dt="2025-02-23T17:08:34.835" v="53" actId="1076"/>
          <ac:graphicFrameMkLst>
            <pc:docMk/>
            <pc:sldMk cId="3172926621" sldId="497"/>
            <ac:graphicFrameMk id="14" creationId="{3BC6306E-854F-1B02-C863-3243FD086772}"/>
          </ac:graphicFrameMkLst>
        </pc:graphicFrameChg>
        <pc:graphicFrameChg chg="mod modGraphic">
          <ac:chgData name="Arman Bazarjani" userId="450e03ee-301b-4aeb-9e35-1d972aec6f7b" providerId="ADAL" clId="{848A27C8-508E-4B93-B138-0F5C55FDF254}" dt="2025-02-23T17:09:14.864" v="57" actId="1076"/>
          <ac:graphicFrameMkLst>
            <pc:docMk/>
            <pc:sldMk cId="3172926621" sldId="497"/>
            <ac:graphicFrameMk id="15" creationId="{8C0CA367-0A37-EC20-3338-02F1528718D9}"/>
          </ac:graphicFrameMkLst>
        </pc:graphicFrameChg>
      </pc:sldChg>
    </pc:docChg>
  </pc:docChgLst>
  <pc:docChgLst>
    <pc:chgData name="Christian Gillam" userId="S::cgill016@uottawa.ca::178737ef-0014-4dd8-b439-bc02dd9433a1" providerId="AD" clId="Web-{67A6DF72-2C1C-6933-8AEF-8A4E25B4BF5D}"/>
    <pc:docChg chg="modSld">
      <pc:chgData name="Christian Gillam" userId="S::cgill016@uottawa.ca::178737ef-0014-4dd8-b439-bc02dd9433a1" providerId="AD" clId="Web-{67A6DF72-2C1C-6933-8AEF-8A4E25B4BF5D}" dt="2025-02-24T01:03:14.265" v="45" actId="20577"/>
      <pc:docMkLst>
        <pc:docMk/>
      </pc:docMkLst>
      <pc:sldChg chg="modSp">
        <pc:chgData name="Christian Gillam" userId="S::cgill016@uottawa.ca::178737ef-0014-4dd8-b439-bc02dd9433a1" providerId="AD" clId="Web-{67A6DF72-2C1C-6933-8AEF-8A4E25B4BF5D}" dt="2025-02-24T00:43:43.569" v="30" actId="20577"/>
        <pc:sldMkLst>
          <pc:docMk/>
          <pc:sldMk cId="3755069447" sldId="447"/>
        </pc:sldMkLst>
        <pc:spChg chg="mod">
          <ac:chgData name="Christian Gillam" userId="S::cgill016@uottawa.ca::178737ef-0014-4dd8-b439-bc02dd9433a1" providerId="AD" clId="Web-{67A6DF72-2C1C-6933-8AEF-8A4E25B4BF5D}" dt="2025-02-24T00:43:43.569" v="30" actId="20577"/>
          <ac:spMkLst>
            <pc:docMk/>
            <pc:sldMk cId="3755069447" sldId="447"/>
            <ac:spMk id="50" creationId="{D568656F-6E91-B135-B884-328F9A22F841}"/>
          </ac:spMkLst>
        </pc:spChg>
        <pc:picChg chg="mod">
          <ac:chgData name="Christian Gillam" userId="S::cgill016@uottawa.ca::178737ef-0014-4dd8-b439-bc02dd9433a1" providerId="AD" clId="Web-{67A6DF72-2C1C-6933-8AEF-8A4E25B4BF5D}" dt="2025-02-24T00:42:48.661" v="2" actId="1076"/>
          <ac:picMkLst>
            <pc:docMk/>
            <pc:sldMk cId="3755069447" sldId="447"/>
            <ac:picMk id="22" creationId="{317AF584-C36F-564F-600C-181525F886BA}"/>
          </ac:picMkLst>
        </pc:picChg>
        <pc:picChg chg="mod">
          <ac:chgData name="Christian Gillam" userId="S::cgill016@uottawa.ca::178737ef-0014-4dd8-b439-bc02dd9433a1" providerId="AD" clId="Web-{67A6DF72-2C1C-6933-8AEF-8A4E25B4BF5D}" dt="2025-02-24T00:42:43.552" v="1" actId="1076"/>
          <ac:picMkLst>
            <pc:docMk/>
            <pc:sldMk cId="3755069447" sldId="447"/>
            <ac:picMk id="24" creationId="{92F3596F-DF71-1CFD-4169-9F8A3B2D043F}"/>
          </ac:picMkLst>
        </pc:picChg>
      </pc:sldChg>
      <pc:sldChg chg="modSp">
        <pc:chgData name="Christian Gillam" userId="S::cgill016@uottawa.ca::178737ef-0014-4dd8-b439-bc02dd9433a1" providerId="AD" clId="Web-{67A6DF72-2C1C-6933-8AEF-8A4E25B4BF5D}" dt="2025-02-24T01:03:14.265" v="45" actId="20577"/>
        <pc:sldMkLst>
          <pc:docMk/>
          <pc:sldMk cId="2904048250" sldId="480"/>
        </pc:sldMkLst>
        <pc:spChg chg="mod">
          <ac:chgData name="Christian Gillam" userId="S::cgill016@uottawa.ca::178737ef-0014-4dd8-b439-bc02dd9433a1" providerId="AD" clId="Web-{67A6DF72-2C1C-6933-8AEF-8A4E25B4BF5D}" dt="2025-02-24T01:03:14.265" v="45" actId="20577"/>
          <ac:spMkLst>
            <pc:docMk/>
            <pc:sldMk cId="2904048250" sldId="480"/>
            <ac:spMk id="5" creationId="{1FF3FB14-03C3-5FDE-9899-C637CDBB52F8}"/>
          </ac:spMkLst>
        </pc:spChg>
      </pc:sldChg>
    </pc:docChg>
  </pc:docChgLst>
  <pc:docChgLst>
    <pc:chgData name="Joey Ray Zahr" userId="9150008f-b0d5-4c48-a0fe-8b032f63645f" providerId="ADAL" clId="{B1ABC299-FCA9-4C44-96D5-90D8CAAD4DDB}"/>
    <pc:docChg chg="undo custSel addSld delSld modSld">
      <pc:chgData name="Joey Ray Zahr" userId="9150008f-b0d5-4c48-a0fe-8b032f63645f" providerId="ADAL" clId="{B1ABC299-FCA9-4C44-96D5-90D8CAAD4DDB}" dt="2025-02-24T03:17:38.626" v="2582"/>
      <pc:docMkLst>
        <pc:docMk/>
      </pc:docMkLst>
      <pc:sldChg chg="addSp modSp mod">
        <pc:chgData name="Joey Ray Zahr" userId="9150008f-b0d5-4c48-a0fe-8b032f63645f" providerId="ADAL" clId="{B1ABC299-FCA9-4C44-96D5-90D8CAAD4DDB}" dt="2025-02-23T16:59:58.068" v="2551"/>
        <pc:sldMkLst>
          <pc:docMk/>
          <pc:sldMk cId="131303031" sldId="343"/>
        </pc:sldMkLst>
        <pc:graphicFrameChg chg="mod">
          <ac:chgData name="Joey Ray Zahr" userId="9150008f-b0d5-4c48-a0fe-8b032f63645f" providerId="ADAL" clId="{B1ABC299-FCA9-4C44-96D5-90D8CAAD4DDB}" dt="2025-02-23T16:59:58.068" v="2551"/>
          <ac:graphicFrameMkLst>
            <pc:docMk/>
            <pc:sldMk cId="131303031" sldId="343"/>
            <ac:graphicFrameMk id="9" creationId="{202AEF3C-9897-CA42-A2F6-095F7B7A0A29}"/>
          </ac:graphicFrameMkLst>
        </pc:graphicFrameChg>
      </pc:sldChg>
      <pc:sldChg chg="modSp mod">
        <pc:chgData name="Joey Ray Zahr" userId="9150008f-b0d5-4c48-a0fe-8b032f63645f" providerId="ADAL" clId="{B1ABC299-FCA9-4C44-96D5-90D8CAAD4DDB}" dt="2025-02-22T17:28:30.562" v="2371" actId="27918"/>
        <pc:sldMkLst>
          <pc:docMk/>
          <pc:sldMk cId="1028352504" sldId="363"/>
        </pc:sldMkLst>
        <pc:graphicFrameChg chg="mod">
          <ac:chgData name="Joey Ray Zahr" userId="9150008f-b0d5-4c48-a0fe-8b032f63645f" providerId="ADAL" clId="{B1ABC299-FCA9-4C44-96D5-90D8CAAD4DDB}" dt="2025-02-22T17:28:29.524" v="2370"/>
          <ac:graphicFrameMkLst>
            <pc:docMk/>
            <pc:sldMk cId="1028352504" sldId="363"/>
            <ac:graphicFrameMk id="16" creationId="{085B78DD-0CBA-BA14-FF31-3DE1972E4CD1}"/>
          </ac:graphicFrameMkLst>
        </pc:graphicFrameChg>
      </pc:sldChg>
      <pc:sldChg chg="addSp modSp mod modCm">
        <pc:chgData name="Joey Ray Zahr" userId="9150008f-b0d5-4c48-a0fe-8b032f63645f" providerId="ADAL" clId="{B1ABC299-FCA9-4C44-96D5-90D8CAAD4DDB}" dt="2025-02-24T03:17:38.626" v="2582"/>
        <pc:sldMkLst>
          <pc:docMk/>
          <pc:sldMk cId="3362839997" sldId="365"/>
        </pc:sldMkLst>
        <pc:graphicFrameChg chg="mod">
          <ac:chgData name="Joey Ray Zahr" userId="9150008f-b0d5-4c48-a0fe-8b032f63645f" providerId="ADAL" clId="{B1ABC299-FCA9-4C44-96D5-90D8CAAD4DDB}" dt="2025-02-23T17:11:26.445" v="2577"/>
          <ac:graphicFrameMkLst>
            <pc:docMk/>
            <pc:sldMk cId="3362839997" sldId="365"/>
            <ac:graphicFrameMk id="3" creationId="{C5428B4A-019E-BEDB-82BA-5AD952B4C2F7}"/>
          </ac:graphicFrameMkLst>
        </pc:graphicFrameChg>
        <pc:graphicFrameChg chg="modGraphic">
          <ac:chgData name="Joey Ray Zahr" userId="9150008f-b0d5-4c48-a0fe-8b032f63645f" providerId="ADAL" clId="{B1ABC299-FCA9-4C44-96D5-90D8CAAD4DDB}" dt="2025-02-23T17:00:50.031" v="2555" actId="20577"/>
          <ac:graphicFrameMkLst>
            <pc:docMk/>
            <pc:sldMk cId="3362839997" sldId="365"/>
            <ac:graphicFrameMk id="11" creationId="{1DD65CFC-7F1F-9252-C9EA-3DD79959499D}"/>
          </ac:graphicFrameMkLst>
        </pc:graphicFrameChg>
      </pc:sldChg>
      <pc:sldChg chg="addSp modSp mod">
        <pc:chgData name="Joey Ray Zahr" userId="9150008f-b0d5-4c48-a0fe-8b032f63645f" providerId="ADAL" clId="{B1ABC299-FCA9-4C44-96D5-90D8CAAD4DDB}" dt="2025-02-21T19:58:37.767" v="2098" actId="20577"/>
        <pc:sldMkLst>
          <pc:docMk/>
          <pc:sldMk cId="4052889244" sldId="411"/>
        </pc:sldMkLst>
      </pc:sldChg>
      <pc:sldChg chg="addSp modSp mod">
        <pc:chgData name="Joey Ray Zahr" userId="9150008f-b0d5-4c48-a0fe-8b032f63645f" providerId="ADAL" clId="{B1ABC299-FCA9-4C44-96D5-90D8CAAD4DDB}" dt="2025-02-21T19:56:02.886" v="1888" actId="20577"/>
        <pc:sldMkLst>
          <pc:docMk/>
          <pc:sldMk cId="780259659" sldId="413"/>
        </pc:sldMkLst>
      </pc:sldChg>
      <pc:sldChg chg="modSp mod">
        <pc:chgData name="Joey Ray Zahr" userId="9150008f-b0d5-4c48-a0fe-8b032f63645f" providerId="ADAL" clId="{B1ABC299-FCA9-4C44-96D5-90D8CAAD4DDB}" dt="2025-02-23T17:03:40.747" v="2575" actId="1076"/>
        <pc:sldMkLst>
          <pc:docMk/>
          <pc:sldMk cId="3755069447" sldId="447"/>
        </pc:sldMkLst>
        <pc:spChg chg="mod">
          <ac:chgData name="Joey Ray Zahr" userId="9150008f-b0d5-4c48-a0fe-8b032f63645f" providerId="ADAL" clId="{B1ABC299-FCA9-4C44-96D5-90D8CAAD4DDB}" dt="2025-02-23T17:03:40.747" v="2575" actId="1076"/>
          <ac:spMkLst>
            <pc:docMk/>
            <pc:sldMk cId="3755069447" sldId="447"/>
            <ac:spMk id="47" creationId="{3A0FAC6C-2301-1291-8527-FE3355B4BB2B}"/>
          </ac:spMkLst>
        </pc:spChg>
      </pc:sldChg>
      <pc:sldChg chg="addSp modSp mod">
        <pc:chgData name="Joey Ray Zahr" userId="9150008f-b0d5-4c48-a0fe-8b032f63645f" providerId="ADAL" clId="{B1ABC299-FCA9-4C44-96D5-90D8CAAD4DDB}" dt="2025-02-22T23:50:23.214" v="2539" actId="20577"/>
        <pc:sldMkLst>
          <pc:docMk/>
          <pc:sldMk cId="4018175131" sldId="461"/>
        </pc:sldMkLst>
        <pc:spChg chg="add mod">
          <ac:chgData name="Joey Ray Zahr" userId="9150008f-b0d5-4c48-a0fe-8b032f63645f" providerId="ADAL" clId="{B1ABC299-FCA9-4C44-96D5-90D8CAAD4DDB}" dt="2025-02-22T23:50:23.214" v="2539" actId="20577"/>
          <ac:spMkLst>
            <pc:docMk/>
            <pc:sldMk cId="4018175131" sldId="461"/>
            <ac:spMk id="2" creationId="{165AC82A-FC4A-37A0-1C34-49CD0BD861DB}"/>
          </ac:spMkLst>
        </pc:spChg>
        <pc:spChg chg="add mod">
          <ac:chgData name="Joey Ray Zahr" userId="9150008f-b0d5-4c48-a0fe-8b032f63645f" providerId="ADAL" clId="{B1ABC299-FCA9-4C44-96D5-90D8CAAD4DDB}" dt="2025-02-22T17:19:09.503" v="2181" actId="20577"/>
          <ac:spMkLst>
            <pc:docMk/>
            <pc:sldMk cId="4018175131" sldId="461"/>
            <ac:spMk id="6" creationId="{E2EB9655-E629-8810-0C43-BB7FD2089E3A}"/>
          </ac:spMkLst>
        </pc:spChg>
      </pc:sldChg>
      <pc:sldChg chg="addSp modSp mod">
        <pc:chgData name="Joey Ray Zahr" userId="9150008f-b0d5-4c48-a0fe-8b032f63645f" providerId="ADAL" clId="{B1ABC299-FCA9-4C44-96D5-90D8CAAD4DDB}" dt="2025-02-23T16:57:58.435" v="2542" actId="20577"/>
        <pc:sldMkLst>
          <pc:docMk/>
          <pc:sldMk cId="3458094001" sldId="462"/>
        </pc:sldMkLst>
        <pc:spChg chg="add mod">
          <ac:chgData name="Joey Ray Zahr" userId="9150008f-b0d5-4c48-a0fe-8b032f63645f" providerId="ADAL" clId="{B1ABC299-FCA9-4C44-96D5-90D8CAAD4DDB}" dt="2025-02-22T17:18:50.095" v="2137" actId="20577"/>
          <ac:spMkLst>
            <pc:docMk/>
            <pc:sldMk cId="3458094001" sldId="462"/>
            <ac:spMk id="2" creationId="{0EE8B43D-0E0F-2CDA-FF89-738DE889E94A}"/>
          </ac:spMkLst>
        </pc:spChg>
        <pc:spChg chg="mod">
          <ac:chgData name="Joey Ray Zahr" userId="9150008f-b0d5-4c48-a0fe-8b032f63645f" providerId="ADAL" clId="{B1ABC299-FCA9-4C44-96D5-90D8CAAD4DDB}" dt="2025-02-21T19:39:04.098" v="803" actId="20577"/>
          <ac:spMkLst>
            <pc:docMk/>
            <pc:sldMk cId="3458094001" sldId="462"/>
            <ac:spMk id="19" creationId="{E8217FE0-CEED-3389-1B28-973940881080}"/>
          </ac:spMkLst>
        </pc:spChg>
        <pc:spChg chg="mod">
          <ac:chgData name="Joey Ray Zahr" userId="9150008f-b0d5-4c48-a0fe-8b032f63645f" providerId="ADAL" clId="{B1ABC299-FCA9-4C44-96D5-90D8CAAD4DDB}" dt="2025-02-23T16:57:58.435" v="2542" actId="20577"/>
          <ac:spMkLst>
            <pc:docMk/>
            <pc:sldMk cId="3458094001" sldId="462"/>
            <ac:spMk id="21" creationId="{376C8074-4429-E6A9-8140-02D4F76340EF}"/>
          </ac:spMkLst>
        </pc:spChg>
      </pc:sldChg>
      <pc:sldChg chg="addSp modSp mod">
        <pc:chgData name="Joey Ray Zahr" userId="9150008f-b0d5-4c48-a0fe-8b032f63645f" providerId="ADAL" clId="{B1ABC299-FCA9-4C44-96D5-90D8CAAD4DDB}" dt="2025-02-23T16:58:31.296" v="2544" actId="1076"/>
        <pc:sldMkLst>
          <pc:docMk/>
          <pc:sldMk cId="1573245639" sldId="465"/>
        </pc:sldMkLst>
        <pc:spChg chg="mod">
          <ac:chgData name="Joey Ray Zahr" userId="9150008f-b0d5-4c48-a0fe-8b032f63645f" providerId="ADAL" clId="{B1ABC299-FCA9-4C44-96D5-90D8CAAD4DDB}" dt="2025-02-23T16:58:31.296" v="2544" actId="1076"/>
          <ac:spMkLst>
            <pc:docMk/>
            <pc:sldMk cId="1573245639" sldId="465"/>
            <ac:spMk id="11" creationId="{3290327A-1096-73F0-F2A7-1E9E7EA10DC8}"/>
          </ac:spMkLst>
        </pc:spChg>
        <pc:spChg chg="add mod">
          <ac:chgData name="Joey Ray Zahr" userId="9150008f-b0d5-4c48-a0fe-8b032f63645f" providerId="ADAL" clId="{B1ABC299-FCA9-4C44-96D5-90D8CAAD4DDB}" dt="2025-02-22T17:20:24.216" v="2281" actId="1076"/>
          <ac:spMkLst>
            <pc:docMk/>
            <pc:sldMk cId="1573245639" sldId="465"/>
            <ac:spMk id="18" creationId="{8967E3D9-0DD0-5FC3-AAD3-E514320F0225}"/>
          </ac:spMkLst>
        </pc:spChg>
      </pc:sldChg>
      <pc:sldChg chg="addSp modSp mod">
        <pc:chgData name="Joey Ray Zahr" userId="9150008f-b0d5-4c48-a0fe-8b032f63645f" providerId="ADAL" clId="{B1ABC299-FCA9-4C44-96D5-90D8CAAD4DDB}" dt="2025-02-23T16:58:51.043" v="2545" actId="14100"/>
        <pc:sldMkLst>
          <pc:docMk/>
          <pc:sldMk cId="3029556874" sldId="466"/>
        </pc:sldMkLst>
        <pc:spChg chg="add mod">
          <ac:chgData name="Joey Ray Zahr" userId="9150008f-b0d5-4c48-a0fe-8b032f63645f" providerId="ADAL" clId="{B1ABC299-FCA9-4C44-96D5-90D8CAAD4DDB}" dt="2025-02-22T17:24:23.376" v="2361" actId="6549"/>
          <ac:spMkLst>
            <pc:docMk/>
            <pc:sldMk cId="3029556874" sldId="466"/>
            <ac:spMk id="6" creationId="{5155FC55-DDE9-0300-15E9-6EAF7FA3E685}"/>
          </ac:spMkLst>
        </pc:spChg>
        <pc:spChg chg="mod">
          <ac:chgData name="Joey Ray Zahr" userId="9150008f-b0d5-4c48-a0fe-8b032f63645f" providerId="ADAL" clId="{B1ABC299-FCA9-4C44-96D5-90D8CAAD4DDB}" dt="2025-02-22T17:22:45.208" v="2359" actId="20577"/>
          <ac:spMkLst>
            <pc:docMk/>
            <pc:sldMk cId="3029556874" sldId="466"/>
            <ac:spMk id="12" creationId="{46BE5529-5E90-E52A-74E6-BE3F44760B1C}"/>
          </ac:spMkLst>
        </pc:spChg>
        <pc:graphicFrameChg chg="modGraphic">
          <ac:chgData name="Joey Ray Zahr" userId="9150008f-b0d5-4c48-a0fe-8b032f63645f" providerId="ADAL" clId="{B1ABC299-FCA9-4C44-96D5-90D8CAAD4DDB}" dt="2025-02-23T16:58:51.043" v="2545" actId="14100"/>
          <ac:graphicFrameMkLst>
            <pc:docMk/>
            <pc:sldMk cId="3029556874" sldId="466"/>
            <ac:graphicFrameMk id="18" creationId="{EB434806-DA5B-A781-6AE6-8B42B985A53E}"/>
          </ac:graphicFrameMkLst>
        </pc:graphicFrameChg>
      </pc:sldChg>
      <pc:sldChg chg="addSp modSp">
        <pc:chgData name="Joey Ray Zahr" userId="9150008f-b0d5-4c48-a0fe-8b032f63645f" providerId="ADAL" clId="{B1ABC299-FCA9-4C44-96D5-90D8CAAD4DDB}" dt="2025-02-22T23:48:10.511" v="2372"/>
        <pc:sldMkLst>
          <pc:docMk/>
          <pc:sldMk cId="2111688645" sldId="470"/>
        </pc:sldMkLst>
        <pc:graphicFrameChg chg="mod">
          <ac:chgData name="Joey Ray Zahr" userId="9150008f-b0d5-4c48-a0fe-8b032f63645f" providerId="ADAL" clId="{B1ABC299-FCA9-4C44-96D5-90D8CAAD4DDB}" dt="2025-02-22T23:48:10.511" v="2372"/>
          <ac:graphicFrameMkLst>
            <pc:docMk/>
            <pc:sldMk cId="2111688645" sldId="470"/>
            <ac:graphicFrameMk id="14" creationId="{09F2808C-9396-0760-41F8-797BEC3CC095}"/>
          </ac:graphicFrameMkLst>
        </pc:graphicFrameChg>
      </pc:sldChg>
      <pc:sldChg chg="addSp modSp mod">
        <pc:chgData name="Joey Ray Zahr" userId="9150008f-b0d5-4c48-a0fe-8b032f63645f" providerId="ADAL" clId="{B1ABC299-FCA9-4C44-96D5-90D8CAAD4DDB}" dt="2025-02-21T19:56:13.017" v="1914" actId="20577"/>
        <pc:sldMkLst>
          <pc:docMk/>
          <pc:sldMk cId="2627618476" sldId="475"/>
        </pc:sldMkLst>
      </pc:sldChg>
      <pc:sldChg chg="addSp modSp mod">
        <pc:chgData name="Joey Ray Zahr" userId="9150008f-b0d5-4c48-a0fe-8b032f63645f" providerId="ADAL" clId="{B1ABC299-FCA9-4C44-96D5-90D8CAAD4DDB}" dt="2025-02-21T19:56:59.298" v="2009"/>
        <pc:sldMkLst>
          <pc:docMk/>
          <pc:sldMk cId="620634574" sldId="476"/>
        </pc:sldMkLst>
      </pc:sldChg>
      <pc:sldChg chg="addSp modSp mod">
        <pc:chgData name="Joey Ray Zahr" userId="9150008f-b0d5-4c48-a0fe-8b032f63645f" providerId="ADAL" clId="{B1ABC299-FCA9-4C44-96D5-90D8CAAD4DDB}" dt="2025-02-23T17:02:34.257" v="2567" actId="242"/>
        <pc:sldMkLst>
          <pc:docMk/>
          <pc:sldMk cId="423703719" sldId="477"/>
        </pc:sldMkLst>
        <pc:graphicFrameChg chg="modGraphic">
          <ac:chgData name="Joey Ray Zahr" userId="9150008f-b0d5-4c48-a0fe-8b032f63645f" providerId="ADAL" clId="{B1ABC299-FCA9-4C44-96D5-90D8CAAD4DDB}" dt="2025-02-23T17:02:29.616" v="2566" actId="242"/>
          <ac:graphicFrameMkLst>
            <pc:docMk/>
            <pc:sldMk cId="423703719" sldId="477"/>
            <ac:graphicFrameMk id="13" creationId="{9A482C56-FC75-95E4-5BB6-D4E0B437A47E}"/>
          </ac:graphicFrameMkLst>
        </pc:graphicFrameChg>
        <pc:graphicFrameChg chg="modGraphic">
          <ac:chgData name="Joey Ray Zahr" userId="9150008f-b0d5-4c48-a0fe-8b032f63645f" providerId="ADAL" clId="{B1ABC299-FCA9-4C44-96D5-90D8CAAD4DDB}" dt="2025-02-23T17:02:34.257" v="2567" actId="242"/>
          <ac:graphicFrameMkLst>
            <pc:docMk/>
            <pc:sldMk cId="423703719" sldId="477"/>
            <ac:graphicFrameMk id="21" creationId="{4509AB78-A3A3-F19A-64BD-04738CD4528F}"/>
          </ac:graphicFrameMkLst>
        </pc:graphicFrameChg>
      </pc:sldChg>
      <pc:sldChg chg="addSp modSp mod modCm">
        <pc:chgData name="Joey Ray Zahr" userId="9150008f-b0d5-4c48-a0fe-8b032f63645f" providerId="ADAL" clId="{B1ABC299-FCA9-4C44-96D5-90D8CAAD4DDB}" dt="2025-02-21T19:58:13.430" v="2056"/>
        <pc:sldMkLst>
          <pc:docMk/>
          <pc:sldMk cId="2904048250" sldId="480"/>
        </pc:sldMkLst>
      </pc:sldChg>
      <pc:sldChg chg="addSp modSp">
        <pc:chgData name="Joey Ray Zahr" userId="9150008f-b0d5-4c48-a0fe-8b032f63645f" providerId="ADAL" clId="{B1ABC299-FCA9-4C44-96D5-90D8CAAD4DDB}" dt="2025-02-21T19:58:07.610" v="2053"/>
        <pc:sldMkLst>
          <pc:docMk/>
          <pc:sldMk cId="579433030" sldId="481"/>
        </pc:sldMkLst>
      </pc:sldChg>
      <pc:sldChg chg="addSp modSp mod">
        <pc:chgData name="Joey Ray Zahr" userId="9150008f-b0d5-4c48-a0fe-8b032f63645f" providerId="ADAL" clId="{B1ABC299-FCA9-4C44-96D5-90D8CAAD4DDB}" dt="2025-02-21T21:42:02.645" v="2100" actId="1076"/>
        <pc:sldMkLst>
          <pc:docMk/>
          <pc:sldMk cId="1162722854" sldId="482"/>
        </pc:sldMkLst>
      </pc:sldChg>
      <pc:sldChg chg="addSp modSp mod">
        <pc:chgData name="Joey Ray Zahr" userId="9150008f-b0d5-4c48-a0fe-8b032f63645f" providerId="ADAL" clId="{B1ABC299-FCA9-4C44-96D5-90D8CAAD4DDB}" dt="2025-02-22T23:50:57.579" v="2540" actId="20577"/>
        <pc:sldMkLst>
          <pc:docMk/>
          <pc:sldMk cId="2215148334" sldId="485"/>
        </pc:sldMkLst>
        <pc:graphicFrameChg chg="mod">
          <ac:chgData name="Joey Ray Zahr" userId="9150008f-b0d5-4c48-a0fe-8b032f63645f" providerId="ADAL" clId="{B1ABC299-FCA9-4C44-96D5-90D8CAAD4DDB}" dt="2025-02-22T23:50:57.579" v="2540" actId="20577"/>
          <ac:graphicFrameMkLst>
            <pc:docMk/>
            <pc:sldMk cId="2215148334" sldId="485"/>
            <ac:graphicFrameMk id="27" creationId="{2B6AC870-0568-D60C-947F-3410F36F5C70}"/>
          </ac:graphicFrameMkLst>
        </pc:graphicFrameChg>
      </pc:sldChg>
      <pc:sldChg chg="addSp modSp mod">
        <pc:chgData name="Joey Ray Zahr" userId="9150008f-b0d5-4c48-a0fe-8b032f63645f" providerId="ADAL" clId="{B1ABC299-FCA9-4C44-96D5-90D8CAAD4DDB}" dt="2025-02-23T16:37:35.404" v="2541" actId="1076"/>
        <pc:sldMkLst>
          <pc:docMk/>
          <pc:sldMk cId="364820169" sldId="487"/>
        </pc:sldMkLst>
        <pc:graphicFrameChg chg="mod">
          <ac:chgData name="Joey Ray Zahr" userId="9150008f-b0d5-4c48-a0fe-8b032f63645f" providerId="ADAL" clId="{B1ABC299-FCA9-4C44-96D5-90D8CAAD4DDB}" dt="2025-02-23T16:37:35.404" v="2541" actId="1076"/>
          <ac:graphicFrameMkLst>
            <pc:docMk/>
            <pc:sldMk cId="364820169" sldId="487"/>
            <ac:graphicFrameMk id="14" creationId="{CEFA03DE-4A17-6A0F-38EE-4CDEC42DC3D7}"/>
          </ac:graphicFrameMkLst>
        </pc:graphicFrameChg>
      </pc:sldChg>
      <pc:sldChg chg="addSp modSp mod">
        <pc:chgData name="Joey Ray Zahr" userId="9150008f-b0d5-4c48-a0fe-8b032f63645f" providerId="ADAL" clId="{B1ABC299-FCA9-4C44-96D5-90D8CAAD4DDB}" dt="2025-02-23T19:56:34.640" v="2581"/>
        <pc:sldMkLst>
          <pc:docMk/>
          <pc:sldMk cId="2590877607" sldId="488"/>
        </pc:sldMkLst>
        <pc:graphicFrameChg chg="mod">
          <ac:chgData name="Joey Ray Zahr" userId="9150008f-b0d5-4c48-a0fe-8b032f63645f" providerId="ADAL" clId="{B1ABC299-FCA9-4C44-96D5-90D8CAAD4DDB}" dt="2025-02-23T17:11:15.636" v="2576"/>
          <ac:graphicFrameMkLst>
            <pc:docMk/>
            <pc:sldMk cId="2590877607" sldId="488"/>
            <ac:graphicFrameMk id="14" creationId="{B933B813-F59A-4F76-6451-92932A3F5CAC}"/>
          </ac:graphicFrameMkLst>
        </pc:graphicFrameChg>
        <pc:graphicFrameChg chg="mod modGraphic">
          <ac:chgData name="Joey Ray Zahr" userId="9150008f-b0d5-4c48-a0fe-8b032f63645f" providerId="ADAL" clId="{B1ABC299-FCA9-4C44-96D5-90D8CAAD4DDB}" dt="2025-02-23T19:56:34.640" v="2581"/>
          <ac:graphicFrameMkLst>
            <pc:docMk/>
            <pc:sldMk cId="2590877607" sldId="488"/>
            <ac:graphicFrameMk id="15" creationId="{B33FC8C1-F7B2-E534-8D28-D9FA5924A4B6}"/>
          </ac:graphicFrameMkLst>
        </pc:graphicFrameChg>
      </pc:sldChg>
      <pc:sldChg chg="modSp mod">
        <pc:chgData name="Joey Ray Zahr" userId="9150008f-b0d5-4c48-a0fe-8b032f63645f" providerId="ADAL" clId="{B1ABC299-FCA9-4C44-96D5-90D8CAAD4DDB}" dt="2025-02-23T17:01:37.832" v="2563" actId="14734"/>
        <pc:sldMkLst>
          <pc:docMk/>
          <pc:sldMk cId="3305817542" sldId="489"/>
        </pc:sldMkLst>
        <pc:graphicFrameChg chg="mod modGraphic">
          <ac:chgData name="Joey Ray Zahr" userId="9150008f-b0d5-4c48-a0fe-8b032f63645f" providerId="ADAL" clId="{B1ABC299-FCA9-4C44-96D5-90D8CAAD4DDB}" dt="2025-02-23T17:01:37.832" v="2563" actId="14734"/>
          <ac:graphicFrameMkLst>
            <pc:docMk/>
            <pc:sldMk cId="3305817542" sldId="489"/>
            <ac:graphicFrameMk id="27" creationId="{EE13433F-6084-2E7A-78B8-CD59DF00E9D3}"/>
          </ac:graphicFrameMkLst>
        </pc:graphicFrameChg>
      </pc:sldChg>
      <pc:sldChg chg="modSp mod">
        <pc:chgData name="Joey Ray Zahr" userId="9150008f-b0d5-4c48-a0fe-8b032f63645f" providerId="ADAL" clId="{B1ABC299-FCA9-4C44-96D5-90D8CAAD4DDB}" dt="2025-02-22T23:49:12.478" v="2375"/>
        <pc:sldMkLst>
          <pc:docMk/>
          <pc:sldMk cId="2749295762" sldId="490"/>
        </pc:sldMkLst>
        <pc:graphicFrameChg chg="mod modGraphic">
          <ac:chgData name="Joey Ray Zahr" userId="9150008f-b0d5-4c48-a0fe-8b032f63645f" providerId="ADAL" clId="{B1ABC299-FCA9-4C44-96D5-90D8CAAD4DDB}" dt="2025-02-22T23:49:10.276" v="2374"/>
          <ac:graphicFrameMkLst>
            <pc:docMk/>
            <pc:sldMk cId="2749295762" sldId="490"/>
            <ac:graphicFrameMk id="10" creationId="{F846FA44-78AA-4078-4433-0780450F9BE8}"/>
          </ac:graphicFrameMkLst>
        </pc:graphicFrameChg>
        <pc:graphicFrameChg chg="mod modGraphic">
          <ac:chgData name="Joey Ray Zahr" userId="9150008f-b0d5-4c48-a0fe-8b032f63645f" providerId="ADAL" clId="{B1ABC299-FCA9-4C44-96D5-90D8CAAD4DDB}" dt="2025-02-22T23:49:12.478" v="2375"/>
          <ac:graphicFrameMkLst>
            <pc:docMk/>
            <pc:sldMk cId="2749295762" sldId="490"/>
            <ac:graphicFrameMk id="11" creationId="{CA8D9854-01B4-5269-194B-F5076CA4A324}"/>
          </ac:graphicFrameMkLst>
        </pc:graphicFrameChg>
      </pc:sldChg>
      <pc:sldChg chg="addSp modSp">
        <pc:chgData name="Joey Ray Zahr" userId="9150008f-b0d5-4c48-a0fe-8b032f63645f" providerId="ADAL" clId="{B1ABC299-FCA9-4C44-96D5-90D8CAAD4DDB}" dt="2025-02-21T19:57:20.808" v="2013"/>
        <pc:sldMkLst>
          <pc:docMk/>
          <pc:sldMk cId="2949077002" sldId="491"/>
        </pc:sldMkLst>
      </pc:sldChg>
      <pc:sldChg chg="addSp modSp mod">
        <pc:chgData name="Joey Ray Zahr" userId="9150008f-b0d5-4c48-a0fe-8b032f63645f" providerId="ADAL" clId="{B1ABC299-FCA9-4C44-96D5-90D8CAAD4DDB}" dt="2025-02-21T19:57:38.480" v="2028" actId="20577"/>
        <pc:sldMkLst>
          <pc:docMk/>
          <pc:sldMk cId="3223544848" sldId="492"/>
        </pc:sldMkLst>
      </pc:sldChg>
      <pc:sldChg chg="add del">
        <pc:chgData name="Joey Ray Zahr" userId="9150008f-b0d5-4c48-a0fe-8b032f63645f" providerId="ADAL" clId="{B1ABC299-FCA9-4C44-96D5-90D8CAAD4DDB}" dt="2025-02-21T19:57:56.432" v="2050"/>
        <pc:sldMkLst>
          <pc:docMk/>
          <pc:sldMk cId="3800982044" sldId="493"/>
        </pc:sldMkLst>
      </pc:sldChg>
      <pc:sldChg chg="modSp mod">
        <pc:chgData name="Joey Ray Zahr" userId="9150008f-b0d5-4c48-a0fe-8b032f63645f" providerId="ADAL" clId="{B1ABC299-FCA9-4C44-96D5-90D8CAAD4DDB}" dt="2025-02-23T17:11:46.466" v="2578"/>
        <pc:sldMkLst>
          <pc:docMk/>
          <pc:sldMk cId="1155382054" sldId="495"/>
        </pc:sldMkLst>
        <pc:graphicFrameChg chg="mod">
          <ac:chgData name="Joey Ray Zahr" userId="9150008f-b0d5-4c48-a0fe-8b032f63645f" providerId="ADAL" clId="{B1ABC299-FCA9-4C44-96D5-90D8CAAD4DDB}" dt="2025-02-23T17:11:46.466" v="2578"/>
          <ac:graphicFrameMkLst>
            <pc:docMk/>
            <pc:sldMk cId="1155382054" sldId="495"/>
            <ac:graphicFrameMk id="3" creationId="{2E33675E-613F-69DC-7F34-B95BB1B034A7}"/>
          </ac:graphicFrameMkLst>
        </pc:graphicFrameChg>
        <pc:graphicFrameChg chg="modGraphic">
          <ac:chgData name="Joey Ray Zahr" userId="9150008f-b0d5-4c48-a0fe-8b032f63645f" providerId="ADAL" clId="{B1ABC299-FCA9-4C44-96D5-90D8CAAD4DDB}" dt="2025-02-23T17:02:59.737" v="2572" actId="242"/>
          <ac:graphicFrameMkLst>
            <pc:docMk/>
            <pc:sldMk cId="1155382054" sldId="495"/>
            <ac:graphicFrameMk id="7" creationId="{CC0CEAE9-92D7-0D3D-D2C0-EA9A579A2DBF}"/>
          </ac:graphicFrameMkLst>
        </pc:graphicFrameChg>
        <pc:graphicFrameChg chg="modGraphic">
          <ac:chgData name="Joey Ray Zahr" userId="9150008f-b0d5-4c48-a0fe-8b032f63645f" providerId="ADAL" clId="{B1ABC299-FCA9-4C44-96D5-90D8CAAD4DDB}" dt="2025-02-23T17:02:52.033" v="2571" actId="20577"/>
          <ac:graphicFrameMkLst>
            <pc:docMk/>
            <pc:sldMk cId="1155382054" sldId="495"/>
            <ac:graphicFrameMk id="11" creationId="{1C98F55B-F4FB-BF8A-5A8F-DC40AAF503AF}"/>
          </ac:graphicFrameMkLst>
        </pc:graphicFrameChg>
      </pc:sldChg>
      <pc:sldChg chg="modSp">
        <pc:chgData name="Joey Ray Zahr" userId="9150008f-b0d5-4c48-a0fe-8b032f63645f" providerId="ADAL" clId="{B1ABC299-FCA9-4C44-96D5-90D8CAAD4DDB}" dt="2025-02-23T17:03:13.685" v="2573"/>
        <pc:sldMkLst>
          <pc:docMk/>
          <pc:sldMk cId="167859376" sldId="496"/>
        </pc:sldMkLst>
        <pc:graphicFrameChg chg="mod">
          <ac:chgData name="Joey Ray Zahr" userId="9150008f-b0d5-4c48-a0fe-8b032f63645f" providerId="ADAL" clId="{B1ABC299-FCA9-4C44-96D5-90D8CAAD4DDB}" dt="2025-02-23T17:03:13.685" v="2573"/>
          <ac:graphicFrameMkLst>
            <pc:docMk/>
            <pc:sldMk cId="167859376" sldId="496"/>
            <ac:graphicFrameMk id="12" creationId="{F0E679C3-8A3F-01DE-64E8-18C56A0ED98F}"/>
          </ac:graphicFrameMkLst>
        </pc:graphicFrameChg>
      </pc:sldChg>
    </pc:docChg>
  </pc:docChgLst>
  <pc:docChgLst>
    <pc:chgData name="Christian Gillam" userId="S::cgill016@uottawa.ca::178737ef-0014-4dd8-b439-bc02dd9433a1" providerId="AD" clId="Web-{321A7B07-FD07-7854-B994-4B1CE520B57A}"/>
    <pc:docChg chg="modSld">
      <pc:chgData name="Christian Gillam" userId="S::cgill016@uottawa.ca::178737ef-0014-4dd8-b439-bc02dd9433a1" providerId="AD" clId="Web-{321A7B07-FD07-7854-B994-4B1CE520B57A}" dt="2025-02-23T19:05:54.577" v="7" actId="20577"/>
      <pc:docMkLst>
        <pc:docMk/>
      </pc:docMkLst>
      <pc:sldChg chg="modSp">
        <pc:chgData name="Christian Gillam" userId="S::cgill016@uottawa.ca::178737ef-0014-4dd8-b439-bc02dd9433a1" providerId="AD" clId="Web-{321A7B07-FD07-7854-B994-4B1CE520B57A}" dt="2025-02-23T19:05:54.577" v="7" actId="20577"/>
        <pc:sldMkLst>
          <pc:docMk/>
          <pc:sldMk cId="4052889244" sldId="411"/>
        </pc:sldMkLst>
        <pc:spChg chg="mod">
          <ac:chgData name="Christian Gillam" userId="S::cgill016@uottawa.ca::178737ef-0014-4dd8-b439-bc02dd9433a1" providerId="AD" clId="Web-{321A7B07-FD07-7854-B994-4B1CE520B57A}" dt="2025-02-23T19:05:54.577" v="7" actId="20577"/>
          <ac:spMkLst>
            <pc:docMk/>
            <pc:sldMk cId="4052889244" sldId="411"/>
            <ac:spMk id="15" creationId="{C48A4E1E-E808-D5A5-9D33-88CA8F60389A}"/>
          </ac:spMkLst>
        </pc:spChg>
        <pc:graphicFrameChg chg="modGraphic">
          <ac:chgData name="Christian Gillam" userId="S::cgill016@uottawa.ca::178737ef-0014-4dd8-b439-bc02dd9433a1" providerId="AD" clId="Web-{321A7B07-FD07-7854-B994-4B1CE520B57A}" dt="2025-02-23T19:04:58.123" v="5"/>
          <ac:graphicFrameMkLst>
            <pc:docMk/>
            <pc:sldMk cId="4052889244" sldId="411"/>
            <ac:graphicFrameMk id="3" creationId="{C4869B7A-28D2-4087-CA6E-FC5C3C806D0D}"/>
          </ac:graphicFrameMkLst>
        </pc:graphicFrameChg>
      </pc:sldChg>
    </pc:docChg>
  </pc:docChgLst>
  <pc:docChgLst>
    <pc:chgData name="Thomas Giroux" userId="a5e6b51b-05f9-4411-bff2-2d0750f3d155" providerId="ADAL" clId="{92AB57A1-4D22-8A45-87CC-971CA2CD800E}"/>
    <pc:docChg chg="modSld">
      <pc:chgData name="Thomas Giroux" userId="a5e6b51b-05f9-4411-bff2-2d0750f3d155" providerId="ADAL" clId="{92AB57A1-4D22-8A45-87CC-971CA2CD800E}" dt="2025-02-23T16:52:59.102" v="39" actId="20577"/>
      <pc:docMkLst>
        <pc:docMk/>
      </pc:docMkLst>
      <pc:sldChg chg="modSp">
        <pc:chgData name="Thomas Giroux" userId="a5e6b51b-05f9-4411-bff2-2d0750f3d155" providerId="ADAL" clId="{92AB57A1-4D22-8A45-87CC-971CA2CD800E}" dt="2025-02-21T20:54:01.946" v="35" actId="20577"/>
        <pc:sldMkLst>
          <pc:docMk/>
          <pc:sldMk cId="3029556874" sldId="466"/>
        </pc:sldMkLst>
        <pc:spChg chg="mod">
          <ac:chgData name="Thomas Giroux" userId="a5e6b51b-05f9-4411-bff2-2d0750f3d155" providerId="ADAL" clId="{92AB57A1-4D22-8A45-87CC-971CA2CD800E}" dt="2025-02-21T20:54:01.946" v="35" actId="20577"/>
          <ac:spMkLst>
            <pc:docMk/>
            <pc:sldMk cId="3029556874" sldId="466"/>
            <ac:spMk id="8" creationId="{0CD0C6C2-6076-1560-67D8-82A0A473FF5A}"/>
          </ac:spMkLst>
        </pc:spChg>
      </pc:sldChg>
      <pc:sldChg chg="modSp">
        <pc:chgData name="Thomas Giroux" userId="a5e6b51b-05f9-4411-bff2-2d0750f3d155" providerId="ADAL" clId="{92AB57A1-4D22-8A45-87CC-971CA2CD800E}" dt="2025-02-23T16:52:59.102" v="39" actId="20577"/>
        <pc:sldMkLst>
          <pc:docMk/>
          <pc:sldMk cId="3305817542" sldId="489"/>
        </pc:sldMkLst>
        <pc:spChg chg="mod">
          <ac:chgData name="Thomas Giroux" userId="a5e6b51b-05f9-4411-bff2-2d0750f3d155" providerId="ADAL" clId="{92AB57A1-4D22-8A45-87CC-971CA2CD800E}" dt="2025-02-23T16:52:59.102" v="39" actId="20577"/>
          <ac:spMkLst>
            <pc:docMk/>
            <pc:sldMk cId="3305817542" sldId="489"/>
            <ac:spMk id="3" creationId="{E458138F-D60D-D54C-01DA-E8762FCB35AB}"/>
          </ac:spMkLst>
        </pc:spChg>
      </pc:sldChg>
    </pc:docChg>
  </pc:docChgLst>
  <pc:docChgLst>
    <pc:chgData name="Armaan Kumar" userId="S::akuma045@uottawa.ca::a351e95c-5450-4e5f-a2d5-0f74c8f92915" providerId="AD" clId="Web-{8D01E1DF-BAF3-3379-EFB7-B49384FBC1B7}"/>
    <pc:docChg chg="modSld">
      <pc:chgData name="Armaan Kumar" userId="S::akuma045@uottawa.ca::a351e95c-5450-4e5f-a2d5-0f74c8f92915" providerId="AD" clId="Web-{8D01E1DF-BAF3-3379-EFB7-B49384FBC1B7}" dt="2025-02-20T21:50:05.971" v="1" actId="1076"/>
      <pc:docMkLst>
        <pc:docMk/>
      </pc:docMkLst>
      <pc:sldChg chg="modSp">
        <pc:chgData name="Armaan Kumar" userId="S::akuma045@uottawa.ca::a351e95c-5450-4e5f-a2d5-0f74c8f92915" providerId="AD" clId="Web-{8D01E1DF-BAF3-3379-EFB7-B49384FBC1B7}" dt="2025-02-20T21:50:05.971" v="1" actId="1076"/>
        <pc:sldMkLst>
          <pc:docMk/>
          <pc:sldMk cId="364820169" sldId="487"/>
        </pc:sldMkLst>
        <pc:graphicFrameChg chg="mod">
          <ac:chgData name="Armaan Kumar" userId="S::akuma045@uottawa.ca::a351e95c-5450-4e5f-a2d5-0f74c8f92915" providerId="AD" clId="Web-{8D01E1DF-BAF3-3379-EFB7-B49384FBC1B7}" dt="2025-02-20T21:50:05.971" v="1" actId="1076"/>
          <ac:graphicFrameMkLst>
            <pc:docMk/>
            <pc:sldMk cId="364820169" sldId="487"/>
            <ac:graphicFrameMk id="14" creationId="{CEFA03DE-4A17-6A0F-38EE-4CDEC42DC3D7}"/>
          </ac:graphicFrameMkLst>
        </pc:graphicFrameChg>
        <pc:graphicFrameChg chg="mod">
          <ac:chgData name="Armaan Kumar" userId="S::akuma045@uottawa.ca::a351e95c-5450-4e5f-a2d5-0f74c8f92915" providerId="AD" clId="Web-{8D01E1DF-BAF3-3379-EFB7-B49384FBC1B7}" dt="2025-02-20T21:49:59.814" v="0" actId="1076"/>
          <ac:graphicFrameMkLst>
            <pc:docMk/>
            <pc:sldMk cId="364820169" sldId="487"/>
            <ac:graphicFrameMk id="20" creationId="{82FEB5FD-7296-7084-B8D1-AB70850C8A07}"/>
          </ac:graphicFrameMkLst>
        </pc:graphicFrameChg>
      </pc:sldChg>
    </pc:docChg>
  </pc:docChgLst>
  <pc:docChgLst>
    <pc:chgData name="Christian Gillam" userId="S::cgill016@uottawa.ca::178737ef-0014-4dd8-b439-bc02dd9433a1" providerId="AD" clId="Web-{284ED536-0E54-776C-1B5F-8FA347E137EC}"/>
    <pc:docChg chg="mod modSld">
      <pc:chgData name="Christian Gillam" userId="S::cgill016@uottawa.ca::178737ef-0014-4dd8-b439-bc02dd9433a1" providerId="AD" clId="Web-{284ED536-0E54-776C-1B5F-8FA347E137EC}" dt="2025-02-23T17:14:37.879" v="85" actId="14100"/>
      <pc:docMkLst>
        <pc:docMk/>
      </pc:docMkLst>
      <pc:sldChg chg="modSp">
        <pc:chgData name="Christian Gillam" userId="S::cgill016@uottawa.ca::178737ef-0014-4dd8-b439-bc02dd9433a1" providerId="AD" clId="Web-{284ED536-0E54-776C-1B5F-8FA347E137EC}" dt="2025-02-23T16:57:21.075" v="15"/>
        <pc:sldMkLst>
          <pc:docMk/>
          <pc:sldMk cId="3362839997" sldId="365"/>
        </pc:sldMkLst>
        <pc:graphicFrameChg chg="mod modGraphic">
          <ac:chgData name="Christian Gillam" userId="S::cgill016@uottawa.ca::178737ef-0014-4dd8-b439-bc02dd9433a1" providerId="AD" clId="Web-{284ED536-0E54-776C-1B5F-8FA347E137EC}" dt="2025-02-23T16:57:21.075" v="15"/>
          <ac:graphicFrameMkLst>
            <pc:docMk/>
            <pc:sldMk cId="3362839997" sldId="365"/>
            <ac:graphicFrameMk id="3" creationId="{C5428B4A-019E-BEDB-82BA-5AD952B4C2F7}"/>
          </ac:graphicFrameMkLst>
        </pc:graphicFrameChg>
      </pc:sldChg>
      <pc:sldChg chg="modSp">
        <pc:chgData name="Christian Gillam" userId="S::cgill016@uottawa.ca::178737ef-0014-4dd8-b439-bc02dd9433a1" providerId="AD" clId="Web-{284ED536-0E54-776C-1B5F-8FA347E137EC}" dt="2025-02-23T17:08:07.714" v="53" actId="20577"/>
        <pc:sldMkLst>
          <pc:docMk/>
          <pc:sldMk cId="3755069447" sldId="447"/>
        </pc:sldMkLst>
        <pc:spChg chg="mod">
          <ac:chgData name="Christian Gillam" userId="S::cgill016@uottawa.ca::178737ef-0014-4dd8-b439-bc02dd9433a1" providerId="AD" clId="Web-{284ED536-0E54-776C-1B5F-8FA347E137EC}" dt="2025-02-23T17:08:07.714" v="53" actId="20577"/>
          <ac:spMkLst>
            <pc:docMk/>
            <pc:sldMk cId="3755069447" sldId="447"/>
            <ac:spMk id="48" creationId="{7A2400B1-6AEA-10AC-A7F7-58BB34033747}"/>
          </ac:spMkLst>
        </pc:spChg>
        <pc:spChg chg="mod">
          <ac:chgData name="Christian Gillam" userId="S::cgill016@uottawa.ca::178737ef-0014-4dd8-b439-bc02dd9433a1" providerId="AD" clId="Web-{284ED536-0E54-776C-1B5F-8FA347E137EC}" dt="2025-02-23T17:06:39.728" v="20" actId="1076"/>
          <ac:spMkLst>
            <pc:docMk/>
            <pc:sldMk cId="3755069447" sldId="447"/>
            <ac:spMk id="57" creationId="{69328AD4-E955-C304-01A9-96C9748ED582}"/>
          </ac:spMkLst>
        </pc:spChg>
        <pc:spChg chg="mod">
          <ac:chgData name="Christian Gillam" userId="S::cgill016@uottawa.ca::178737ef-0014-4dd8-b439-bc02dd9433a1" providerId="AD" clId="Web-{284ED536-0E54-776C-1B5F-8FA347E137EC}" dt="2025-02-23T17:07:06.869" v="21" actId="1076"/>
          <ac:spMkLst>
            <pc:docMk/>
            <pc:sldMk cId="3755069447" sldId="447"/>
            <ac:spMk id="64" creationId="{6097FD06-11B6-E3E4-CB1B-59946C02F815}"/>
          </ac:spMkLst>
        </pc:spChg>
        <pc:spChg chg="mod">
          <ac:chgData name="Christian Gillam" userId="S::cgill016@uottawa.ca::178737ef-0014-4dd8-b439-bc02dd9433a1" providerId="AD" clId="Web-{284ED536-0E54-776C-1B5F-8FA347E137EC}" dt="2025-02-23T17:06:21.446" v="19" actId="1076"/>
          <ac:spMkLst>
            <pc:docMk/>
            <pc:sldMk cId="3755069447" sldId="447"/>
            <ac:spMk id="71" creationId="{69F34AD6-4167-0FDF-91AD-340D27EEBD15}"/>
          </ac:spMkLst>
        </pc:spChg>
        <pc:cxnChg chg="mod">
          <ac:chgData name="Christian Gillam" userId="S::cgill016@uottawa.ca::178737ef-0014-4dd8-b439-bc02dd9433a1" providerId="AD" clId="Web-{284ED536-0E54-776C-1B5F-8FA347E137EC}" dt="2025-02-23T17:06:16.071" v="18"/>
          <ac:cxnSpMkLst>
            <pc:docMk/>
            <pc:sldMk cId="3755069447" sldId="447"/>
            <ac:cxnSpMk id="44" creationId="{2C09D518-BDF8-20B0-0EB2-D6048940E329}"/>
          </ac:cxnSpMkLst>
        </pc:cxnChg>
      </pc:sldChg>
      <pc:sldChg chg="addSp delSp modSp">
        <pc:chgData name="Christian Gillam" userId="S::cgill016@uottawa.ca::178737ef-0014-4dd8-b439-bc02dd9433a1" providerId="AD" clId="Web-{284ED536-0E54-776C-1B5F-8FA347E137EC}" dt="2025-02-23T16:46:28.170" v="13" actId="1076"/>
        <pc:sldMkLst>
          <pc:docMk/>
          <pc:sldMk cId="2904048250" sldId="480"/>
        </pc:sldMkLst>
        <pc:spChg chg="add del mod">
          <ac:chgData name="Christian Gillam" userId="S::cgill016@uottawa.ca::178737ef-0014-4dd8-b439-bc02dd9433a1" providerId="AD" clId="Web-{284ED536-0E54-776C-1B5F-8FA347E137EC}" dt="2025-02-23T16:45:16.918" v="6"/>
          <ac:spMkLst>
            <pc:docMk/>
            <pc:sldMk cId="2904048250" sldId="480"/>
            <ac:spMk id="13" creationId="{BDDFD86F-8B03-2B25-D5BE-A58C3883E9D5}"/>
          </ac:spMkLst>
        </pc:spChg>
        <pc:graphicFrameChg chg="add del mod">
          <ac:chgData name="Christian Gillam" userId="S::cgill016@uottawa.ca::178737ef-0014-4dd8-b439-bc02dd9433a1" providerId="AD" clId="Web-{284ED536-0E54-776C-1B5F-8FA347E137EC}" dt="2025-02-23T16:46:20.232" v="9"/>
          <ac:graphicFrameMkLst>
            <pc:docMk/>
            <pc:sldMk cId="2904048250" sldId="480"/>
            <ac:graphicFrameMk id="14" creationId="{5D8CC849-7E34-A72D-7C08-207F22B9DE75}"/>
          </ac:graphicFrameMkLst>
        </pc:graphicFrameChg>
        <pc:graphicFrameChg chg="add mod">
          <ac:chgData name="Christian Gillam" userId="S::cgill016@uottawa.ca::178737ef-0014-4dd8-b439-bc02dd9433a1" providerId="AD" clId="Web-{284ED536-0E54-776C-1B5F-8FA347E137EC}" dt="2025-02-23T16:46:28.170" v="13" actId="1076"/>
          <ac:graphicFrameMkLst>
            <pc:docMk/>
            <pc:sldMk cId="2904048250" sldId="480"/>
            <ac:graphicFrameMk id="16" creationId="{5D8CC849-7E34-A72D-7C08-207F22B9DE75}"/>
          </ac:graphicFrameMkLst>
        </pc:graphicFrameChg>
        <pc:graphicFrameChg chg="del">
          <ac:chgData name="Christian Gillam" userId="S::cgill016@uottawa.ca::178737ef-0014-4dd8-b439-bc02dd9433a1" providerId="AD" clId="Web-{284ED536-0E54-776C-1B5F-8FA347E137EC}" dt="2025-02-23T16:44:59.715" v="0"/>
          <ac:graphicFrameMkLst>
            <pc:docMk/>
            <pc:sldMk cId="2904048250" sldId="480"/>
            <ac:graphicFrameMk id="26" creationId="{3D96C1C6-918B-C499-6352-5B6C08096089}"/>
          </ac:graphicFrameMkLst>
        </pc:graphicFrameChg>
      </pc:sldChg>
      <pc:sldChg chg="addSp delSp modSp">
        <pc:chgData name="Christian Gillam" userId="S::cgill016@uottawa.ca::178737ef-0014-4dd8-b439-bc02dd9433a1" providerId="AD" clId="Web-{284ED536-0E54-776C-1B5F-8FA347E137EC}" dt="2025-02-23T17:14:37.879" v="85" actId="14100"/>
        <pc:sldMkLst>
          <pc:docMk/>
          <pc:sldMk cId="107402232" sldId="494"/>
        </pc:sldMkLst>
        <pc:picChg chg="add del mod">
          <ac:chgData name="Christian Gillam" userId="S::cgill016@uottawa.ca::178737ef-0014-4dd8-b439-bc02dd9433a1" providerId="AD" clId="Web-{284ED536-0E54-776C-1B5F-8FA347E137EC}" dt="2025-02-23T17:13:20.065" v="75"/>
          <ac:picMkLst>
            <pc:docMk/>
            <pc:sldMk cId="107402232" sldId="494"/>
            <ac:picMk id="9" creationId="{A911AF73-D921-EB5B-4B92-37FF8512DC1F}"/>
          </ac:picMkLst>
        </pc:picChg>
        <pc:picChg chg="add del">
          <ac:chgData name="Christian Gillam" userId="S::cgill016@uottawa.ca::178737ef-0014-4dd8-b439-bc02dd9433a1" providerId="AD" clId="Web-{284ED536-0E54-776C-1B5F-8FA347E137EC}" dt="2025-02-23T17:13:29.002" v="77"/>
          <ac:picMkLst>
            <pc:docMk/>
            <pc:sldMk cId="107402232" sldId="494"/>
            <ac:picMk id="22" creationId="{2C42B0BA-B7E8-9E39-9373-F1254EAC2195}"/>
          </ac:picMkLst>
        </pc:picChg>
        <pc:picChg chg="mod">
          <ac:chgData name="Christian Gillam" userId="S::cgill016@uottawa.ca::178737ef-0014-4dd8-b439-bc02dd9433a1" providerId="AD" clId="Web-{284ED536-0E54-776C-1B5F-8FA347E137EC}" dt="2025-02-23T17:13:59.362" v="81" actId="1076"/>
          <ac:picMkLst>
            <pc:docMk/>
            <pc:sldMk cId="107402232" sldId="494"/>
            <ac:picMk id="24" creationId="{796BA51B-EFBA-511C-E4B6-4D76ADA6E6C2}"/>
          </ac:picMkLst>
        </pc:picChg>
        <pc:picChg chg="add del ord">
          <ac:chgData name="Christian Gillam" userId="S::cgill016@uottawa.ca::178737ef-0014-4dd8-b439-bc02dd9433a1" providerId="AD" clId="Web-{284ED536-0E54-776C-1B5F-8FA347E137EC}" dt="2025-02-23T17:14:28.676" v="83"/>
          <ac:picMkLst>
            <pc:docMk/>
            <pc:sldMk cId="107402232" sldId="494"/>
            <ac:picMk id="25" creationId="{D7EDF840-0C5A-9B18-1AD5-3B3CBF192E32}"/>
          </ac:picMkLst>
        </pc:picChg>
        <pc:picChg chg="mod ord">
          <ac:chgData name="Christian Gillam" userId="S::cgill016@uottawa.ca::178737ef-0014-4dd8-b439-bc02dd9433a1" providerId="AD" clId="Web-{284ED536-0E54-776C-1B5F-8FA347E137EC}" dt="2025-02-23T17:14:37.879" v="85" actId="14100"/>
          <ac:picMkLst>
            <pc:docMk/>
            <pc:sldMk cId="107402232" sldId="494"/>
            <ac:picMk id="27" creationId="{0D508981-9CD3-B756-9D53-6620B227C04E}"/>
          </ac:picMkLst>
        </pc:picChg>
      </pc:sldChg>
    </pc:docChg>
  </pc:docChgLst>
  <pc:docChgLst>
    <pc:chgData name="Corey Yuan-Zhen Cao" userId="894c8f18-9551-4354-8c83-83a52876c78b" providerId="ADAL" clId="{71D6F6D9-85F0-0F4F-BAC1-3D8EF74D3DCD}"/>
    <pc:docChg chg="undo redo custSel addSld delSld modSld sldOrd modSection">
      <pc:chgData name="Corey Yuan-Zhen Cao" userId="894c8f18-9551-4354-8c83-83a52876c78b" providerId="ADAL" clId="{71D6F6D9-85F0-0F4F-BAC1-3D8EF74D3DCD}" dt="2025-02-23T06:08:40.130" v="6891"/>
      <pc:docMkLst>
        <pc:docMk/>
      </pc:docMkLst>
      <pc:sldChg chg="add del">
        <pc:chgData name="Corey Yuan-Zhen Cao" userId="894c8f18-9551-4354-8c83-83a52876c78b" providerId="ADAL" clId="{71D6F6D9-85F0-0F4F-BAC1-3D8EF74D3DCD}" dt="2025-02-22T01:16:11.734" v="1424" actId="2696"/>
        <pc:sldMkLst>
          <pc:docMk/>
          <pc:sldMk cId="1458971078" sldId="269"/>
        </pc:sldMkLst>
      </pc:sldChg>
      <pc:sldChg chg="delSp modSp mod">
        <pc:chgData name="Corey Yuan-Zhen Cao" userId="894c8f18-9551-4354-8c83-83a52876c78b" providerId="ADAL" clId="{71D6F6D9-85F0-0F4F-BAC1-3D8EF74D3DCD}" dt="2025-02-23T05:58:21.659" v="6890" actId="20577"/>
        <pc:sldMkLst>
          <pc:docMk/>
          <pc:sldMk cId="395644326" sldId="300"/>
        </pc:sldMkLst>
        <pc:graphicFrameChg chg="modGraphic">
          <ac:chgData name="Corey Yuan-Zhen Cao" userId="894c8f18-9551-4354-8c83-83a52876c78b" providerId="ADAL" clId="{71D6F6D9-85F0-0F4F-BAC1-3D8EF74D3DCD}" dt="2025-02-23T05:58:21.659" v="6890" actId="20577"/>
          <ac:graphicFrameMkLst>
            <pc:docMk/>
            <pc:sldMk cId="395644326" sldId="300"/>
            <ac:graphicFrameMk id="57" creationId="{1D348BF6-1B53-ADC8-1C17-20735900F53B}"/>
          </ac:graphicFrameMkLst>
        </pc:graphicFrameChg>
      </pc:sldChg>
      <pc:sldChg chg="del">
        <pc:chgData name="Corey Yuan-Zhen Cao" userId="894c8f18-9551-4354-8c83-83a52876c78b" providerId="ADAL" clId="{71D6F6D9-85F0-0F4F-BAC1-3D8EF74D3DCD}" dt="2025-02-22T05:15:52.531" v="4609" actId="2696"/>
        <pc:sldMkLst>
          <pc:docMk/>
          <pc:sldMk cId="3057897574" sldId="305"/>
        </pc:sldMkLst>
      </pc:sldChg>
      <pc:sldChg chg="delSp modSp mod">
        <pc:chgData name="Corey Yuan-Zhen Cao" userId="894c8f18-9551-4354-8c83-83a52876c78b" providerId="ADAL" clId="{71D6F6D9-85F0-0F4F-BAC1-3D8EF74D3DCD}" dt="2025-02-23T04:06:22.886" v="5526" actId="20577"/>
        <pc:sldMkLst>
          <pc:docMk/>
          <pc:sldMk cId="131303031" sldId="343"/>
        </pc:sldMkLst>
        <pc:spChg chg="del mod">
          <ac:chgData name="Corey Yuan-Zhen Cao" userId="894c8f18-9551-4354-8c83-83a52876c78b" providerId="ADAL" clId="{71D6F6D9-85F0-0F4F-BAC1-3D8EF74D3DCD}" dt="2025-02-22T00:32:59.496" v="1314" actId="478"/>
          <ac:spMkLst>
            <pc:docMk/>
            <pc:sldMk cId="131303031" sldId="343"/>
            <ac:spMk id="2" creationId="{013D7B12-81A2-A680-AC55-643C383F76FC}"/>
          </ac:spMkLst>
        </pc:spChg>
        <pc:spChg chg="mod">
          <ac:chgData name="Corey Yuan-Zhen Cao" userId="894c8f18-9551-4354-8c83-83a52876c78b" providerId="ADAL" clId="{71D6F6D9-85F0-0F4F-BAC1-3D8EF74D3DCD}" dt="2025-02-22T21:51:24.252" v="5073" actId="20577"/>
          <ac:spMkLst>
            <pc:docMk/>
            <pc:sldMk cId="131303031" sldId="343"/>
            <ac:spMk id="6" creationId="{698676A5-5EF0-D457-9967-E2B0F64E36A5}"/>
          </ac:spMkLst>
        </pc:spChg>
        <pc:spChg chg="mod">
          <ac:chgData name="Corey Yuan-Zhen Cao" userId="894c8f18-9551-4354-8c83-83a52876c78b" providerId="ADAL" clId="{71D6F6D9-85F0-0F4F-BAC1-3D8EF74D3DCD}" dt="2025-02-21T23:29:57.697" v="1236" actId="20577"/>
          <ac:spMkLst>
            <pc:docMk/>
            <pc:sldMk cId="131303031" sldId="343"/>
            <ac:spMk id="10" creationId="{3F0FF9DD-1995-4B86-A378-4FFEEF910E76}"/>
          </ac:spMkLst>
        </pc:spChg>
        <pc:spChg chg="mod">
          <ac:chgData name="Corey Yuan-Zhen Cao" userId="894c8f18-9551-4354-8c83-83a52876c78b" providerId="ADAL" clId="{71D6F6D9-85F0-0F4F-BAC1-3D8EF74D3DCD}" dt="2025-02-23T04:02:01.123" v="5516" actId="20577"/>
          <ac:spMkLst>
            <pc:docMk/>
            <pc:sldMk cId="131303031" sldId="343"/>
            <ac:spMk id="48" creationId="{6A2005C7-EA64-9F66-123F-2D71A2B9BC8D}"/>
          </ac:spMkLst>
        </pc:spChg>
        <pc:spChg chg="mod">
          <ac:chgData name="Corey Yuan-Zhen Cao" userId="894c8f18-9551-4354-8c83-83a52876c78b" providerId="ADAL" clId="{71D6F6D9-85F0-0F4F-BAC1-3D8EF74D3DCD}" dt="2025-02-23T04:06:22.886" v="5526" actId="20577"/>
          <ac:spMkLst>
            <pc:docMk/>
            <pc:sldMk cId="131303031" sldId="343"/>
            <ac:spMk id="49" creationId="{74B96426-ED82-7448-11A1-05C75100A5A0}"/>
          </ac:spMkLst>
        </pc:spChg>
        <pc:graphicFrameChg chg="mod">
          <ac:chgData name="Corey Yuan-Zhen Cao" userId="894c8f18-9551-4354-8c83-83a52876c78b" providerId="ADAL" clId="{71D6F6D9-85F0-0F4F-BAC1-3D8EF74D3DCD}" dt="2025-02-22T17:36:24.675" v="4954" actId="14100"/>
          <ac:graphicFrameMkLst>
            <pc:docMk/>
            <pc:sldMk cId="131303031" sldId="343"/>
            <ac:graphicFrameMk id="5" creationId="{58FCB59F-003B-904E-BEB0-0F7C3DDCA137}"/>
          </ac:graphicFrameMkLst>
        </pc:graphicFrameChg>
        <pc:graphicFrameChg chg="mod">
          <ac:chgData name="Corey Yuan-Zhen Cao" userId="894c8f18-9551-4354-8c83-83a52876c78b" providerId="ADAL" clId="{71D6F6D9-85F0-0F4F-BAC1-3D8EF74D3DCD}" dt="2025-02-22T17:36:32.551" v="4955" actId="14100"/>
          <ac:graphicFrameMkLst>
            <pc:docMk/>
            <pc:sldMk cId="131303031" sldId="343"/>
            <ac:graphicFrameMk id="9" creationId="{202AEF3C-9897-CA42-A2F6-095F7B7A0A29}"/>
          </ac:graphicFrameMkLst>
        </pc:graphicFrameChg>
      </pc:sldChg>
      <pc:sldChg chg="addSp delSp modSp mod">
        <pc:chgData name="Corey Yuan-Zhen Cao" userId="894c8f18-9551-4354-8c83-83a52876c78b" providerId="ADAL" clId="{71D6F6D9-85F0-0F4F-BAC1-3D8EF74D3DCD}" dt="2025-02-22T21:53:14.728" v="5083" actId="20577"/>
        <pc:sldMkLst>
          <pc:docMk/>
          <pc:sldMk cId="1028352504" sldId="363"/>
        </pc:sldMkLst>
        <pc:spChg chg="mod">
          <ac:chgData name="Corey Yuan-Zhen Cao" userId="894c8f18-9551-4354-8c83-83a52876c78b" providerId="ADAL" clId="{71D6F6D9-85F0-0F4F-BAC1-3D8EF74D3DCD}" dt="2025-02-22T21:53:14.728" v="5083" actId="20577"/>
          <ac:spMkLst>
            <pc:docMk/>
            <pc:sldMk cId="1028352504" sldId="363"/>
            <ac:spMk id="3" creationId="{F6684B09-7EAF-47FE-A393-F243C0C45BB9}"/>
          </ac:spMkLst>
        </pc:spChg>
        <pc:spChg chg="mod">
          <ac:chgData name="Corey Yuan-Zhen Cao" userId="894c8f18-9551-4354-8c83-83a52876c78b" providerId="ADAL" clId="{71D6F6D9-85F0-0F4F-BAC1-3D8EF74D3DCD}" dt="2025-02-20T22:30:27.211" v="399" actId="1076"/>
          <ac:spMkLst>
            <pc:docMk/>
            <pc:sldMk cId="1028352504" sldId="363"/>
            <ac:spMk id="27" creationId="{ECE4BD84-0521-CEEE-455C-7FCC9EF67434}"/>
          </ac:spMkLst>
        </pc:spChg>
        <pc:graphicFrameChg chg="modGraphic">
          <ac:chgData name="Corey Yuan-Zhen Cao" userId="894c8f18-9551-4354-8c83-83a52876c78b" providerId="ADAL" clId="{71D6F6D9-85F0-0F4F-BAC1-3D8EF74D3DCD}" dt="2025-02-22T21:30:15.950" v="5048" actId="20577"/>
          <ac:graphicFrameMkLst>
            <pc:docMk/>
            <pc:sldMk cId="1028352504" sldId="363"/>
            <ac:graphicFrameMk id="6" creationId="{1E67A446-4B29-969E-B87E-3F3F7B241D63}"/>
          </ac:graphicFrameMkLst>
        </pc:graphicFrameChg>
        <pc:graphicFrameChg chg="add mod">
          <ac:chgData name="Corey Yuan-Zhen Cao" userId="894c8f18-9551-4354-8c83-83a52876c78b" providerId="ADAL" clId="{71D6F6D9-85F0-0F4F-BAC1-3D8EF74D3DCD}" dt="2025-02-22T21:29:09.817" v="5038" actId="20577"/>
          <ac:graphicFrameMkLst>
            <pc:docMk/>
            <pc:sldMk cId="1028352504" sldId="363"/>
            <ac:graphicFrameMk id="16" creationId="{085B78DD-0CBA-BA14-FF31-3DE1972E4CD1}"/>
          </ac:graphicFrameMkLst>
        </pc:graphicFrameChg>
        <pc:cxnChg chg="mod">
          <ac:chgData name="Corey Yuan-Zhen Cao" userId="894c8f18-9551-4354-8c83-83a52876c78b" providerId="ADAL" clId="{71D6F6D9-85F0-0F4F-BAC1-3D8EF74D3DCD}" dt="2025-02-20T22:30:11.007" v="396" actId="1076"/>
          <ac:cxnSpMkLst>
            <pc:docMk/>
            <pc:sldMk cId="1028352504" sldId="363"/>
            <ac:cxnSpMk id="20" creationId="{32A7D996-B330-A9EC-50AE-0DD77FBEE96D}"/>
          </ac:cxnSpMkLst>
        </pc:cxnChg>
      </pc:sldChg>
      <pc:sldChg chg="delSp modSp mod">
        <pc:chgData name="Corey Yuan-Zhen Cao" userId="894c8f18-9551-4354-8c83-83a52876c78b" providerId="ADAL" clId="{71D6F6D9-85F0-0F4F-BAC1-3D8EF74D3DCD}" dt="2025-02-22T21:55:33.597" v="5094" actId="207"/>
        <pc:sldMkLst>
          <pc:docMk/>
          <pc:sldMk cId="3362839997" sldId="365"/>
        </pc:sldMkLst>
        <pc:spChg chg="del">
          <ac:chgData name="Corey Yuan-Zhen Cao" userId="894c8f18-9551-4354-8c83-83a52876c78b" providerId="ADAL" clId="{71D6F6D9-85F0-0F4F-BAC1-3D8EF74D3DCD}" dt="2025-02-22T00:33:26.391" v="1317" actId="478"/>
          <ac:spMkLst>
            <pc:docMk/>
            <pc:sldMk cId="3362839997" sldId="365"/>
            <ac:spMk id="2" creationId="{CDC917C4-A435-90CD-6A29-AED976D6D3CE}"/>
          </ac:spMkLst>
        </pc:spChg>
        <pc:spChg chg="mod">
          <ac:chgData name="Corey Yuan-Zhen Cao" userId="894c8f18-9551-4354-8c83-83a52876c78b" providerId="ADAL" clId="{71D6F6D9-85F0-0F4F-BAC1-3D8EF74D3DCD}" dt="2025-02-22T05:18:24.977" v="4626" actId="122"/>
          <ac:spMkLst>
            <pc:docMk/>
            <pc:sldMk cId="3362839997" sldId="365"/>
            <ac:spMk id="4" creationId="{C37BE853-4252-456A-250B-C9C572CFDAFE}"/>
          </ac:spMkLst>
        </pc:spChg>
        <pc:spChg chg="mod">
          <ac:chgData name="Corey Yuan-Zhen Cao" userId="894c8f18-9551-4354-8c83-83a52876c78b" providerId="ADAL" clId="{71D6F6D9-85F0-0F4F-BAC1-3D8EF74D3DCD}" dt="2025-02-22T05:18:24.977" v="4626" actId="122"/>
          <ac:spMkLst>
            <pc:docMk/>
            <pc:sldMk cId="3362839997" sldId="365"/>
            <ac:spMk id="5" creationId="{90D6FCDA-E2F1-D215-B3C7-C70A3B1A067B}"/>
          </ac:spMkLst>
        </pc:spChg>
        <pc:graphicFrameChg chg="mod modGraphic">
          <ac:chgData name="Corey Yuan-Zhen Cao" userId="894c8f18-9551-4354-8c83-83a52876c78b" providerId="ADAL" clId="{71D6F6D9-85F0-0F4F-BAC1-3D8EF74D3DCD}" dt="2025-02-22T05:21:05.180" v="4637" actId="14100"/>
          <ac:graphicFrameMkLst>
            <pc:docMk/>
            <pc:sldMk cId="3362839997" sldId="365"/>
            <ac:graphicFrameMk id="3" creationId="{C5428B4A-019E-BEDB-82BA-5AD952B4C2F7}"/>
          </ac:graphicFrameMkLst>
        </pc:graphicFrameChg>
        <pc:graphicFrameChg chg="mod modGraphic">
          <ac:chgData name="Corey Yuan-Zhen Cao" userId="894c8f18-9551-4354-8c83-83a52876c78b" providerId="ADAL" clId="{71D6F6D9-85F0-0F4F-BAC1-3D8EF74D3DCD}" dt="2025-02-22T05:20:50.230" v="4635" actId="1076"/>
          <ac:graphicFrameMkLst>
            <pc:docMk/>
            <pc:sldMk cId="3362839997" sldId="365"/>
            <ac:graphicFrameMk id="7" creationId="{4754AC75-BED6-6ED6-5C12-800EBB2E1C01}"/>
          </ac:graphicFrameMkLst>
        </pc:graphicFrameChg>
        <pc:graphicFrameChg chg="mod modGraphic">
          <ac:chgData name="Corey Yuan-Zhen Cao" userId="894c8f18-9551-4354-8c83-83a52876c78b" providerId="ADAL" clId="{71D6F6D9-85F0-0F4F-BAC1-3D8EF74D3DCD}" dt="2025-02-22T21:55:33.597" v="5094" actId="207"/>
          <ac:graphicFrameMkLst>
            <pc:docMk/>
            <pc:sldMk cId="3362839997" sldId="365"/>
            <ac:graphicFrameMk id="11" creationId="{1DD65CFC-7F1F-9252-C9EA-3DD79959499D}"/>
          </ac:graphicFrameMkLst>
        </pc:graphicFrameChg>
      </pc:sldChg>
      <pc:sldChg chg="modSp mod">
        <pc:chgData name="Corey Yuan-Zhen Cao" userId="894c8f18-9551-4354-8c83-83a52876c78b" providerId="ADAL" clId="{71D6F6D9-85F0-0F4F-BAC1-3D8EF74D3DCD}" dt="2025-02-22T05:17:37.384" v="4614" actId="255"/>
        <pc:sldMkLst>
          <pc:docMk/>
          <pc:sldMk cId="1717628978" sldId="372"/>
        </pc:sldMkLst>
        <pc:graphicFrameChg chg="mod modGraphic">
          <ac:chgData name="Corey Yuan-Zhen Cao" userId="894c8f18-9551-4354-8c83-83a52876c78b" providerId="ADAL" clId="{71D6F6D9-85F0-0F4F-BAC1-3D8EF74D3DCD}" dt="2025-02-22T05:17:37.384" v="4614" actId="255"/>
          <ac:graphicFrameMkLst>
            <pc:docMk/>
            <pc:sldMk cId="1717628978" sldId="372"/>
            <ac:graphicFrameMk id="6" creationId="{CC2697E5-8B13-017F-3271-FEADDE6836B4}"/>
          </ac:graphicFrameMkLst>
        </pc:graphicFrameChg>
      </pc:sldChg>
      <pc:sldChg chg="del">
        <pc:chgData name="Corey Yuan-Zhen Cao" userId="894c8f18-9551-4354-8c83-83a52876c78b" providerId="ADAL" clId="{71D6F6D9-85F0-0F4F-BAC1-3D8EF74D3DCD}" dt="2025-02-20T19:53:49.573" v="3" actId="2696"/>
        <pc:sldMkLst>
          <pc:docMk/>
          <pc:sldMk cId="3382557703" sldId="373"/>
        </pc:sldMkLst>
      </pc:sldChg>
      <pc:sldChg chg="modSp mod">
        <pc:chgData name="Corey Yuan-Zhen Cao" userId="894c8f18-9551-4354-8c83-83a52876c78b" providerId="ADAL" clId="{71D6F6D9-85F0-0F4F-BAC1-3D8EF74D3DCD}" dt="2025-02-23T03:52:35.413" v="5448" actId="20577"/>
        <pc:sldMkLst>
          <pc:docMk/>
          <pc:sldMk cId="2957889177" sldId="410"/>
        </pc:sldMkLst>
        <pc:spChg chg="mod">
          <ac:chgData name="Corey Yuan-Zhen Cao" userId="894c8f18-9551-4354-8c83-83a52876c78b" providerId="ADAL" clId="{71D6F6D9-85F0-0F4F-BAC1-3D8EF74D3DCD}" dt="2025-02-23T03:52:35.413" v="5448" actId="20577"/>
          <ac:spMkLst>
            <pc:docMk/>
            <pc:sldMk cId="2957889177" sldId="410"/>
            <ac:spMk id="5" creationId="{435691C5-2D58-B304-6548-5E222AE0DE8A}"/>
          </ac:spMkLst>
        </pc:spChg>
      </pc:sldChg>
      <pc:sldChg chg="addSp delSp modSp mod">
        <pc:chgData name="Corey Yuan-Zhen Cao" userId="894c8f18-9551-4354-8c83-83a52876c78b" providerId="ADAL" clId="{71D6F6D9-85F0-0F4F-BAC1-3D8EF74D3DCD}" dt="2025-02-23T04:18:44.406" v="5572" actId="20577"/>
        <pc:sldMkLst>
          <pc:docMk/>
          <pc:sldMk cId="4052889244" sldId="411"/>
        </pc:sldMkLst>
        <pc:spChg chg="mod">
          <ac:chgData name="Corey Yuan-Zhen Cao" userId="894c8f18-9551-4354-8c83-83a52876c78b" providerId="ADAL" clId="{71D6F6D9-85F0-0F4F-BAC1-3D8EF74D3DCD}" dt="2025-02-22T00:39:54.076" v="1350" actId="20577"/>
          <ac:spMkLst>
            <pc:docMk/>
            <pc:sldMk cId="4052889244" sldId="411"/>
            <ac:spMk id="2" creationId="{DA2E9DA9-60A3-4A99-347B-6A8A27272833}"/>
          </ac:spMkLst>
        </pc:spChg>
        <pc:spChg chg="del">
          <ac:chgData name="Corey Yuan-Zhen Cao" userId="894c8f18-9551-4354-8c83-83a52876c78b" providerId="ADAL" clId="{71D6F6D9-85F0-0F4F-BAC1-3D8EF74D3DCD}" dt="2025-02-22T13:26:41.153" v="4879" actId="478"/>
          <ac:spMkLst>
            <pc:docMk/>
            <pc:sldMk cId="4052889244" sldId="411"/>
            <ac:spMk id="11" creationId="{492ED1AD-5034-D9A0-216E-066CE41CB167}"/>
          </ac:spMkLst>
        </pc:spChg>
        <pc:spChg chg="mod">
          <ac:chgData name="Corey Yuan-Zhen Cao" userId="894c8f18-9551-4354-8c83-83a52876c78b" providerId="ADAL" clId="{71D6F6D9-85F0-0F4F-BAC1-3D8EF74D3DCD}" dt="2025-02-22T13:28:06.704" v="4936" actId="20577"/>
          <ac:spMkLst>
            <pc:docMk/>
            <pc:sldMk cId="4052889244" sldId="411"/>
            <ac:spMk id="15" creationId="{C48A4E1E-E808-D5A5-9D33-88CA8F60389A}"/>
          </ac:spMkLst>
        </pc:spChg>
        <pc:graphicFrameChg chg="modGraphic">
          <ac:chgData name="Corey Yuan-Zhen Cao" userId="894c8f18-9551-4354-8c83-83a52876c78b" providerId="ADAL" clId="{71D6F6D9-85F0-0F4F-BAC1-3D8EF74D3DCD}" dt="2025-02-23T04:18:44.406" v="5572" actId="20577"/>
          <ac:graphicFrameMkLst>
            <pc:docMk/>
            <pc:sldMk cId="4052889244" sldId="411"/>
            <ac:graphicFrameMk id="3" creationId="{C4869B7A-28D2-4087-CA6E-FC5C3C806D0D}"/>
          </ac:graphicFrameMkLst>
        </pc:graphicFrameChg>
        <pc:graphicFrameChg chg="add mod">
          <ac:chgData name="Corey Yuan-Zhen Cao" userId="894c8f18-9551-4354-8c83-83a52876c78b" providerId="ADAL" clId="{71D6F6D9-85F0-0F4F-BAC1-3D8EF74D3DCD}" dt="2025-02-20T22:48:15.958" v="436" actId="14100"/>
          <ac:graphicFrameMkLst>
            <pc:docMk/>
            <pc:sldMk cId="4052889244" sldId="411"/>
            <ac:graphicFrameMk id="6" creationId="{B2BABB7D-B004-6E4D-A8DF-909AFB9E0A09}"/>
          </ac:graphicFrameMkLst>
        </pc:graphicFrameChg>
      </pc:sldChg>
      <pc:sldChg chg="modSp add del mod">
        <pc:chgData name="Corey Yuan-Zhen Cao" userId="894c8f18-9551-4354-8c83-83a52876c78b" providerId="ADAL" clId="{71D6F6D9-85F0-0F4F-BAC1-3D8EF74D3DCD}" dt="2025-02-22T05:21:49.888" v="4638" actId="2696"/>
        <pc:sldMkLst>
          <pc:docMk/>
          <pc:sldMk cId="780259659" sldId="413"/>
        </pc:sldMkLst>
        <pc:spChg chg="mod">
          <ac:chgData name="Corey Yuan-Zhen Cao" userId="894c8f18-9551-4354-8c83-83a52876c78b" providerId="ADAL" clId="{71D6F6D9-85F0-0F4F-BAC1-3D8EF74D3DCD}" dt="2025-02-22T04:44:53.153" v="2343" actId="1076"/>
          <ac:spMkLst>
            <pc:docMk/>
            <pc:sldMk cId="780259659" sldId="413"/>
            <ac:spMk id="9" creationId="{E31CD72D-9819-5096-F850-0D9CDB7E2F4E}"/>
          </ac:spMkLst>
        </pc:spChg>
      </pc:sldChg>
      <pc:sldChg chg="ord">
        <pc:chgData name="Corey Yuan-Zhen Cao" userId="894c8f18-9551-4354-8c83-83a52876c78b" providerId="ADAL" clId="{71D6F6D9-85F0-0F4F-BAC1-3D8EF74D3DCD}" dt="2025-02-23T05:45:45.630" v="6807" actId="20578"/>
        <pc:sldMkLst>
          <pc:docMk/>
          <pc:sldMk cId="2829599534" sldId="423"/>
        </pc:sldMkLst>
      </pc:sldChg>
      <pc:sldChg chg="addSp delSp modSp add del mod">
        <pc:chgData name="Corey Yuan-Zhen Cao" userId="894c8f18-9551-4354-8c83-83a52876c78b" providerId="ADAL" clId="{71D6F6D9-85F0-0F4F-BAC1-3D8EF74D3DCD}" dt="2025-02-22T13:31:00.603" v="4939" actId="20577"/>
        <pc:sldMkLst>
          <pc:docMk/>
          <pc:sldMk cId="3755069447" sldId="447"/>
        </pc:sldMkLst>
        <pc:spChg chg="add mod">
          <ac:chgData name="Corey Yuan-Zhen Cao" userId="894c8f18-9551-4354-8c83-83a52876c78b" providerId="ADAL" clId="{71D6F6D9-85F0-0F4F-BAC1-3D8EF74D3DCD}" dt="2025-02-22T04:42:12.415" v="2095" actId="767"/>
          <ac:spMkLst>
            <pc:docMk/>
            <pc:sldMk cId="3755069447" sldId="447"/>
            <ac:spMk id="2" creationId="{73782CDF-99C8-8E03-E71B-5EA4105D7CA3}"/>
          </ac:spMkLst>
        </pc:spChg>
        <pc:spChg chg="add del mod">
          <ac:chgData name="Corey Yuan-Zhen Cao" userId="894c8f18-9551-4354-8c83-83a52876c78b" providerId="ADAL" clId="{71D6F6D9-85F0-0F4F-BAC1-3D8EF74D3DCD}" dt="2025-02-22T04:43:10.009" v="2203" actId="478"/>
          <ac:spMkLst>
            <pc:docMk/>
            <pc:sldMk cId="3755069447" sldId="447"/>
            <ac:spMk id="5" creationId="{9E1F2A28-0972-1BBC-8D9B-0DF332693991}"/>
          </ac:spMkLst>
        </pc:spChg>
        <pc:spChg chg="add del mod">
          <ac:chgData name="Corey Yuan-Zhen Cao" userId="894c8f18-9551-4354-8c83-83a52876c78b" providerId="ADAL" clId="{71D6F6D9-85F0-0F4F-BAC1-3D8EF74D3DCD}" dt="2025-02-22T04:44:30.464" v="2341"/>
          <ac:spMkLst>
            <pc:docMk/>
            <pc:sldMk cId="3755069447" sldId="447"/>
            <ac:spMk id="6" creationId="{9370157E-2517-9D45-0DC8-CED5F1ADBFB0}"/>
          </ac:spMkLst>
        </pc:spChg>
        <pc:spChg chg="mod">
          <ac:chgData name="Corey Yuan-Zhen Cao" userId="894c8f18-9551-4354-8c83-83a52876c78b" providerId="ADAL" clId="{71D6F6D9-85F0-0F4F-BAC1-3D8EF74D3DCD}" dt="2025-02-22T01:20:05.137" v="1720" actId="20577"/>
          <ac:spMkLst>
            <pc:docMk/>
            <pc:sldMk cId="3755069447" sldId="447"/>
            <ac:spMk id="7" creationId="{5DA7527B-F12B-7E0F-4AA2-B5E3AAE6D009}"/>
          </ac:spMkLst>
        </pc:spChg>
        <pc:spChg chg="add mod">
          <ac:chgData name="Corey Yuan-Zhen Cao" userId="894c8f18-9551-4354-8c83-83a52876c78b" providerId="ADAL" clId="{71D6F6D9-85F0-0F4F-BAC1-3D8EF74D3DCD}" dt="2025-02-22T04:43:23.714" v="2207" actId="1076"/>
          <ac:spMkLst>
            <pc:docMk/>
            <pc:sldMk cId="3755069447" sldId="447"/>
            <ac:spMk id="8" creationId="{2BDB1743-805D-CFD3-B18A-D44FBCA3CC2B}"/>
          </ac:spMkLst>
        </pc:spChg>
        <pc:spChg chg="add mod">
          <ac:chgData name="Corey Yuan-Zhen Cao" userId="894c8f18-9551-4354-8c83-83a52876c78b" providerId="ADAL" clId="{71D6F6D9-85F0-0F4F-BAC1-3D8EF74D3DCD}" dt="2025-02-22T04:44:15.304" v="2338"/>
          <ac:spMkLst>
            <pc:docMk/>
            <pc:sldMk cId="3755069447" sldId="447"/>
            <ac:spMk id="9" creationId="{8FE4B5AB-D1D2-4930-66ED-6B58BA5B4860}"/>
          </ac:spMkLst>
        </pc:spChg>
        <pc:spChg chg="mod">
          <ac:chgData name="Corey Yuan-Zhen Cao" userId="894c8f18-9551-4354-8c83-83a52876c78b" providerId="ADAL" clId="{71D6F6D9-85F0-0F4F-BAC1-3D8EF74D3DCD}" dt="2025-02-22T04:42:29.554" v="2114" actId="20577"/>
          <ac:spMkLst>
            <pc:docMk/>
            <pc:sldMk cId="3755069447" sldId="447"/>
            <ac:spMk id="12" creationId="{1A19A0B7-5C81-FA55-C2B8-E9FE8F733AE5}"/>
          </ac:spMkLst>
        </pc:spChg>
        <pc:spChg chg="mod">
          <ac:chgData name="Corey Yuan-Zhen Cao" userId="894c8f18-9551-4354-8c83-83a52876c78b" providerId="ADAL" clId="{71D6F6D9-85F0-0F4F-BAC1-3D8EF74D3DCD}" dt="2025-02-22T04:43:56.108" v="2317" actId="20577"/>
          <ac:spMkLst>
            <pc:docMk/>
            <pc:sldMk cId="3755069447" sldId="447"/>
            <ac:spMk id="13" creationId="{1838A49E-73F4-BAF0-C316-C6C47F6F2FA5}"/>
          </ac:spMkLst>
        </pc:spChg>
        <pc:spChg chg="mod">
          <ac:chgData name="Corey Yuan-Zhen Cao" userId="894c8f18-9551-4354-8c83-83a52876c78b" providerId="ADAL" clId="{71D6F6D9-85F0-0F4F-BAC1-3D8EF74D3DCD}" dt="2025-02-22T04:44:01.474" v="2335" actId="20577"/>
          <ac:spMkLst>
            <pc:docMk/>
            <pc:sldMk cId="3755069447" sldId="447"/>
            <ac:spMk id="15" creationId="{A48FE6F4-7F61-0B7C-A608-D305876B15BD}"/>
          </ac:spMkLst>
        </pc:spChg>
        <pc:spChg chg="mod">
          <ac:chgData name="Corey Yuan-Zhen Cao" userId="894c8f18-9551-4354-8c83-83a52876c78b" providerId="ADAL" clId="{71D6F6D9-85F0-0F4F-BAC1-3D8EF74D3DCD}" dt="2025-02-22T04:42:53.698" v="2198" actId="20577"/>
          <ac:spMkLst>
            <pc:docMk/>
            <pc:sldMk cId="3755069447" sldId="447"/>
            <ac:spMk id="39" creationId="{A784512D-A6D6-28EE-E2EF-88CBF425A2EA}"/>
          </ac:spMkLst>
        </pc:spChg>
        <pc:spChg chg="mod">
          <ac:chgData name="Corey Yuan-Zhen Cao" userId="894c8f18-9551-4354-8c83-83a52876c78b" providerId="ADAL" clId="{71D6F6D9-85F0-0F4F-BAC1-3D8EF74D3DCD}" dt="2025-02-22T04:47:08.327" v="2443" actId="20577"/>
          <ac:spMkLst>
            <pc:docMk/>
            <pc:sldMk cId="3755069447" sldId="447"/>
            <ac:spMk id="43" creationId="{618F096D-9752-C167-F532-FC260960C139}"/>
          </ac:spMkLst>
        </pc:spChg>
        <pc:spChg chg="mod">
          <ac:chgData name="Corey Yuan-Zhen Cao" userId="894c8f18-9551-4354-8c83-83a52876c78b" providerId="ADAL" clId="{71D6F6D9-85F0-0F4F-BAC1-3D8EF74D3DCD}" dt="2025-02-22T04:42:59.953" v="2199"/>
          <ac:spMkLst>
            <pc:docMk/>
            <pc:sldMk cId="3755069447" sldId="447"/>
            <ac:spMk id="47" creationId="{3A0FAC6C-2301-1291-8527-FE3355B4BB2B}"/>
          </ac:spMkLst>
        </pc:spChg>
        <pc:spChg chg="mod">
          <ac:chgData name="Corey Yuan-Zhen Cao" userId="894c8f18-9551-4354-8c83-83a52876c78b" providerId="ADAL" clId="{71D6F6D9-85F0-0F4F-BAC1-3D8EF74D3DCD}" dt="2025-02-22T13:31:00.603" v="4939" actId="20577"/>
          <ac:spMkLst>
            <pc:docMk/>
            <pc:sldMk cId="3755069447" sldId="447"/>
            <ac:spMk id="48" creationId="{7A2400B1-6AEA-10AC-A7F7-58BB34033747}"/>
          </ac:spMkLst>
        </pc:spChg>
        <pc:spChg chg="mod">
          <ac:chgData name="Corey Yuan-Zhen Cao" userId="894c8f18-9551-4354-8c83-83a52876c78b" providerId="ADAL" clId="{71D6F6D9-85F0-0F4F-BAC1-3D8EF74D3DCD}" dt="2025-02-22T04:51:46.852" v="2678" actId="20577"/>
          <ac:spMkLst>
            <pc:docMk/>
            <pc:sldMk cId="3755069447" sldId="447"/>
            <ac:spMk id="50" creationId="{D568656F-6E91-B135-B884-328F9A22F841}"/>
          </ac:spMkLst>
        </pc:spChg>
        <pc:spChg chg="mod">
          <ac:chgData name="Corey Yuan-Zhen Cao" userId="894c8f18-9551-4354-8c83-83a52876c78b" providerId="ADAL" clId="{71D6F6D9-85F0-0F4F-BAC1-3D8EF74D3DCD}" dt="2025-02-22T04:52:25.250" v="2714" actId="20577"/>
          <ac:spMkLst>
            <pc:docMk/>
            <pc:sldMk cId="3755069447" sldId="447"/>
            <ac:spMk id="52" creationId="{2D1D4984-7A57-B8B4-F6A4-940AAF03D147}"/>
          </ac:spMkLst>
        </pc:spChg>
        <pc:spChg chg="mod">
          <ac:chgData name="Corey Yuan-Zhen Cao" userId="894c8f18-9551-4354-8c83-83a52876c78b" providerId="ADAL" clId="{71D6F6D9-85F0-0F4F-BAC1-3D8EF74D3DCD}" dt="2025-02-22T04:45:25.615" v="2364" actId="20577"/>
          <ac:spMkLst>
            <pc:docMk/>
            <pc:sldMk cId="3755069447" sldId="447"/>
            <ac:spMk id="54" creationId="{D6A41486-7572-97FA-F4D9-48CA9528FAB6}"/>
          </ac:spMkLst>
        </pc:spChg>
        <pc:spChg chg="mod">
          <ac:chgData name="Corey Yuan-Zhen Cao" userId="894c8f18-9551-4354-8c83-83a52876c78b" providerId="ADAL" clId="{71D6F6D9-85F0-0F4F-BAC1-3D8EF74D3DCD}" dt="2025-02-22T04:42:45.910" v="2158" actId="20577"/>
          <ac:spMkLst>
            <pc:docMk/>
            <pc:sldMk cId="3755069447" sldId="447"/>
            <ac:spMk id="55" creationId="{A3130EC9-B7E6-05AD-F852-E429689F14AE}"/>
          </ac:spMkLst>
        </pc:spChg>
        <pc:spChg chg="mod">
          <ac:chgData name="Corey Yuan-Zhen Cao" userId="894c8f18-9551-4354-8c83-83a52876c78b" providerId="ADAL" clId="{71D6F6D9-85F0-0F4F-BAC1-3D8EF74D3DCD}" dt="2025-02-22T01:25:34.557" v="1875" actId="20577"/>
          <ac:spMkLst>
            <pc:docMk/>
            <pc:sldMk cId="3755069447" sldId="447"/>
            <ac:spMk id="56" creationId="{F808DE96-968C-CA16-BBA1-D94DBC25BFA7}"/>
          </ac:spMkLst>
        </pc:spChg>
        <pc:spChg chg="mod">
          <ac:chgData name="Corey Yuan-Zhen Cao" userId="894c8f18-9551-4354-8c83-83a52876c78b" providerId="ADAL" clId="{71D6F6D9-85F0-0F4F-BAC1-3D8EF74D3DCD}" dt="2025-02-22T04:49:17.510" v="2553" actId="20577"/>
          <ac:spMkLst>
            <pc:docMk/>
            <pc:sldMk cId="3755069447" sldId="447"/>
            <ac:spMk id="57" creationId="{69328AD4-E955-C304-01A9-96C9748ED582}"/>
          </ac:spMkLst>
        </pc:spChg>
        <pc:spChg chg="mod">
          <ac:chgData name="Corey Yuan-Zhen Cao" userId="894c8f18-9551-4354-8c83-83a52876c78b" providerId="ADAL" clId="{71D6F6D9-85F0-0F4F-BAC1-3D8EF74D3DCD}" dt="2025-02-22T04:48:37.862" v="2511" actId="5793"/>
          <ac:spMkLst>
            <pc:docMk/>
            <pc:sldMk cId="3755069447" sldId="447"/>
            <ac:spMk id="58" creationId="{ECB5D306-65B2-1FE8-B9E1-542F3E37D747}"/>
          </ac:spMkLst>
        </pc:spChg>
        <pc:spChg chg="mod">
          <ac:chgData name="Corey Yuan-Zhen Cao" userId="894c8f18-9551-4354-8c83-83a52876c78b" providerId="ADAL" clId="{71D6F6D9-85F0-0F4F-BAC1-3D8EF74D3DCD}" dt="2025-02-22T04:43:46.631" v="2286" actId="20577"/>
          <ac:spMkLst>
            <pc:docMk/>
            <pc:sldMk cId="3755069447" sldId="447"/>
            <ac:spMk id="64" creationId="{6097FD06-11B6-E3E4-CB1B-59946C02F815}"/>
          </ac:spMkLst>
        </pc:spChg>
        <pc:spChg chg="mod">
          <ac:chgData name="Corey Yuan-Zhen Cao" userId="894c8f18-9551-4354-8c83-83a52876c78b" providerId="ADAL" clId="{71D6F6D9-85F0-0F4F-BAC1-3D8EF74D3DCD}" dt="2025-02-22T05:00:55.475" v="3048" actId="20577"/>
          <ac:spMkLst>
            <pc:docMk/>
            <pc:sldMk cId="3755069447" sldId="447"/>
            <ac:spMk id="66" creationId="{8B0F9B10-A7E1-9003-EB69-38DA46D637D0}"/>
          </ac:spMkLst>
        </pc:spChg>
        <pc:spChg chg="mod">
          <ac:chgData name="Corey Yuan-Zhen Cao" userId="894c8f18-9551-4354-8c83-83a52876c78b" providerId="ADAL" clId="{71D6F6D9-85F0-0F4F-BAC1-3D8EF74D3DCD}" dt="2025-02-22T04:48:43.259" v="2514" actId="20577"/>
          <ac:spMkLst>
            <pc:docMk/>
            <pc:sldMk cId="3755069447" sldId="447"/>
            <ac:spMk id="67" creationId="{56A86C08-895E-1ED7-9423-E02F47A28DBD}"/>
          </ac:spMkLst>
        </pc:spChg>
        <pc:spChg chg="mod">
          <ac:chgData name="Corey Yuan-Zhen Cao" userId="894c8f18-9551-4354-8c83-83a52876c78b" providerId="ADAL" clId="{71D6F6D9-85F0-0F4F-BAC1-3D8EF74D3DCD}" dt="2025-02-22T04:47:29.206" v="2446" actId="14100"/>
          <ac:spMkLst>
            <pc:docMk/>
            <pc:sldMk cId="3755069447" sldId="447"/>
            <ac:spMk id="69" creationId="{F6E28471-A5FC-1E9F-1092-1DC826FF2D13}"/>
          </ac:spMkLst>
        </pc:spChg>
        <pc:spChg chg="mod">
          <ac:chgData name="Corey Yuan-Zhen Cao" userId="894c8f18-9551-4354-8c83-83a52876c78b" providerId="ADAL" clId="{71D6F6D9-85F0-0F4F-BAC1-3D8EF74D3DCD}" dt="2025-02-22T04:48:54.340" v="2535" actId="20577"/>
          <ac:spMkLst>
            <pc:docMk/>
            <pc:sldMk cId="3755069447" sldId="447"/>
            <ac:spMk id="71" creationId="{69F34AD6-4167-0FDF-91AD-340D27EEBD15}"/>
          </ac:spMkLst>
        </pc:spChg>
        <pc:picChg chg="del">
          <ac:chgData name="Corey Yuan-Zhen Cao" userId="894c8f18-9551-4354-8c83-83a52876c78b" providerId="ADAL" clId="{71D6F6D9-85F0-0F4F-BAC1-3D8EF74D3DCD}" dt="2025-02-22T01:19:04.016" v="1563" actId="478"/>
          <ac:picMkLst>
            <pc:docMk/>
            <pc:sldMk cId="3755069447" sldId="447"/>
            <ac:picMk id="3" creationId="{7BE81D3A-8AC3-C5FF-EBED-9A332128C772}"/>
          </ac:picMkLst>
        </pc:picChg>
        <pc:picChg chg="del">
          <ac:chgData name="Corey Yuan-Zhen Cao" userId="894c8f18-9551-4354-8c83-83a52876c78b" providerId="ADAL" clId="{71D6F6D9-85F0-0F4F-BAC1-3D8EF74D3DCD}" dt="2025-02-22T01:19:07.710" v="1564" actId="478"/>
          <ac:picMkLst>
            <pc:docMk/>
            <pc:sldMk cId="3755069447" sldId="447"/>
            <ac:picMk id="4" creationId="{74020733-62A5-073B-EB30-4412A217D9EC}"/>
          </ac:picMkLst>
        </pc:picChg>
        <pc:picChg chg="add del mod">
          <ac:chgData name="Corey Yuan-Zhen Cao" userId="894c8f18-9551-4354-8c83-83a52876c78b" providerId="ADAL" clId="{71D6F6D9-85F0-0F4F-BAC1-3D8EF74D3DCD}" dt="2025-02-22T05:22:47.588" v="4645" actId="478"/>
          <ac:picMkLst>
            <pc:docMk/>
            <pc:sldMk cId="3755069447" sldId="447"/>
            <ac:picMk id="11" creationId="{906ADAA3-7F9F-D99B-31EC-04EB6123098C}"/>
          </ac:picMkLst>
        </pc:picChg>
        <pc:picChg chg="add del mod modCrop">
          <ac:chgData name="Corey Yuan-Zhen Cao" userId="894c8f18-9551-4354-8c83-83a52876c78b" providerId="ADAL" clId="{71D6F6D9-85F0-0F4F-BAC1-3D8EF74D3DCD}" dt="2025-02-22T05:25:43.444" v="4677" actId="478"/>
          <ac:picMkLst>
            <pc:docMk/>
            <pc:sldMk cId="3755069447" sldId="447"/>
            <ac:picMk id="16" creationId="{17A76270-8827-7091-7331-B6A71BF03C03}"/>
          </ac:picMkLst>
        </pc:picChg>
        <pc:picChg chg="add del mod modCrop">
          <ac:chgData name="Corey Yuan-Zhen Cao" userId="894c8f18-9551-4354-8c83-83a52876c78b" providerId="ADAL" clId="{71D6F6D9-85F0-0F4F-BAC1-3D8EF74D3DCD}" dt="2025-02-22T05:29:29.595" v="4720" actId="478"/>
          <ac:picMkLst>
            <pc:docMk/>
            <pc:sldMk cId="3755069447" sldId="447"/>
            <ac:picMk id="18" creationId="{C1773E29-51A1-68D7-D385-A752C8CFA7B4}"/>
          </ac:picMkLst>
        </pc:picChg>
        <pc:picChg chg="add mod modCrop">
          <ac:chgData name="Corey Yuan-Zhen Cao" userId="894c8f18-9551-4354-8c83-83a52876c78b" providerId="ADAL" clId="{71D6F6D9-85F0-0F4F-BAC1-3D8EF74D3DCD}" dt="2025-02-22T05:33:54.299" v="4757" actId="1076"/>
          <ac:picMkLst>
            <pc:docMk/>
            <pc:sldMk cId="3755069447" sldId="447"/>
            <ac:picMk id="20" creationId="{46BB0594-D331-E973-EC47-30EF137B08CC}"/>
          </ac:picMkLst>
        </pc:picChg>
        <pc:picChg chg="add mod modCrop">
          <ac:chgData name="Corey Yuan-Zhen Cao" userId="894c8f18-9551-4354-8c83-83a52876c78b" providerId="ADAL" clId="{71D6F6D9-85F0-0F4F-BAC1-3D8EF74D3DCD}" dt="2025-02-22T05:33:58.950" v="4758" actId="1076"/>
          <ac:picMkLst>
            <pc:docMk/>
            <pc:sldMk cId="3755069447" sldId="447"/>
            <ac:picMk id="22" creationId="{317AF584-C36F-564F-600C-181525F886BA}"/>
          </ac:picMkLst>
        </pc:picChg>
        <pc:picChg chg="add mod modCrop">
          <ac:chgData name="Corey Yuan-Zhen Cao" userId="894c8f18-9551-4354-8c83-83a52876c78b" providerId="ADAL" clId="{71D6F6D9-85F0-0F4F-BAC1-3D8EF74D3DCD}" dt="2025-02-22T05:34:29.250" v="4762" actId="1076"/>
          <ac:picMkLst>
            <pc:docMk/>
            <pc:sldMk cId="3755069447" sldId="447"/>
            <ac:picMk id="24" creationId="{92F3596F-DF71-1CFD-4169-9F8A3B2D043F}"/>
          </ac:picMkLst>
        </pc:picChg>
        <pc:picChg chg="add mod modCrop">
          <ac:chgData name="Corey Yuan-Zhen Cao" userId="894c8f18-9551-4354-8c83-83a52876c78b" providerId="ADAL" clId="{71D6F6D9-85F0-0F4F-BAC1-3D8EF74D3DCD}" dt="2025-02-22T05:34:18.709" v="4761" actId="14100"/>
          <ac:picMkLst>
            <pc:docMk/>
            <pc:sldMk cId="3755069447" sldId="447"/>
            <ac:picMk id="26" creationId="{ED24B57C-D0AF-8B06-438A-0CF5AD2D6A9A}"/>
          </ac:picMkLst>
        </pc:picChg>
        <pc:picChg chg="del">
          <ac:chgData name="Corey Yuan-Zhen Cao" userId="894c8f18-9551-4354-8c83-83a52876c78b" providerId="ADAL" clId="{71D6F6D9-85F0-0F4F-BAC1-3D8EF74D3DCD}" dt="2025-02-22T01:19:00.064" v="1562" actId="478"/>
          <ac:picMkLst>
            <pc:docMk/>
            <pc:sldMk cId="3755069447" sldId="447"/>
            <ac:picMk id="46" creationId="{D23CF9BE-30F9-A6B9-5720-04019FEDE4D8}"/>
          </ac:picMkLst>
        </pc:picChg>
        <pc:picChg chg="del">
          <ac:chgData name="Corey Yuan-Zhen Cao" userId="894c8f18-9551-4354-8c83-83a52876c78b" providerId="ADAL" clId="{71D6F6D9-85F0-0F4F-BAC1-3D8EF74D3DCD}" dt="2025-02-22T01:18:55.109" v="1561" actId="478"/>
          <ac:picMkLst>
            <pc:docMk/>
            <pc:sldMk cId="3755069447" sldId="447"/>
            <ac:picMk id="60" creationId="{B8ECECB4-B76A-033A-3668-55F7C42CF83C}"/>
          </ac:picMkLst>
        </pc:picChg>
      </pc:sldChg>
      <pc:sldChg chg="modSp mod">
        <pc:chgData name="Corey Yuan-Zhen Cao" userId="894c8f18-9551-4354-8c83-83a52876c78b" providerId="ADAL" clId="{71D6F6D9-85F0-0F4F-BAC1-3D8EF74D3DCD}" dt="2025-02-22T00:46:50.040" v="1397" actId="20577"/>
        <pc:sldMkLst>
          <pc:docMk/>
          <pc:sldMk cId="4018175131" sldId="461"/>
        </pc:sldMkLst>
        <pc:spChg chg="mod">
          <ac:chgData name="Corey Yuan-Zhen Cao" userId="894c8f18-9551-4354-8c83-83a52876c78b" providerId="ADAL" clId="{71D6F6D9-85F0-0F4F-BAC1-3D8EF74D3DCD}" dt="2025-02-22T00:46:46.401" v="1396" actId="20577"/>
          <ac:spMkLst>
            <pc:docMk/>
            <pc:sldMk cId="4018175131" sldId="461"/>
            <ac:spMk id="3" creationId="{4E63D0E4-BF19-310A-3B9B-070655FDB765}"/>
          </ac:spMkLst>
        </pc:spChg>
        <pc:spChg chg="mod">
          <ac:chgData name="Corey Yuan-Zhen Cao" userId="894c8f18-9551-4354-8c83-83a52876c78b" providerId="ADAL" clId="{71D6F6D9-85F0-0F4F-BAC1-3D8EF74D3DCD}" dt="2025-02-22T00:46:50.040" v="1397" actId="20577"/>
          <ac:spMkLst>
            <pc:docMk/>
            <pc:sldMk cId="4018175131" sldId="461"/>
            <ac:spMk id="8" creationId="{01DB9DA2-AA3D-1408-61A6-EE816B07F89F}"/>
          </ac:spMkLst>
        </pc:spChg>
        <pc:spChg chg="mod">
          <ac:chgData name="Corey Yuan-Zhen Cao" userId="894c8f18-9551-4354-8c83-83a52876c78b" providerId="ADAL" clId="{71D6F6D9-85F0-0F4F-BAC1-3D8EF74D3DCD}" dt="2025-02-22T00:45:34.834" v="1394" actId="20577"/>
          <ac:spMkLst>
            <pc:docMk/>
            <pc:sldMk cId="4018175131" sldId="461"/>
            <ac:spMk id="18" creationId="{209C4384-4DE1-442C-F5B3-E8AD416729D6}"/>
          </ac:spMkLst>
        </pc:spChg>
        <pc:spChg chg="mod">
          <ac:chgData name="Corey Yuan-Zhen Cao" userId="894c8f18-9551-4354-8c83-83a52876c78b" providerId="ADAL" clId="{71D6F6D9-85F0-0F4F-BAC1-3D8EF74D3DCD}" dt="2025-02-21T23:18:14.260" v="1232" actId="207"/>
          <ac:spMkLst>
            <pc:docMk/>
            <pc:sldMk cId="4018175131" sldId="461"/>
            <ac:spMk id="33" creationId="{B39DA3E8-3069-8AD3-2B7B-BD60D9E63C82}"/>
          </ac:spMkLst>
        </pc:spChg>
      </pc:sldChg>
      <pc:sldChg chg="addSp delSp modSp mod modClrScheme chgLayout">
        <pc:chgData name="Corey Yuan-Zhen Cao" userId="894c8f18-9551-4354-8c83-83a52876c78b" providerId="ADAL" clId="{71D6F6D9-85F0-0F4F-BAC1-3D8EF74D3DCD}" dt="2025-02-23T04:10:38.893" v="5529" actId="478"/>
        <pc:sldMkLst>
          <pc:docMk/>
          <pc:sldMk cId="3458094001" sldId="462"/>
        </pc:sldMkLst>
        <pc:spChg chg="del">
          <ac:chgData name="Corey Yuan-Zhen Cao" userId="894c8f18-9551-4354-8c83-83a52876c78b" providerId="ADAL" clId="{71D6F6D9-85F0-0F4F-BAC1-3D8EF74D3DCD}" dt="2025-02-23T04:10:38.893" v="5529" actId="478"/>
          <ac:spMkLst>
            <pc:docMk/>
            <pc:sldMk cId="3458094001" sldId="462"/>
            <ac:spMk id="2" creationId="{0EE8B43D-0E0F-2CDA-FF89-738DE889E94A}"/>
          </ac:spMkLst>
        </pc:spChg>
        <pc:spChg chg="mod ord">
          <ac:chgData name="Corey Yuan-Zhen Cao" userId="894c8f18-9551-4354-8c83-83a52876c78b" providerId="ADAL" clId="{71D6F6D9-85F0-0F4F-BAC1-3D8EF74D3DCD}" dt="2025-02-21T17:52:11.868" v="490" actId="700"/>
          <ac:spMkLst>
            <pc:docMk/>
            <pc:sldMk cId="3458094001" sldId="462"/>
            <ac:spMk id="4" creationId="{00CD6584-A73F-B3E0-225A-3DA913FB19DB}"/>
          </ac:spMkLst>
        </pc:spChg>
        <pc:spChg chg="mod ord">
          <ac:chgData name="Corey Yuan-Zhen Cao" userId="894c8f18-9551-4354-8c83-83a52876c78b" providerId="ADAL" clId="{71D6F6D9-85F0-0F4F-BAC1-3D8EF74D3DCD}" dt="2025-02-21T18:08:09.147" v="547" actId="20577"/>
          <ac:spMkLst>
            <pc:docMk/>
            <pc:sldMk cId="3458094001" sldId="462"/>
            <ac:spMk id="7" creationId="{3006AE46-3180-CFF3-D7FF-AB30A5CF1012}"/>
          </ac:spMkLst>
        </pc:spChg>
        <pc:spChg chg="add mod ord">
          <ac:chgData name="Corey Yuan-Zhen Cao" userId="894c8f18-9551-4354-8c83-83a52876c78b" providerId="ADAL" clId="{71D6F6D9-85F0-0F4F-BAC1-3D8EF74D3DCD}" dt="2025-02-21T23:33:29.764" v="1304" actId="20577"/>
          <ac:spMkLst>
            <pc:docMk/>
            <pc:sldMk cId="3458094001" sldId="462"/>
            <ac:spMk id="16" creationId="{1A70B922-9804-34B4-E68F-AE9891962524}"/>
          </ac:spMkLst>
        </pc:spChg>
        <pc:spChg chg="mod">
          <ac:chgData name="Corey Yuan-Zhen Cao" userId="894c8f18-9551-4354-8c83-83a52876c78b" providerId="ADAL" clId="{71D6F6D9-85F0-0F4F-BAC1-3D8EF74D3DCD}" dt="2025-02-21T18:09:13.118" v="599" actId="20577"/>
          <ac:spMkLst>
            <pc:docMk/>
            <pc:sldMk cId="3458094001" sldId="462"/>
            <ac:spMk id="18" creationId="{C01AC213-0F1E-CD4B-F8BB-E4899F802FFE}"/>
          </ac:spMkLst>
        </pc:spChg>
        <pc:spChg chg="add mod ord">
          <ac:chgData name="Corey Yuan-Zhen Cao" userId="894c8f18-9551-4354-8c83-83a52876c78b" providerId="ADAL" clId="{71D6F6D9-85F0-0F4F-BAC1-3D8EF74D3DCD}" dt="2025-02-21T18:11:07.269" v="740" actId="255"/>
          <ac:spMkLst>
            <pc:docMk/>
            <pc:sldMk cId="3458094001" sldId="462"/>
            <ac:spMk id="19" creationId="{E8217FE0-CEED-3389-1B28-973940881080}"/>
          </ac:spMkLst>
        </pc:spChg>
        <pc:spChg chg="mod">
          <ac:chgData name="Corey Yuan-Zhen Cao" userId="894c8f18-9551-4354-8c83-83a52876c78b" providerId="ADAL" clId="{71D6F6D9-85F0-0F4F-BAC1-3D8EF74D3DCD}" dt="2025-02-21T17:54:09.572" v="505" actId="27636"/>
          <ac:spMkLst>
            <pc:docMk/>
            <pc:sldMk cId="3458094001" sldId="462"/>
            <ac:spMk id="20" creationId="{C7BDA901-01F9-F8A6-389A-BEDD954879AC}"/>
          </ac:spMkLst>
        </pc:spChg>
        <pc:spChg chg="mod">
          <ac:chgData name="Corey Yuan-Zhen Cao" userId="894c8f18-9551-4354-8c83-83a52876c78b" providerId="ADAL" clId="{71D6F6D9-85F0-0F4F-BAC1-3D8EF74D3DCD}" dt="2025-02-21T18:10:20.735" v="675" actId="20577"/>
          <ac:spMkLst>
            <pc:docMk/>
            <pc:sldMk cId="3458094001" sldId="462"/>
            <ac:spMk id="21" creationId="{376C8074-4429-E6A9-8140-02D4F76340EF}"/>
          </ac:spMkLst>
        </pc:spChg>
        <pc:graphicFrameChg chg="add mod">
          <ac:chgData name="Corey Yuan-Zhen Cao" userId="894c8f18-9551-4354-8c83-83a52876c78b" providerId="ADAL" clId="{71D6F6D9-85F0-0F4F-BAC1-3D8EF74D3DCD}" dt="2025-02-23T04:10:35.548" v="5528" actId="947"/>
          <ac:graphicFrameMkLst>
            <pc:docMk/>
            <pc:sldMk cId="3458094001" sldId="462"/>
            <ac:graphicFrameMk id="23" creationId="{E2278C71-FD41-16FA-315A-57C8D83942E3}"/>
          </ac:graphicFrameMkLst>
        </pc:graphicFrameChg>
      </pc:sldChg>
      <pc:sldChg chg="modSp mod">
        <pc:chgData name="Corey Yuan-Zhen Cao" userId="894c8f18-9551-4354-8c83-83a52876c78b" providerId="ADAL" clId="{71D6F6D9-85F0-0F4F-BAC1-3D8EF74D3DCD}" dt="2025-02-22T01:27:18.669" v="1884"/>
        <pc:sldMkLst>
          <pc:docMk/>
          <pc:sldMk cId="1573245639" sldId="465"/>
        </pc:sldMkLst>
        <pc:spChg chg="mod">
          <ac:chgData name="Corey Yuan-Zhen Cao" userId="894c8f18-9551-4354-8c83-83a52876c78b" providerId="ADAL" clId="{71D6F6D9-85F0-0F4F-BAC1-3D8EF74D3DCD}" dt="2025-02-22T00:53:52.443" v="1399" actId="1076"/>
          <ac:spMkLst>
            <pc:docMk/>
            <pc:sldMk cId="1573245639" sldId="465"/>
            <ac:spMk id="3" creationId="{56B02109-8C9D-BDC8-8F39-5E0FC29C643F}"/>
          </ac:spMkLst>
        </pc:spChg>
        <pc:spChg chg="mod">
          <ac:chgData name="Corey Yuan-Zhen Cao" userId="894c8f18-9551-4354-8c83-83a52876c78b" providerId="ADAL" clId="{71D6F6D9-85F0-0F4F-BAC1-3D8EF74D3DCD}" dt="2025-02-22T00:52:03.641" v="1398" actId="1076"/>
          <ac:spMkLst>
            <pc:docMk/>
            <pc:sldMk cId="1573245639" sldId="465"/>
            <ac:spMk id="4" creationId="{D6C08917-25E7-E49F-8424-188C8D00FF4E}"/>
          </ac:spMkLst>
        </pc:spChg>
        <pc:spChg chg="mod">
          <ac:chgData name="Corey Yuan-Zhen Cao" userId="894c8f18-9551-4354-8c83-83a52876c78b" providerId="ADAL" clId="{71D6F6D9-85F0-0F4F-BAC1-3D8EF74D3DCD}" dt="2025-02-21T23:31:55.307" v="1241" actId="20577"/>
          <ac:spMkLst>
            <pc:docMk/>
            <pc:sldMk cId="1573245639" sldId="465"/>
            <ac:spMk id="8" creationId="{78490266-9AE6-9283-ADD8-71D62379BDF3}"/>
          </ac:spMkLst>
        </pc:spChg>
        <pc:spChg chg="mod">
          <ac:chgData name="Corey Yuan-Zhen Cao" userId="894c8f18-9551-4354-8c83-83a52876c78b" providerId="ADAL" clId="{71D6F6D9-85F0-0F4F-BAC1-3D8EF74D3DCD}" dt="2025-02-21T05:18:16.221" v="459" actId="20577"/>
          <ac:spMkLst>
            <pc:docMk/>
            <pc:sldMk cId="1573245639" sldId="465"/>
            <ac:spMk id="16" creationId="{F3B2143E-D64A-9F8D-2017-9795CEE23BA4}"/>
          </ac:spMkLst>
        </pc:spChg>
        <pc:spChg chg="mod">
          <ac:chgData name="Corey Yuan-Zhen Cao" userId="894c8f18-9551-4354-8c83-83a52876c78b" providerId="ADAL" clId="{71D6F6D9-85F0-0F4F-BAC1-3D8EF74D3DCD}" dt="2025-02-21T23:30:56.903" v="1237" actId="207"/>
          <ac:spMkLst>
            <pc:docMk/>
            <pc:sldMk cId="1573245639" sldId="465"/>
            <ac:spMk id="20" creationId="{D3B9A70F-AB96-9C3E-8C85-A600FCBB6A6C}"/>
          </ac:spMkLst>
        </pc:spChg>
        <pc:graphicFrameChg chg="mod">
          <ac:chgData name="Corey Yuan-Zhen Cao" userId="894c8f18-9551-4354-8c83-83a52876c78b" providerId="ADAL" clId="{71D6F6D9-85F0-0F4F-BAC1-3D8EF74D3DCD}" dt="2025-02-22T01:27:18.669" v="1884"/>
          <ac:graphicFrameMkLst>
            <pc:docMk/>
            <pc:sldMk cId="1573245639" sldId="465"/>
            <ac:graphicFrameMk id="2" creationId="{406DE363-2CF0-3748-B18C-445A85DC0563}"/>
          </ac:graphicFrameMkLst>
        </pc:graphicFrameChg>
      </pc:sldChg>
      <pc:sldChg chg="modSp mod">
        <pc:chgData name="Corey Yuan-Zhen Cao" userId="894c8f18-9551-4354-8c83-83a52876c78b" providerId="ADAL" clId="{71D6F6D9-85F0-0F4F-BAC1-3D8EF74D3DCD}" dt="2025-02-22T21:33:28.082" v="5049" actId="14100"/>
        <pc:sldMkLst>
          <pc:docMk/>
          <pc:sldMk cId="3029556874" sldId="466"/>
        </pc:sldMkLst>
        <pc:spChg chg="mod">
          <ac:chgData name="Corey Yuan-Zhen Cao" userId="894c8f18-9551-4354-8c83-83a52876c78b" providerId="ADAL" clId="{71D6F6D9-85F0-0F4F-BAC1-3D8EF74D3DCD}" dt="2025-02-22T00:57:03.493" v="1406" actId="20577"/>
          <ac:spMkLst>
            <pc:docMk/>
            <pc:sldMk cId="3029556874" sldId="466"/>
            <ac:spMk id="2" creationId="{278C1D1A-18F3-1EB6-5F94-61B4C57BF0CF}"/>
          </ac:spMkLst>
        </pc:spChg>
        <pc:graphicFrameChg chg="mod">
          <ac:chgData name="Corey Yuan-Zhen Cao" userId="894c8f18-9551-4354-8c83-83a52876c78b" providerId="ADAL" clId="{71D6F6D9-85F0-0F4F-BAC1-3D8EF74D3DCD}" dt="2025-02-22T21:33:28.082" v="5049" actId="14100"/>
          <ac:graphicFrameMkLst>
            <pc:docMk/>
            <pc:sldMk cId="3029556874" sldId="466"/>
            <ac:graphicFrameMk id="15" creationId="{DE5CA0C8-309F-CA2E-B59C-AD98F1F95FD4}"/>
          </ac:graphicFrameMkLst>
        </pc:graphicFrameChg>
      </pc:sldChg>
      <pc:sldChg chg="modSp del mod">
        <pc:chgData name="Corey Yuan-Zhen Cao" userId="894c8f18-9551-4354-8c83-83a52876c78b" providerId="ADAL" clId="{71D6F6D9-85F0-0F4F-BAC1-3D8EF74D3DCD}" dt="2025-02-23T04:47:24.571" v="6481" actId="2696"/>
        <pc:sldMkLst>
          <pc:docMk/>
          <pc:sldMk cId="2111688645" sldId="470"/>
        </pc:sldMkLst>
        <pc:graphicFrameChg chg="mod modGraphic">
          <ac:chgData name="Corey Yuan-Zhen Cao" userId="894c8f18-9551-4354-8c83-83a52876c78b" providerId="ADAL" clId="{71D6F6D9-85F0-0F4F-BAC1-3D8EF74D3DCD}" dt="2025-02-23T04:34:42.656" v="6086" actId="207"/>
          <ac:graphicFrameMkLst>
            <pc:docMk/>
            <pc:sldMk cId="2111688645" sldId="470"/>
            <ac:graphicFrameMk id="14" creationId="{09F2808C-9396-0760-41F8-797BEC3CC095}"/>
          </ac:graphicFrameMkLst>
        </pc:graphicFrameChg>
      </pc:sldChg>
      <pc:sldChg chg="addSp delSp modSp add mod">
        <pc:chgData name="Corey Yuan-Zhen Cao" userId="894c8f18-9551-4354-8c83-83a52876c78b" providerId="ADAL" clId="{71D6F6D9-85F0-0F4F-BAC1-3D8EF74D3DCD}" dt="2025-02-23T05:29:01.831" v="6799" actId="1076"/>
        <pc:sldMkLst>
          <pc:docMk/>
          <pc:sldMk cId="3720421451" sldId="472"/>
        </pc:sldMkLst>
        <pc:spChg chg="mod">
          <ac:chgData name="Corey Yuan-Zhen Cao" userId="894c8f18-9551-4354-8c83-83a52876c78b" providerId="ADAL" clId="{71D6F6D9-85F0-0F4F-BAC1-3D8EF74D3DCD}" dt="2025-02-23T04:45:11.923" v="6366" actId="20577"/>
          <ac:spMkLst>
            <pc:docMk/>
            <pc:sldMk cId="3720421451" sldId="472"/>
            <ac:spMk id="2" creationId="{041EFFD7-4ED9-FCBC-373D-72FC76D4B6E4}"/>
          </ac:spMkLst>
        </pc:spChg>
        <pc:spChg chg="add del mod">
          <ac:chgData name="Corey Yuan-Zhen Cao" userId="894c8f18-9551-4354-8c83-83a52876c78b" providerId="ADAL" clId="{71D6F6D9-85F0-0F4F-BAC1-3D8EF74D3DCD}" dt="2025-02-23T05:25:17.011" v="6775" actId="478"/>
          <ac:spMkLst>
            <pc:docMk/>
            <pc:sldMk cId="3720421451" sldId="472"/>
            <ac:spMk id="4" creationId="{9FBDD151-BE58-8591-B023-E6C07D92F6EB}"/>
          </ac:spMkLst>
        </pc:spChg>
        <pc:spChg chg="mod">
          <ac:chgData name="Corey Yuan-Zhen Cao" userId="894c8f18-9551-4354-8c83-83a52876c78b" providerId="ADAL" clId="{71D6F6D9-85F0-0F4F-BAC1-3D8EF74D3DCD}" dt="2025-02-23T05:03:52.366" v="6729" actId="20577"/>
          <ac:spMkLst>
            <pc:docMk/>
            <pc:sldMk cId="3720421451" sldId="472"/>
            <ac:spMk id="5" creationId="{356D3A17-E326-A807-7D6E-BD02C9FE5CAB}"/>
          </ac:spMkLst>
        </pc:spChg>
        <pc:spChg chg="add mod">
          <ac:chgData name="Corey Yuan-Zhen Cao" userId="894c8f18-9551-4354-8c83-83a52876c78b" providerId="ADAL" clId="{71D6F6D9-85F0-0F4F-BAC1-3D8EF74D3DCD}" dt="2025-02-23T05:25:15.734" v="6774" actId="478"/>
          <ac:spMkLst>
            <pc:docMk/>
            <pc:sldMk cId="3720421451" sldId="472"/>
            <ac:spMk id="9" creationId="{6227A432-B020-A551-25F5-6817BEFB5EE1}"/>
          </ac:spMkLst>
        </pc:spChg>
        <pc:spChg chg="add mod">
          <ac:chgData name="Corey Yuan-Zhen Cao" userId="894c8f18-9551-4354-8c83-83a52876c78b" providerId="ADAL" clId="{71D6F6D9-85F0-0F4F-BAC1-3D8EF74D3DCD}" dt="2025-02-23T05:26:14.773" v="6785" actId="478"/>
          <ac:spMkLst>
            <pc:docMk/>
            <pc:sldMk cId="3720421451" sldId="472"/>
            <ac:spMk id="10" creationId="{D4EB2E5C-DD2A-16D6-2B21-1CE22DB69801}"/>
          </ac:spMkLst>
        </pc:spChg>
        <pc:graphicFrameChg chg="add del mod modGraphic">
          <ac:chgData name="Corey Yuan-Zhen Cao" userId="894c8f18-9551-4354-8c83-83a52876c78b" providerId="ADAL" clId="{71D6F6D9-85F0-0F4F-BAC1-3D8EF74D3DCD}" dt="2025-02-23T05:26:15.910" v="6786" actId="478"/>
          <ac:graphicFrameMkLst>
            <pc:docMk/>
            <pc:sldMk cId="3720421451" sldId="472"/>
            <ac:graphicFrameMk id="6" creationId="{15B9BECC-832E-CC88-EFF0-D51343A510D1}"/>
          </ac:graphicFrameMkLst>
        </pc:graphicFrameChg>
        <pc:picChg chg="add mod">
          <ac:chgData name="Corey Yuan-Zhen Cao" userId="894c8f18-9551-4354-8c83-83a52876c78b" providerId="ADAL" clId="{71D6F6D9-85F0-0F4F-BAC1-3D8EF74D3DCD}" dt="2025-02-23T05:26:52.057" v="6794" actId="1076"/>
          <ac:picMkLst>
            <pc:docMk/>
            <pc:sldMk cId="3720421451" sldId="472"/>
            <ac:picMk id="3" creationId="{890ADE51-6182-D550-CD09-E28990E5AA8A}"/>
          </ac:picMkLst>
        </pc:picChg>
        <pc:picChg chg="del">
          <ac:chgData name="Corey Yuan-Zhen Cao" userId="894c8f18-9551-4354-8c83-83a52876c78b" providerId="ADAL" clId="{71D6F6D9-85F0-0F4F-BAC1-3D8EF74D3DCD}" dt="2025-02-23T04:45:15.314" v="6368" actId="478"/>
          <ac:picMkLst>
            <pc:docMk/>
            <pc:sldMk cId="3720421451" sldId="472"/>
            <ac:picMk id="8" creationId="{28910B4F-B597-F2B3-4755-7FD1D8E1FECF}"/>
          </ac:picMkLst>
        </pc:picChg>
        <pc:picChg chg="add mod">
          <ac:chgData name="Corey Yuan-Zhen Cao" userId="894c8f18-9551-4354-8c83-83a52876c78b" providerId="ADAL" clId="{71D6F6D9-85F0-0F4F-BAC1-3D8EF74D3DCD}" dt="2025-02-23T05:03:44.897" v="6715" actId="14100"/>
          <ac:picMkLst>
            <pc:docMk/>
            <pc:sldMk cId="3720421451" sldId="472"/>
            <ac:picMk id="1026" creationId="{9D9FBC53-603B-277C-4CD0-2AAA9FAE1D0F}"/>
          </ac:picMkLst>
        </pc:picChg>
        <pc:picChg chg="add mod">
          <ac:chgData name="Corey Yuan-Zhen Cao" userId="894c8f18-9551-4354-8c83-83a52876c78b" providerId="ADAL" clId="{71D6F6D9-85F0-0F4F-BAC1-3D8EF74D3DCD}" dt="2025-02-23T05:26:45.573" v="6793" actId="1076"/>
          <ac:picMkLst>
            <pc:docMk/>
            <pc:sldMk cId="3720421451" sldId="472"/>
            <ac:picMk id="1028" creationId="{731D2BDC-6CB3-20EE-32BB-E3AEA43B1E8A}"/>
          </ac:picMkLst>
        </pc:picChg>
        <pc:picChg chg="del">
          <ac:chgData name="Corey Yuan-Zhen Cao" userId="894c8f18-9551-4354-8c83-83a52876c78b" providerId="ADAL" clId="{71D6F6D9-85F0-0F4F-BAC1-3D8EF74D3DCD}" dt="2025-02-23T04:45:16.255" v="6369" actId="478"/>
          <ac:picMkLst>
            <pc:docMk/>
            <pc:sldMk cId="3720421451" sldId="472"/>
            <ac:picMk id="1030" creationId="{CC49E6FB-4F42-331C-E29A-B57A3A07F34B}"/>
          </ac:picMkLst>
        </pc:picChg>
        <pc:picChg chg="add del mod">
          <ac:chgData name="Corey Yuan-Zhen Cao" userId="894c8f18-9551-4354-8c83-83a52876c78b" providerId="ADAL" clId="{71D6F6D9-85F0-0F4F-BAC1-3D8EF74D3DCD}" dt="2025-02-23T05:24:04.576" v="6757" actId="478"/>
          <ac:picMkLst>
            <pc:docMk/>
            <pc:sldMk cId="3720421451" sldId="472"/>
            <ac:picMk id="1032" creationId="{85556CC4-CBAA-121D-A788-870A9A454EE1}"/>
          </ac:picMkLst>
        </pc:picChg>
        <pc:picChg chg="add mod">
          <ac:chgData name="Corey Yuan-Zhen Cao" userId="894c8f18-9551-4354-8c83-83a52876c78b" providerId="ADAL" clId="{71D6F6D9-85F0-0F4F-BAC1-3D8EF74D3DCD}" dt="2025-02-23T05:24:19.236" v="6762" actId="1076"/>
          <ac:picMkLst>
            <pc:docMk/>
            <pc:sldMk cId="3720421451" sldId="472"/>
            <ac:picMk id="1034" creationId="{1464E7B6-39F1-66CD-ADF9-34F0250BB64D}"/>
          </ac:picMkLst>
        </pc:picChg>
        <pc:picChg chg="add mod">
          <ac:chgData name="Corey Yuan-Zhen Cao" userId="894c8f18-9551-4354-8c83-83a52876c78b" providerId="ADAL" clId="{71D6F6D9-85F0-0F4F-BAC1-3D8EF74D3DCD}" dt="2025-02-23T05:25:01.008" v="6768" actId="14100"/>
          <ac:picMkLst>
            <pc:docMk/>
            <pc:sldMk cId="3720421451" sldId="472"/>
            <ac:picMk id="1036" creationId="{B6C60F24-66A2-AC75-90C9-4830FA60F167}"/>
          </ac:picMkLst>
        </pc:picChg>
        <pc:picChg chg="add del mod">
          <ac:chgData name="Corey Yuan-Zhen Cao" userId="894c8f18-9551-4354-8c83-83a52876c78b" providerId="ADAL" clId="{71D6F6D9-85F0-0F4F-BAC1-3D8EF74D3DCD}" dt="2025-02-23T05:25:17.011" v="6775" actId="478"/>
          <ac:picMkLst>
            <pc:docMk/>
            <pc:sldMk cId="3720421451" sldId="472"/>
            <ac:picMk id="1038" creationId="{37DF2D34-917B-50E2-0300-443C358975CF}"/>
          </ac:picMkLst>
        </pc:picChg>
        <pc:picChg chg="add mod">
          <ac:chgData name="Corey Yuan-Zhen Cao" userId="894c8f18-9551-4354-8c83-83a52876c78b" providerId="ADAL" clId="{71D6F6D9-85F0-0F4F-BAC1-3D8EF74D3DCD}" dt="2025-02-23T05:26:59.728" v="6795" actId="1076"/>
          <ac:picMkLst>
            <pc:docMk/>
            <pc:sldMk cId="3720421451" sldId="472"/>
            <ac:picMk id="1040" creationId="{4F23BC99-19E1-BA03-1EFE-C5B5160FB816}"/>
          </ac:picMkLst>
        </pc:picChg>
        <pc:picChg chg="add del mod">
          <ac:chgData name="Corey Yuan-Zhen Cao" userId="894c8f18-9551-4354-8c83-83a52876c78b" providerId="ADAL" clId="{71D6F6D9-85F0-0F4F-BAC1-3D8EF74D3DCD}" dt="2025-02-23T05:26:15.910" v="6786" actId="478"/>
          <ac:picMkLst>
            <pc:docMk/>
            <pc:sldMk cId="3720421451" sldId="472"/>
            <ac:picMk id="1042" creationId="{D9D022A7-C12A-34A3-8FFA-D7749213D74C}"/>
          </ac:picMkLst>
        </pc:picChg>
        <pc:picChg chg="add mod">
          <ac:chgData name="Corey Yuan-Zhen Cao" userId="894c8f18-9551-4354-8c83-83a52876c78b" providerId="ADAL" clId="{71D6F6D9-85F0-0F4F-BAC1-3D8EF74D3DCD}" dt="2025-02-23T05:29:01.831" v="6799" actId="1076"/>
          <ac:picMkLst>
            <pc:docMk/>
            <pc:sldMk cId="3720421451" sldId="472"/>
            <ac:picMk id="1044" creationId="{6AF20B2B-1547-4939-0C53-AB106A7F1731}"/>
          </ac:picMkLst>
        </pc:picChg>
        <pc:picChg chg="del">
          <ac:chgData name="Corey Yuan-Zhen Cao" userId="894c8f18-9551-4354-8c83-83a52876c78b" providerId="ADAL" clId="{71D6F6D9-85F0-0F4F-BAC1-3D8EF74D3DCD}" dt="2025-02-23T04:45:13.573" v="6367" actId="478"/>
          <ac:picMkLst>
            <pc:docMk/>
            <pc:sldMk cId="3720421451" sldId="472"/>
            <ac:picMk id="3076" creationId="{E8807F7C-14F8-F276-EC9C-37B84384C659}"/>
          </ac:picMkLst>
        </pc:picChg>
        <pc:picChg chg="del">
          <ac:chgData name="Corey Yuan-Zhen Cao" userId="894c8f18-9551-4354-8c83-83a52876c78b" providerId="ADAL" clId="{71D6F6D9-85F0-0F4F-BAC1-3D8EF74D3DCD}" dt="2025-02-23T04:45:17.960" v="6370" actId="478"/>
          <ac:picMkLst>
            <pc:docMk/>
            <pc:sldMk cId="3720421451" sldId="472"/>
            <ac:picMk id="3082" creationId="{266C41AB-2DC4-351A-2A39-2F591B187235}"/>
          </ac:picMkLst>
        </pc:picChg>
      </pc:sldChg>
      <pc:sldChg chg="del">
        <pc:chgData name="Corey Yuan-Zhen Cao" userId="894c8f18-9551-4354-8c83-83a52876c78b" providerId="ADAL" clId="{71D6F6D9-85F0-0F4F-BAC1-3D8EF74D3DCD}" dt="2025-02-21T18:11:10.325" v="741" actId="2696"/>
        <pc:sldMkLst>
          <pc:docMk/>
          <pc:sldMk cId="1572324154" sldId="473"/>
        </pc:sldMkLst>
      </pc:sldChg>
      <pc:sldChg chg="modSp mod">
        <pc:chgData name="Corey Yuan-Zhen Cao" userId="894c8f18-9551-4354-8c83-83a52876c78b" providerId="ADAL" clId="{71D6F6D9-85F0-0F4F-BAC1-3D8EF74D3DCD}" dt="2025-02-22T17:32:35.884" v="4951" actId="255"/>
        <pc:sldMkLst>
          <pc:docMk/>
          <pc:sldMk cId="620634574" sldId="476"/>
        </pc:sldMkLst>
        <pc:graphicFrameChg chg="mod modGraphic">
          <ac:chgData name="Corey Yuan-Zhen Cao" userId="894c8f18-9551-4354-8c83-83a52876c78b" providerId="ADAL" clId="{71D6F6D9-85F0-0F4F-BAC1-3D8EF74D3DCD}" dt="2025-02-22T17:32:35.884" v="4951" actId="255"/>
          <ac:graphicFrameMkLst>
            <pc:docMk/>
            <pc:sldMk cId="620634574" sldId="476"/>
            <ac:graphicFrameMk id="11" creationId="{339652FA-6FF2-D197-6FF5-988B74215B51}"/>
          </ac:graphicFrameMkLst>
        </pc:graphicFrameChg>
      </pc:sldChg>
      <pc:sldChg chg="modSp mod">
        <pc:chgData name="Corey Yuan-Zhen Cao" userId="894c8f18-9551-4354-8c83-83a52876c78b" providerId="ADAL" clId="{71D6F6D9-85F0-0F4F-BAC1-3D8EF74D3DCD}" dt="2025-02-22T17:31:36.574" v="4943" actId="255"/>
        <pc:sldMkLst>
          <pc:docMk/>
          <pc:sldMk cId="423703719" sldId="477"/>
        </pc:sldMkLst>
        <pc:graphicFrameChg chg="modGraphic">
          <ac:chgData name="Corey Yuan-Zhen Cao" userId="894c8f18-9551-4354-8c83-83a52876c78b" providerId="ADAL" clId="{71D6F6D9-85F0-0F4F-BAC1-3D8EF74D3DCD}" dt="2025-02-22T17:31:19.133" v="4941" actId="255"/>
          <ac:graphicFrameMkLst>
            <pc:docMk/>
            <pc:sldMk cId="423703719" sldId="477"/>
            <ac:graphicFrameMk id="13" creationId="{9A482C56-FC75-95E4-5BB6-D4E0B437A47E}"/>
          </ac:graphicFrameMkLst>
        </pc:graphicFrameChg>
        <pc:graphicFrameChg chg="modGraphic">
          <ac:chgData name="Corey Yuan-Zhen Cao" userId="894c8f18-9551-4354-8c83-83a52876c78b" providerId="ADAL" clId="{71D6F6D9-85F0-0F4F-BAC1-3D8EF74D3DCD}" dt="2025-02-22T17:31:36.574" v="4943" actId="255"/>
          <ac:graphicFrameMkLst>
            <pc:docMk/>
            <pc:sldMk cId="423703719" sldId="477"/>
            <ac:graphicFrameMk id="21" creationId="{4509AB78-A3A3-F19A-64BD-04738CD4528F}"/>
          </ac:graphicFrameMkLst>
        </pc:graphicFrameChg>
      </pc:sldChg>
      <pc:sldChg chg="modSp">
        <pc:chgData name="Corey Yuan-Zhen Cao" userId="894c8f18-9551-4354-8c83-83a52876c78b" providerId="ADAL" clId="{71D6F6D9-85F0-0F4F-BAC1-3D8EF74D3DCD}" dt="2025-02-20T22:33:16.014" v="402" actId="113"/>
        <pc:sldMkLst>
          <pc:docMk/>
          <pc:sldMk cId="2904048250" sldId="480"/>
        </pc:sldMkLst>
      </pc:sldChg>
      <pc:sldChg chg="modSp mod">
        <pc:chgData name="Corey Yuan-Zhen Cao" userId="894c8f18-9551-4354-8c83-83a52876c78b" providerId="ADAL" clId="{71D6F6D9-85F0-0F4F-BAC1-3D8EF74D3DCD}" dt="2025-02-21T23:39:17.740" v="1310" actId="20577"/>
        <pc:sldMkLst>
          <pc:docMk/>
          <pc:sldMk cId="579433030" sldId="481"/>
        </pc:sldMkLst>
        <pc:spChg chg="mod">
          <ac:chgData name="Corey Yuan-Zhen Cao" userId="894c8f18-9551-4354-8c83-83a52876c78b" providerId="ADAL" clId="{71D6F6D9-85F0-0F4F-BAC1-3D8EF74D3DCD}" dt="2025-02-21T23:39:17.740" v="1310" actId="20577"/>
          <ac:spMkLst>
            <pc:docMk/>
            <pc:sldMk cId="579433030" sldId="481"/>
            <ac:spMk id="11" creationId="{B0434A7E-E35C-23B0-292F-F55553CFA903}"/>
          </ac:spMkLst>
        </pc:spChg>
      </pc:sldChg>
      <pc:sldChg chg="delSp mod">
        <pc:chgData name="Corey Yuan-Zhen Cao" userId="894c8f18-9551-4354-8c83-83a52876c78b" providerId="ADAL" clId="{71D6F6D9-85F0-0F4F-BAC1-3D8EF74D3DCD}" dt="2025-02-22T00:44:29.842" v="1355" actId="478"/>
        <pc:sldMkLst>
          <pc:docMk/>
          <pc:sldMk cId="1162722854" sldId="482"/>
        </pc:sldMkLst>
        <pc:spChg chg="del">
          <ac:chgData name="Corey Yuan-Zhen Cao" userId="894c8f18-9551-4354-8c83-83a52876c78b" providerId="ADAL" clId="{71D6F6D9-85F0-0F4F-BAC1-3D8EF74D3DCD}" dt="2025-02-22T00:44:29.842" v="1355" actId="478"/>
          <ac:spMkLst>
            <pc:docMk/>
            <pc:sldMk cId="1162722854" sldId="482"/>
            <ac:spMk id="7" creationId="{C658F0D2-46A8-803C-24EC-95719E6CB2EB}"/>
          </ac:spMkLst>
        </pc:spChg>
      </pc:sldChg>
      <pc:sldChg chg="modSp mod">
        <pc:chgData name="Corey Yuan-Zhen Cao" userId="894c8f18-9551-4354-8c83-83a52876c78b" providerId="ADAL" clId="{71D6F6D9-85F0-0F4F-BAC1-3D8EF74D3DCD}" dt="2025-02-22T22:21:28.947" v="5149" actId="14100"/>
        <pc:sldMkLst>
          <pc:docMk/>
          <pc:sldMk cId="2590877607" sldId="488"/>
        </pc:sldMkLst>
        <pc:graphicFrameChg chg="mod modGraphic">
          <ac:chgData name="Corey Yuan-Zhen Cao" userId="894c8f18-9551-4354-8c83-83a52876c78b" providerId="ADAL" clId="{71D6F6D9-85F0-0F4F-BAC1-3D8EF74D3DCD}" dt="2025-02-22T22:21:28.947" v="5149" actId="14100"/>
          <ac:graphicFrameMkLst>
            <pc:docMk/>
            <pc:sldMk cId="2590877607" sldId="488"/>
            <ac:graphicFrameMk id="14" creationId="{B933B813-F59A-4F76-6451-92932A3F5CAC}"/>
          </ac:graphicFrameMkLst>
        </pc:graphicFrameChg>
      </pc:sldChg>
      <pc:sldChg chg="addSp delSp modSp mod">
        <pc:chgData name="Corey Yuan-Zhen Cao" userId="894c8f18-9551-4354-8c83-83a52876c78b" providerId="ADAL" clId="{71D6F6D9-85F0-0F4F-BAC1-3D8EF74D3DCD}" dt="2025-02-23T05:29:35.270" v="6806" actId="113"/>
        <pc:sldMkLst>
          <pc:docMk/>
          <pc:sldMk cId="3305817542" sldId="489"/>
        </pc:sldMkLst>
        <pc:spChg chg="mod">
          <ac:chgData name="Corey Yuan-Zhen Cao" userId="894c8f18-9551-4354-8c83-83a52876c78b" providerId="ADAL" clId="{71D6F6D9-85F0-0F4F-BAC1-3D8EF74D3DCD}" dt="2025-02-23T03:54:52.644" v="5493" actId="20577"/>
          <ac:spMkLst>
            <pc:docMk/>
            <pc:sldMk cId="3305817542" sldId="489"/>
            <ac:spMk id="3" creationId="{E458138F-D60D-D54C-01DA-E8762FCB35AB}"/>
          </ac:spMkLst>
        </pc:spChg>
        <pc:graphicFrameChg chg="del mod modGraphic">
          <ac:chgData name="Corey Yuan-Zhen Cao" userId="894c8f18-9551-4354-8c83-83a52876c78b" providerId="ADAL" clId="{71D6F6D9-85F0-0F4F-BAC1-3D8EF74D3DCD}" dt="2025-02-23T03:33:43.635" v="5151" actId="478"/>
          <ac:graphicFrameMkLst>
            <pc:docMk/>
            <pc:sldMk cId="3305817542" sldId="489"/>
            <ac:graphicFrameMk id="16" creationId="{007F5911-DF39-0FF3-CEE6-89CF00C266AC}"/>
          </ac:graphicFrameMkLst>
        </pc:graphicFrameChg>
        <pc:graphicFrameChg chg="del modGraphic">
          <ac:chgData name="Corey Yuan-Zhen Cao" userId="894c8f18-9551-4354-8c83-83a52876c78b" providerId="ADAL" clId="{71D6F6D9-85F0-0F4F-BAC1-3D8EF74D3DCD}" dt="2025-02-23T03:33:56.509" v="5154" actId="478"/>
          <ac:graphicFrameMkLst>
            <pc:docMk/>
            <pc:sldMk cId="3305817542" sldId="489"/>
            <ac:graphicFrameMk id="18" creationId="{BB344C59-2883-7B2E-A3A3-700718FBAE40}"/>
          </ac:graphicFrameMkLst>
        </pc:graphicFrameChg>
        <pc:graphicFrameChg chg="mod modGraphic">
          <ac:chgData name="Corey Yuan-Zhen Cao" userId="894c8f18-9551-4354-8c83-83a52876c78b" providerId="ADAL" clId="{71D6F6D9-85F0-0F4F-BAC1-3D8EF74D3DCD}" dt="2025-02-23T05:29:29.991" v="6805" actId="113"/>
          <ac:graphicFrameMkLst>
            <pc:docMk/>
            <pc:sldMk cId="3305817542" sldId="489"/>
            <ac:graphicFrameMk id="27" creationId="{EE13433F-6084-2E7A-78B8-CD59DF00E9D3}"/>
          </ac:graphicFrameMkLst>
        </pc:graphicFrameChg>
        <pc:graphicFrameChg chg="mod modGraphic">
          <ac:chgData name="Corey Yuan-Zhen Cao" userId="894c8f18-9551-4354-8c83-83a52876c78b" providerId="ADAL" clId="{71D6F6D9-85F0-0F4F-BAC1-3D8EF74D3DCD}" dt="2025-02-23T05:29:35.270" v="6806" actId="113"/>
          <ac:graphicFrameMkLst>
            <pc:docMk/>
            <pc:sldMk cId="3305817542" sldId="489"/>
            <ac:graphicFrameMk id="31" creationId="{61836F71-F1AB-E69D-1ED1-CEBF563BB49B}"/>
          </ac:graphicFrameMkLst>
        </pc:graphicFrameChg>
        <pc:picChg chg="add">
          <ac:chgData name="Corey Yuan-Zhen Cao" userId="894c8f18-9551-4354-8c83-83a52876c78b" providerId="ADAL" clId="{71D6F6D9-85F0-0F4F-BAC1-3D8EF74D3DCD}" dt="2025-02-23T05:29:27.963" v="6804"/>
          <ac:picMkLst>
            <pc:docMk/>
            <pc:sldMk cId="3305817542" sldId="489"/>
            <ac:picMk id="2050" creationId="{E3D26166-310D-C9BA-8944-59E4F405E841}"/>
          </ac:picMkLst>
        </pc:picChg>
      </pc:sldChg>
      <pc:sldChg chg="modSp add del mod">
        <pc:chgData name="Corey Yuan-Zhen Cao" userId="894c8f18-9551-4354-8c83-83a52876c78b" providerId="ADAL" clId="{71D6F6D9-85F0-0F4F-BAC1-3D8EF74D3DCD}" dt="2025-02-23T04:46:25.840" v="6391" actId="2696"/>
        <pc:sldMkLst>
          <pc:docMk/>
          <pc:sldMk cId="2749295762" sldId="490"/>
        </pc:sldMkLst>
        <pc:spChg chg="mod">
          <ac:chgData name="Corey Yuan-Zhen Cao" userId="894c8f18-9551-4354-8c83-83a52876c78b" providerId="ADAL" clId="{71D6F6D9-85F0-0F4F-BAC1-3D8EF74D3DCD}" dt="2025-02-22T01:00:25.362" v="1414" actId="20577"/>
          <ac:spMkLst>
            <pc:docMk/>
            <pc:sldMk cId="2749295762" sldId="490"/>
            <ac:spMk id="3" creationId="{49F61AEF-0C9C-C4B7-5813-FFD8F3C7F07C}"/>
          </ac:spMkLst>
        </pc:spChg>
        <pc:graphicFrameChg chg="mod modGraphic">
          <ac:chgData name="Corey Yuan-Zhen Cao" userId="894c8f18-9551-4354-8c83-83a52876c78b" providerId="ADAL" clId="{71D6F6D9-85F0-0F4F-BAC1-3D8EF74D3DCD}" dt="2025-02-23T04:45:40.089" v="6373" actId="21"/>
          <ac:graphicFrameMkLst>
            <pc:docMk/>
            <pc:sldMk cId="2749295762" sldId="490"/>
            <ac:graphicFrameMk id="10" creationId="{F846FA44-78AA-4078-4433-0780450F9BE8}"/>
          </ac:graphicFrameMkLst>
        </pc:graphicFrameChg>
        <pc:graphicFrameChg chg="mod modGraphic">
          <ac:chgData name="Corey Yuan-Zhen Cao" userId="894c8f18-9551-4354-8c83-83a52876c78b" providerId="ADAL" clId="{71D6F6D9-85F0-0F4F-BAC1-3D8EF74D3DCD}" dt="2025-02-23T04:32:55.169" v="6080" actId="14734"/>
          <ac:graphicFrameMkLst>
            <pc:docMk/>
            <pc:sldMk cId="2749295762" sldId="490"/>
            <ac:graphicFrameMk id="11" creationId="{CA8D9854-01B4-5269-194B-F5076CA4A324}"/>
          </ac:graphicFrameMkLst>
        </pc:graphicFrameChg>
      </pc:sldChg>
      <pc:sldChg chg="addSp delSp modSp new mod modClrScheme chgLayout">
        <pc:chgData name="Corey Yuan-Zhen Cao" userId="894c8f18-9551-4354-8c83-83a52876c78b" providerId="ADAL" clId="{71D6F6D9-85F0-0F4F-BAC1-3D8EF74D3DCD}" dt="2025-02-22T00:33:18.204" v="1316" actId="478"/>
        <pc:sldMkLst>
          <pc:docMk/>
          <pc:sldMk cId="2949077002" sldId="491"/>
        </pc:sldMkLst>
        <pc:spChg chg="del mod">
          <ac:chgData name="Corey Yuan-Zhen Cao" userId="894c8f18-9551-4354-8c83-83a52876c78b" providerId="ADAL" clId="{71D6F6D9-85F0-0F4F-BAC1-3D8EF74D3DCD}" dt="2025-02-22T00:33:18.204" v="1316" actId="478"/>
          <ac:spMkLst>
            <pc:docMk/>
            <pc:sldMk cId="2949077002" sldId="491"/>
            <ac:spMk id="2" creationId="{56ADD400-3AEB-5188-953B-0B0B63BE9334}"/>
          </ac:spMkLst>
        </pc:spChg>
        <pc:spChg chg="mod">
          <ac:chgData name="Corey Yuan-Zhen Cao" userId="894c8f18-9551-4354-8c83-83a52876c78b" providerId="ADAL" clId="{71D6F6D9-85F0-0F4F-BAC1-3D8EF74D3DCD}" dt="2025-02-20T20:10:49.150" v="32" actId="20577"/>
          <ac:spMkLst>
            <pc:docMk/>
            <pc:sldMk cId="2949077002" sldId="491"/>
            <ac:spMk id="11" creationId="{C04334CB-E87F-76CE-2866-D7909351C40F}"/>
          </ac:spMkLst>
        </pc:spChg>
        <pc:spChg chg="add mod ord">
          <ac:chgData name="Corey Yuan-Zhen Cao" userId="894c8f18-9551-4354-8c83-83a52876c78b" providerId="ADAL" clId="{71D6F6D9-85F0-0F4F-BAC1-3D8EF74D3DCD}" dt="2025-02-21T23:29:38.316" v="1234" actId="20577"/>
          <ac:spMkLst>
            <pc:docMk/>
            <pc:sldMk cId="2949077002" sldId="491"/>
            <ac:spMk id="12" creationId="{AAAEDE1B-1CCC-7264-9B3D-9F9F0ECDD063}"/>
          </ac:spMkLst>
        </pc:spChg>
        <pc:spChg chg="mod">
          <ac:chgData name="Corey Yuan-Zhen Cao" userId="894c8f18-9551-4354-8c83-83a52876c78b" providerId="ADAL" clId="{71D6F6D9-85F0-0F4F-BAC1-3D8EF74D3DCD}" dt="2025-02-20T20:11:14.002" v="162" actId="20577"/>
          <ac:spMkLst>
            <pc:docMk/>
            <pc:sldMk cId="2949077002" sldId="491"/>
            <ac:spMk id="13" creationId="{90E646E7-BAF3-1451-6655-546DC20EB758}"/>
          </ac:spMkLst>
        </pc:spChg>
        <pc:spChg chg="add mod ord">
          <ac:chgData name="Corey Yuan-Zhen Cao" userId="894c8f18-9551-4354-8c83-83a52876c78b" providerId="ADAL" clId="{71D6F6D9-85F0-0F4F-BAC1-3D8EF74D3DCD}" dt="2025-02-20T20:12:52.631" v="168" actId="27636"/>
          <ac:spMkLst>
            <pc:docMk/>
            <pc:sldMk cId="2949077002" sldId="491"/>
            <ac:spMk id="15" creationId="{2DB2A952-408B-33AB-E573-43E6C2E2B3A1}"/>
          </ac:spMkLst>
        </pc:spChg>
        <pc:spChg chg="mod">
          <ac:chgData name="Corey Yuan-Zhen Cao" userId="894c8f18-9551-4354-8c83-83a52876c78b" providerId="ADAL" clId="{71D6F6D9-85F0-0F4F-BAC1-3D8EF74D3DCD}" dt="2025-02-20T20:13:07.446" v="172" actId="27636"/>
          <ac:spMkLst>
            <pc:docMk/>
            <pc:sldMk cId="2949077002" sldId="491"/>
            <ac:spMk id="16" creationId="{FF8C5C97-AA77-FB4D-7A6D-6245E9D507A4}"/>
          </ac:spMkLst>
        </pc:spChg>
        <pc:graphicFrameChg chg="add mod">
          <ac:chgData name="Corey Yuan-Zhen Cao" userId="894c8f18-9551-4354-8c83-83a52876c78b" providerId="ADAL" clId="{71D6F6D9-85F0-0F4F-BAC1-3D8EF74D3DCD}" dt="2025-02-20T20:12:38.238" v="164"/>
          <ac:graphicFrameMkLst>
            <pc:docMk/>
            <pc:sldMk cId="2949077002" sldId="491"/>
            <ac:graphicFrameMk id="18" creationId="{5B3D2C50-140E-0A40-89FF-95313F6F2A9D}"/>
          </ac:graphicFrameMkLst>
        </pc:graphicFrameChg>
        <pc:graphicFrameChg chg="add mod">
          <ac:chgData name="Corey Yuan-Zhen Cao" userId="894c8f18-9551-4354-8c83-83a52876c78b" providerId="ADAL" clId="{71D6F6D9-85F0-0F4F-BAC1-3D8EF74D3DCD}" dt="2025-02-20T20:14:32.371" v="174"/>
          <ac:graphicFrameMkLst>
            <pc:docMk/>
            <pc:sldMk cId="2949077002" sldId="491"/>
            <ac:graphicFrameMk id="19" creationId="{F55B2118-CA6C-F5EE-BCCF-5A06BB4A6262}"/>
          </ac:graphicFrameMkLst>
        </pc:graphicFrameChg>
      </pc:sldChg>
      <pc:sldChg chg="modSp add del mod">
        <pc:chgData name="Corey Yuan-Zhen Cao" userId="894c8f18-9551-4354-8c83-83a52876c78b" providerId="ADAL" clId="{71D6F6D9-85F0-0F4F-BAC1-3D8EF74D3DCD}" dt="2025-02-23T05:57:15.768" v="6821" actId="20577"/>
        <pc:sldMkLst>
          <pc:docMk/>
          <pc:sldMk cId="3223544848" sldId="492"/>
        </pc:sldMkLst>
        <pc:spChg chg="mod">
          <ac:chgData name="Corey Yuan-Zhen Cao" userId="894c8f18-9551-4354-8c83-83a52876c78b" providerId="ADAL" clId="{71D6F6D9-85F0-0F4F-BAC1-3D8EF74D3DCD}" dt="2025-02-22T05:15:47.425" v="4608" actId="790"/>
          <ac:spMkLst>
            <pc:docMk/>
            <pc:sldMk cId="3223544848" sldId="492"/>
            <ac:spMk id="2" creationId="{94761DA7-7BB9-0D68-683D-DC213CC0DFC2}"/>
          </ac:spMkLst>
        </pc:spChg>
        <pc:spChg chg="mod">
          <ac:chgData name="Corey Yuan-Zhen Cao" userId="894c8f18-9551-4354-8c83-83a52876c78b" providerId="ADAL" clId="{71D6F6D9-85F0-0F4F-BAC1-3D8EF74D3DCD}" dt="2025-02-23T04:10:50.971" v="5539" actId="20577"/>
          <ac:spMkLst>
            <pc:docMk/>
            <pc:sldMk cId="3223544848" sldId="492"/>
            <ac:spMk id="3" creationId="{F239DFE9-552A-23B2-0948-32835BF64730}"/>
          </ac:spMkLst>
        </pc:spChg>
        <pc:spChg chg="mod">
          <ac:chgData name="Corey Yuan-Zhen Cao" userId="894c8f18-9551-4354-8c83-83a52876c78b" providerId="ADAL" clId="{71D6F6D9-85F0-0F4F-BAC1-3D8EF74D3DCD}" dt="2025-02-22T05:15:47.425" v="4608" actId="790"/>
          <ac:spMkLst>
            <pc:docMk/>
            <pc:sldMk cId="3223544848" sldId="492"/>
            <ac:spMk id="4" creationId="{6E1E23E1-BB90-0F87-512E-303562EF4368}"/>
          </ac:spMkLst>
        </pc:spChg>
        <pc:spChg chg="mod">
          <ac:chgData name="Corey Yuan-Zhen Cao" userId="894c8f18-9551-4354-8c83-83a52876c78b" providerId="ADAL" clId="{71D6F6D9-85F0-0F4F-BAC1-3D8EF74D3DCD}" dt="2025-02-22T05:15:47.425" v="4608" actId="790"/>
          <ac:spMkLst>
            <pc:docMk/>
            <pc:sldMk cId="3223544848" sldId="492"/>
            <ac:spMk id="5" creationId="{B19017A5-2AE3-28B3-CDFB-22D93047520F}"/>
          </ac:spMkLst>
        </pc:spChg>
        <pc:spChg chg="mod">
          <ac:chgData name="Corey Yuan-Zhen Cao" userId="894c8f18-9551-4354-8c83-83a52876c78b" providerId="ADAL" clId="{71D6F6D9-85F0-0F4F-BAC1-3D8EF74D3DCD}" dt="2025-02-22T05:15:47.425" v="4608" actId="790"/>
          <ac:spMkLst>
            <pc:docMk/>
            <pc:sldMk cId="3223544848" sldId="492"/>
            <ac:spMk id="7" creationId="{D4B0CF55-D7B1-1CAE-C504-077C1CA3A13B}"/>
          </ac:spMkLst>
        </pc:spChg>
        <pc:spChg chg="mod">
          <ac:chgData name="Corey Yuan-Zhen Cao" userId="894c8f18-9551-4354-8c83-83a52876c78b" providerId="ADAL" clId="{71D6F6D9-85F0-0F4F-BAC1-3D8EF74D3DCD}" dt="2025-02-22T05:15:47.425" v="4608" actId="790"/>
          <ac:spMkLst>
            <pc:docMk/>
            <pc:sldMk cId="3223544848" sldId="492"/>
            <ac:spMk id="9" creationId="{3A83B4C6-0D10-8792-4C27-43B36728DF9E}"/>
          </ac:spMkLst>
        </pc:spChg>
        <pc:spChg chg="mod">
          <ac:chgData name="Corey Yuan-Zhen Cao" userId="894c8f18-9551-4354-8c83-83a52876c78b" providerId="ADAL" clId="{71D6F6D9-85F0-0F4F-BAC1-3D8EF74D3DCD}" dt="2025-02-23T04:24:44.266" v="5682" actId="20577"/>
          <ac:spMkLst>
            <pc:docMk/>
            <pc:sldMk cId="3223544848" sldId="492"/>
            <ac:spMk id="10" creationId="{808E3B31-0AA9-9C92-637C-8CD6F708AA7E}"/>
          </ac:spMkLst>
        </pc:spChg>
        <pc:spChg chg="mod">
          <ac:chgData name="Corey Yuan-Zhen Cao" userId="894c8f18-9551-4354-8c83-83a52876c78b" providerId="ADAL" clId="{71D6F6D9-85F0-0F4F-BAC1-3D8EF74D3DCD}" dt="2025-02-23T05:57:15.768" v="6821" actId="20577"/>
          <ac:spMkLst>
            <pc:docMk/>
            <pc:sldMk cId="3223544848" sldId="492"/>
            <ac:spMk id="11" creationId="{21B135DF-EE58-C7DA-0E2F-7E34EFBE790C}"/>
          </ac:spMkLst>
        </pc:spChg>
        <pc:spChg chg="mod">
          <ac:chgData name="Corey Yuan-Zhen Cao" userId="894c8f18-9551-4354-8c83-83a52876c78b" providerId="ADAL" clId="{71D6F6D9-85F0-0F4F-BAC1-3D8EF74D3DCD}" dt="2025-02-22T05:15:47.425" v="4608" actId="790"/>
          <ac:spMkLst>
            <pc:docMk/>
            <pc:sldMk cId="3223544848" sldId="492"/>
            <ac:spMk id="12" creationId="{CEC2F80C-9C5D-9D96-740A-04A98902D5F9}"/>
          </ac:spMkLst>
        </pc:spChg>
        <pc:spChg chg="mod">
          <ac:chgData name="Corey Yuan-Zhen Cao" userId="894c8f18-9551-4354-8c83-83a52876c78b" providerId="ADAL" clId="{71D6F6D9-85F0-0F4F-BAC1-3D8EF74D3DCD}" dt="2025-02-23T04:30:29.544" v="6039" actId="20577"/>
          <ac:spMkLst>
            <pc:docMk/>
            <pc:sldMk cId="3223544848" sldId="492"/>
            <ac:spMk id="13" creationId="{7F2D9661-1366-EF06-2ABF-2FBCCDDFFBEA}"/>
          </ac:spMkLst>
        </pc:spChg>
        <pc:spChg chg="mod">
          <ac:chgData name="Corey Yuan-Zhen Cao" userId="894c8f18-9551-4354-8c83-83a52876c78b" providerId="ADAL" clId="{71D6F6D9-85F0-0F4F-BAC1-3D8EF74D3DCD}" dt="2025-02-22T05:15:47.425" v="4608" actId="790"/>
          <ac:spMkLst>
            <pc:docMk/>
            <pc:sldMk cId="3223544848" sldId="492"/>
            <ac:spMk id="14" creationId="{FEA3D206-52E8-B71E-5BF0-8F1DF368A6BD}"/>
          </ac:spMkLst>
        </pc:spChg>
      </pc:sldChg>
      <pc:sldChg chg="add del">
        <pc:chgData name="Corey Yuan-Zhen Cao" userId="894c8f18-9551-4354-8c83-83a52876c78b" providerId="ADAL" clId="{71D6F6D9-85F0-0F4F-BAC1-3D8EF74D3DCD}" dt="2025-02-22T01:16:01.408" v="1420" actId="2696"/>
        <pc:sldMkLst>
          <pc:docMk/>
          <pc:sldMk cId="260957099" sldId="493"/>
        </pc:sldMkLst>
      </pc:sldChg>
      <pc:sldChg chg="addSp delSp modSp add mod">
        <pc:chgData name="Corey Yuan-Zhen Cao" userId="894c8f18-9551-4354-8c83-83a52876c78b" providerId="ADAL" clId="{71D6F6D9-85F0-0F4F-BAC1-3D8EF74D3DCD}" dt="2025-02-22T13:26:24.837" v="4878" actId="20577"/>
        <pc:sldMkLst>
          <pc:docMk/>
          <pc:sldMk cId="107402232" sldId="494"/>
        </pc:sldMkLst>
        <pc:spChg chg="mod">
          <ac:chgData name="Corey Yuan-Zhen Cao" userId="894c8f18-9551-4354-8c83-83a52876c78b" providerId="ADAL" clId="{71D6F6D9-85F0-0F4F-BAC1-3D8EF74D3DCD}" dt="2025-02-22T04:53:45.009" v="2794" actId="20577"/>
          <ac:spMkLst>
            <pc:docMk/>
            <pc:sldMk cId="107402232" sldId="494"/>
            <ac:spMk id="3" creationId="{64A1D01D-B1FE-BD53-F898-8D7F7D447100}"/>
          </ac:spMkLst>
        </pc:spChg>
        <pc:spChg chg="mod">
          <ac:chgData name="Corey Yuan-Zhen Cao" userId="894c8f18-9551-4354-8c83-83a52876c78b" providerId="ADAL" clId="{71D6F6D9-85F0-0F4F-BAC1-3D8EF74D3DCD}" dt="2025-02-22T04:41:36.337" v="2080" actId="20577"/>
          <ac:spMkLst>
            <pc:docMk/>
            <pc:sldMk cId="107402232" sldId="494"/>
            <ac:spMk id="4" creationId="{4B6422CF-1A71-1E49-D910-6551B982B982}"/>
          </ac:spMkLst>
        </pc:spChg>
        <pc:spChg chg="mod">
          <ac:chgData name="Corey Yuan-Zhen Cao" userId="894c8f18-9551-4354-8c83-83a52876c78b" providerId="ADAL" clId="{71D6F6D9-85F0-0F4F-BAC1-3D8EF74D3DCD}" dt="2025-02-22T13:26:24.837" v="4878" actId="20577"/>
          <ac:spMkLst>
            <pc:docMk/>
            <pc:sldMk cId="107402232" sldId="494"/>
            <ac:spMk id="5" creationId="{AF577936-04F4-E1E4-F8C7-02594028FDC3}"/>
          </ac:spMkLst>
        </pc:spChg>
        <pc:spChg chg="mod">
          <ac:chgData name="Corey Yuan-Zhen Cao" userId="894c8f18-9551-4354-8c83-83a52876c78b" providerId="ADAL" clId="{71D6F6D9-85F0-0F4F-BAC1-3D8EF74D3DCD}" dt="2025-02-22T04:56:13.180" v="2958" actId="20577"/>
          <ac:spMkLst>
            <pc:docMk/>
            <pc:sldMk cId="107402232" sldId="494"/>
            <ac:spMk id="6" creationId="{74BFEB17-88FF-994C-BACC-E14487C3E857}"/>
          </ac:spMkLst>
        </pc:spChg>
        <pc:spChg chg="mod">
          <ac:chgData name="Corey Yuan-Zhen Cao" userId="894c8f18-9551-4354-8c83-83a52876c78b" providerId="ADAL" clId="{71D6F6D9-85F0-0F4F-BAC1-3D8EF74D3DCD}" dt="2025-02-22T13:25:53.341" v="4798"/>
          <ac:spMkLst>
            <pc:docMk/>
            <pc:sldMk cId="107402232" sldId="494"/>
            <ac:spMk id="7" creationId="{217CA414-F556-2DB4-33B5-22290B975C2E}"/>
          </ac:spMkLst>
        </pc:spChg>
        <pc:spChg chg="mod">
          <ac:chgData name="Corey Yuan-Zhen Cao" userId="894c8f18-9551-4354-8c83-83a52876c78b" providerId="ADAL" clId="{71D6F6D9-85F0-0F4F-BAC1-3D8EF74D3DCD}" dt="2025-02-22T04:42:16.445" v="2099" actId="20577"/>
          <ac:spMkLst>
            <pc:docMk/>
            <pc:sldMk cId="107402232" sldId="494"/>
            <ac:spMk id="10" creationId="{C697B348-D2DD-3402-332A-10D3DC7CF897}"/>
          </ac:spMkLst>
        </pc:spChg>
        <pc:spChg chg="mod">
          <ac:chgData name="Corey Yuan-Zhen Cao" userId="894c8f18-9551-4354-8c83-83a52876c78b" providerId="ADAL" clId="{71D6F6D9-85F0-0F4F-BAC1-3D8EF74D3DCD}" dt="2025-02-22T04:53:35.216" v="2752" actId="20577"/>
          <ac:spMkLst>
            <pc:docMk/>
            <pc:sldMk cId="107402232" sldId="494"/>
            <ac:spMk id="11" creationId="{29193667-B56B-573E-209E-BD73B48DEA49}"/>
          </ac:spMkLst>
        </pc:spChg>
        <pc:spChg chg="mod">
          <ac:chgData name="Corey Yuan-Zhen Cao" userId="894c8f18-9551-4354-8c83-83a52876c78b" providerId="ADAL" clId="{71D6F6D9-85F0-0F4F-BAC1-3D8EF74D3DCD}" dt="2025-02-22T04:56:33.855" v="2979" actId="20577"/>
          <ac:spMkLst>
            <pc:docMk/>
            <pc:sldMk cId="107402232" sldId="494"/>
            <ac:spMk id="12" creationId="{060574BC-1A28-A2DD-05F0-E6AA9B1BE6A4}"/>
          </ac:spMkLst>
        </pc:spChg>
        <pc:spChg chg="mod">
          <ac:chgData name="Corey Yuan-Zhen Cao" userId="894c8f18-9551-4354-8c83-83a52876c78b" providerId="ADAL" clId="{71D6F6D9-85F0-0F4F-BAC1-3D8EF74D3DCD}" dt="2025-02-22T04:56:42.814" v="3008" actId="20577"/>
          <ac:spMkLst>
            <pc:docMk/>
            <pc:sldMk cId="107402232" sldId="494"/>
            <ac:spMk id="13" creationId="{53685F40-431F-2506-FC27-5AE7457961FD}"/>
          </ac:spMkLst>
        </pc:spChg>
        <pc:spChg chg="mod">
          <ac:chgData name="Corey Yuan-Zhen Cao" userId="894c8f18-9551-4354-8c83-83a52876c78b" providerId="ADAL" clId="{71D6F6D9-85F0-0F4F-BAC1-3D8EF74D3DCD}" dt="2025-02-22T04:56:36.310" v="2988" actId="20577"/>
          <ac:spMkLst>
            <pc:docMk/>
            <pc:sldMk cId="107402232" sldId="494"/>
            <ac:spMk id="15" creationId="{58A02082-E5DD-FB16-793C-FF5DC6C3F9EA}"/>
          </ac:spMkLst>
        </pc:spChg>
        <pc:spChg chg="add mod">
          <ac:chgData name="Corey Yuan-Zhen Cao" userId="894c8f18-9551-4354-8c83-83a52876c78b" providerId="ADAL" clId="{71D6F6D9-85F0-0F4F-BAC1-3D8EF74D3DCD}" dt="2025-02-22T04:54:48.891" v="2810" actId="20577"/>
          <ac:spMkLst>
            <pc:docMk/>
            <pc:sldMk cId="107402232" sldId="494"/>
            <ac:spMk id="16" creationId="{F41A9337-7DD8-4C8E-177A-D96F7C04972A}"/>
          </ac:spMkLst>
        </pc:spChg>
        <pc:spChg chg="mod">
          <ac:chgData name="Corey Yuan-Zhen Cao" userId="894c8f18-9551-4354-8c83-83a52876c78b" providerId="ADAL" clId="{71D6F6D9-85F0-0F4F-BAC1-3D8EF74D3DCD}" dt="2025-02-22T13:26:04.768" v="4829" actId="20577"/>
          <ac:spMkLst>
            <pc:docMk/>
            <pc:sldMk cId="107402232" sldId="494"/>
            <ac:spMk id="17" creationId="{DC41E672-0B33-BE37-31DF-F06A90A7E86D}"/>
          </ac:spMkLst>
        </pc:spChg>
        <pc:spChg chg="mod">
          <ac:chgData name="Corey Yuan-Zhen Cao" userId="894c8f18-9551-4354-8c83-83a52876c78b" providerId="ADAL" clId="{71D6F6D9-85F0-0F4F-BAC1-3D8EF74D3DCD}" dt="2025-02-22T04:55:13.395" v="2868" actId="20577"/>
          <ac:spMkLst>
            <pc:docMk/>
            <pc:sldMk cId="107402232" sldId="494"/>
            <ac:spMk id="18" creationId="{73B5B9B4-C7C4-C29A-3988-0FFC3387608C}"/>
          </ac:spMkLst>
        </pc:spChg>
        <pc:spChg chg="add mod">
          <ac:chgData name="Corey Yuan-Zhen Cao" userId="894c8f18-9551-4354-8c83-83a52876c78b" providerId="ADAL" clId="{71D6F6D9-85F0-0F4F-BAC1-3D8EF74D3DCD}" dt="2025-02-22T04:54:59.237" v="2818" actId="20577"/>
          <ac:spMkLst>
            <pc:docMk/>
            <pc:sldMk cId="107402232" sldId="494"/>
            <ac:spMk id="21" creationId="{2BAD4657-A6CC-FF52-EF62-91F0F4546737}"/>
          </ac:spMkLst>
        </pc:spChg>
        <pc:picChg chg="del">
          <ac:chgData name="Corey Yuan-Zhen Cao" userId="894c8f18-9551-4354-8c83-83a52876c78b" providerId="ADAL" clId="{71D6F6D9-85F0-0F4F-BAC1-3D8EF74D3DCD}" dt="2025-02-22T04:41:38.155" v="2081" actId="478"/>
          <ac:picMkLst>
            <pc:docMk/>
            <pc:sldMk cId="107402232" sldId="494"/>
            <ac:picMk id="9" creationId="{EF86BEAA-70BE-61AB-8584-03542B1B2E08}"/>
          </ac:picMkLst>
        </pc:picChg>
        <pc:picChg chg="add del mod">
          <ac:chgData name="Corey Yuan-Zhen Cao" userId="894c8f18-9551-4354-8c83-83a52876c78b" providerId="ADAL" clId="{71D6F6D9-85F0-0F4F-BAC1-3D8EF74D3DCD}" dt="2025-02-22T13:24:00.415" v="4776" actId="478"/>
          <ac:picMkLst>
            <pc:docMk/>
            <pc:sldMk cId="107402232" sldId="494"/>
            <ac:picMk id="22" creationId="{382C5BA3-A33F-5142-53B5-B6E3D90497F5}"/>
          </ac:picMkLst>
        </pc:picChg>
        <pc:picChg chg="add mod modCrop">
          <ac:chgData name="Corey Yuan-Zhen Cao" userId="894c8f18-9551-4354-8c83-83a52876c78b" providerId="ADAL" clId="{71D6F6D9-85F0-0F4F-BAC1-3D8EF74D3DCD}" dt="2025-02-22T13:25:38.615" v="4797" actId="1076"/>
          <ac:picMkLst>
            <pc:docMk/>
            <pc:sldMk cId="107402232" sldId="494"/>
            <ac:picMk id="24" creationId="{796BA51B-EFBA-511C-E4B6-4D76ADA6E6C2}"/>
          </ac:picMkLst>
        </pc:picChg>
        <pc:picChg chg="del">
          <ac:chgData name="Corey Yuan-Zhen Cao" userId="894c8f18-9551-4354-8c83-83a52876c78b" providerId="ADAL" clId="{71D6F6D9-85F0-0F4F-BAC1-3D8EF74D3DCD}" dt="2025-02-22T04:41:32.503" v="2079" actId="478"/>
          <ac:picMkLst>
            <pc:docMk/>
            <pc:sldMk cId="107402232" sldId="494"/>
            <ac:picMk id="26" creationId="{16048F62-0E44-A320-976B-65991718A59D}"/>
          </ac:picMkLst>
        </pc:picChg>
        <pc:picChg chg="add mod modCrop">
          <ac:chgData name="Corey Yuan-Zhen Cao" userId="894c8f18-9551-4354-8c83-83a52876c78b" providerId="ADAL" clId="{71D6F6D9-85F0-0F4F-BAC1-3D8EF74D3DCD}" dt="2025-02-22T13:25:35.322" v="4796" actId="1076"/>
          <ac:picMkLst>
            <pc:docMk/>
            <pc:sldMk cId="107402232" sldId="494"/>
            <ac:picMk id="27" creationId="{0D508981-9CD3-B756-9D53-6620B227C04E}"/>
          </ac:picMkLst>
        </pc:picChg>
      </pc:sldChg>
      <pc:sldChg chg="modSp add mod ord">
        <pc:chgData name="Corey Yuan-Zhen Cao" userId="894c8f18-9551-4354-8c83-83a52876c78b" providerId="ADAL" clId="{71D6F6D9-85F0-0F4F-BAC1-3D8EF74D3DCD}" dt="2025-02-23T03:52:30.863" v="5447" actId="20577"/>
        <pc:sldMkLst>
          <pc:docMk/>
          <pc:sldMk cId="1155382054" sldId="495"/>
        </pc:sldMkLst>
        <pc:spChg chg="mod">
          <ac:chgData name="Corey Yuan-Zhen Cao" userId="894c8f18-9551-4354-8c83-83a52876c78b" providerId="ADAL" clId="{71D6F6D9-85F0-0F4F-BAC1-3D8EF74D3DCD}" dt="2025-02-23T03:52:30.863" v="5447" actId="20577"/>
          <ac:spMkLst>
            <pc:docMk/>
            <pc:sldMk cId="1155382054" sldId="495"/>
            <ac:spMk id="4" creationId="{6D056015-3794-D950-AD04-AA118D2CDCC6}"/>
          </ac:spMkLst>
        </pc:spChg>
        <pc:graphicFrameChg chg="mod modGraphic">
          <ac:chgData name="Corey Yuan-Zhen Cao" userId="894c8f18-9551-4354-8c83-83a52876c78b" providerId="ADAL" clId="{71D6F6D9-85F0-0F4F-BAC1-3D8EF74D3DCD}" dt="2025-02-23T03:38:46.536" v="5226" actId="255"/>
          <ac:graphicFrameMkLst>
            <pc:docMk/>
            <pc:sldMk cId="1155382054" sldId="495"/>
            <ac:graphicFrameMk id="3" creationId="{2E33675E-613F-69DC-7F34-B95BB1B034A7}"/>
          </ac:graphicFrameMkLst>
        </pc:graphicFrameChg>
        <pc:graphicFrameChg chg="mod modGraphic">
          <ac:chgData name="Corey Yuan-Zhen Cao" userId="894c8f18-9551-4354-8c83-83a52876c78b" providerId="ADAL" clId="{71D6F6D9-85F0-0F4F-BAC1-3D8EF74D3DCD}" dt="2025-02-23T03:41:17.726" v="5292" actId="20577"/>
          <ac:graphicFrameMkLst>
            <pc:docMk/>
            <pc:sldMk cId="1155382054" sldId="495"/>
            <ac:graphicFrameMk id="7" creationId="{CC0CEAE9-92D7-0D3D-D2C0-EA9A579A2DBF}"/>
          </ac:graphicFrameMkLst>
        </pc:graphicFrameChg>
      </pc:sldChg>
      <pc:sldChg chg="addSp delSp modSp new mod">
        <pc:chgData name="Corey Yuan-Zhen Cao" userId="894c8f18-9551-4354-8c83-83a52876c78b" providerId="ADAL" clId="{71D6F6D9-85F0-0F4F-BAC1-3D8EF74D3DCD}" dt="2025-02-23T03:51:56.041" v="5440"/>
        <pc:sldMkLst>
          <pc:docMk/>
          <pc:sldMk cId="167859376" sldId="496"/>
        </pc:sldMkLst>
        <pc:spChg chg="del">
          <ac:chgData name="Corey Yuan-Zhen Cao" userId="894c8f18-9551-4354-8c83-83a52876c78b" providerId="ADAL" clId="{71D6F6D9-85F0-0F4F-BAC1-3D8EF74D3DCD}" dt="2025-02-23T03:45:03.086" v="5325"/>
          <ac:spMkLst>
            <pc:docMk/>
            <pc:sldMk cId="167859376" sldId="496"/>
            <ac:spMk id="3" creationId="{56989CC3-DA1E-2E80-6735-A11C6B712772}"/>
          </ac:spMkLst>
        </pc:spChg>
        <pc:spChg chg="mod">
          <ac:chgData name="Corey Yuan-Zhen Cao" userId="894c8f18-9551-4354-8c83-83a52876c78b" providerId="ADAL" clId="{71D6F6D9-85F0-0F4F-BAC1-3D8EF74D3DCD}" dt="2025-02-23T03:44:27.090" v="5324" actId="20577"/>
          <ac:spMkLst>
            <pc:docMk/>
            <pc:sldMk cId="167859376" sldId="496"/>
            <ac:spMk id="4" creationId="{551732DB-E401-9DD3-E639-1A78A542417B}"/>
          </ac:spMkLst>
        </pc:spChg>
        <pc:spChg chg="add del mod">
          <ac:chgData name="Corey Yuan-Zhen Cao" userId="894c8f18-9551-4354-8c83-83a52876c78b" providerId="ADAL" clId="{71D6F6D9-85F0-0F4F-BAC1-3D8EF74D3DCD}" dt="2025-02-23T03:45:44.596" v="5328"/>
          <ac:spMkLst>
            <pc:docMk/>
            <pc:sldMk cId="167859376" sldId="496"/>
            <ac:spMk id="8" creationId="{C65C8DE8-5EB6-2312-85DD-0E7A3A6E2DB0}"/>
          </ac:spMkLst>
        </pc:spChg>
        <pc:spChg chg="add del mod">
          <ac:chgData name="Corey Yuan-Zhen Cao" userId="894c8f18-9551-4354-8c83-83a52876c78b" providerId="ADAL" clId="{71D6F6D9-85F0-0F4F-BAC1-3D8EF74D3DCD}" dt="2025-02-23T03:45:55.903" v="5330"/>
          <ac:spMkLst>
            <pc:docMk/>
            <pc:sldMk cId="167859376" sldId="496"/>
            <ac:spMk id="11" creationId="{8BAB59A2-1417-BD0F-8FD5-830E173CA295}"/>
          </ac:spMkLst>
        </pc:spChg>
        <pc:graphicFrameChg chg="add del mod">
          <ac:chgData name="Corey Yuan-Zhen Cao" userId="894c8f18-9551-4354-8c83-83a52876c78b" providerId="ADAL" clId="{71D6F6D9-85F0-0F4F-BAC1-3D8EF74D3DCD}" dt="2025-02-23T03:45:32.210" v="5327" actId="478"/>
          <ac:graphicFrameMkLst>
            <pc:docMk/>
            <pc:sldMk cId="167859376" sldId="496"/>
            <ac:graphicFrameMk id="6" creationId="{7D3DC633-0E2C-C1BC-02FE-2FB556A70CE1}"/>
          </ac:graphicFrameMkLst>
        </pc:graphicFrameChg>
        <pc:graphicFrameChg chg="add del mod">
          <ac:chgData name="Corey Yuan-Zhen Cao" userId="894c8f18-9551-4354-8c83-83a52876c78b" providerId="ADAL" clId="{71D6F6D9-85F0-0F4F-BAC1-3D8EF74D3DCD}" dt="2025-02-23T03:45:46.056" v="5329" actId="478"/>
          <ac:graphicFrameMkLst>
            <pc:docMk/>
            <pc:sldMk cId="167859376" sldId="496"/>
            <ac:graphicFrameMk id="9" creationId="{B511E4DF-0BBA-2B7F-8605-C3C59187D469}"/>
          </ac:graphicFrameMkLst>
        </pc:graphicFrameChg>
        <pc:graphicFrameChg chg="add mod modGraphic">
          <ac:chgData name="Corey Yuan-Zhen Cao" userId="894c8f18-9551-4354-8c83-83a52876c78b" providerId="ADAL" clId="{71D6F6D9-85F0-0F4F-BAC1-3D8EF74D3DCD}" dt="2025-02-23T03:51:56.041" v="5440"/>
          <ac:graphicFrameMkLst>
            <pc:docMk/>
            <pc:sldMk cId="167859376" sldId="496"/>
            <ac:graphicFrameMk id="12" creationId="{F0E679C3-8A3F-01DE-64E8-18C56A0ED98F}"/>
          </ac:graphicFrameMkLst>
        </pc:graphicFrameChg>
      </pc:sldChg>
      <pc:sldChg chg="addSp delSp modSp new mod modClrScheme chgLayout">
        <pc:chgData name="Corey Yuan-Zhen Cao" userId="894c8f18-9551-4354-8c83-83a52876c78b" providerId="ADAL" clId="{71D6F6D9-85F0-0F4F-BAC1-3D8EF74D3DCD}" dt="2025-02-23T04:48:48.873" v="6488" actId="14100"/>
        <pc:sldMkLst>
          <pc:docMk/>
          <pc:sldMk cId="3172926621" sldId="497"/>
        </pc:sldMkLst>
        <pc:spChg chg="del mod ord">
          <ac:chgData name="Corey Yuan-Zhen Cao" userId="894c8f18-9551-4354-8c83-83a52876c78b" providerId="ADAL" clId="{71D6F6D9-85F0-0F4F-BAC1-3D8EF74D3DCD}" dt="2025-02-23T04:36:26.804" v="6088" actId="700"/>
          <ac:spMkLst>
            <pc:docMk/>
            <pc:sldMk cId="3172926621" sldId="497"/>
            <ac:spMk id="2" creationId="{0ED1A865-5917-06F6-DBD5-B833AE46D7EF}"/>
          </ac:spMkLst>
        </pc:spChg>
        <pc:spChg chg="del mod ord">
          <ac:chgData name="Corey Yuan-Zhen Cao" userId="894c8f18-9551-4354-8c83-83a52876c78b" providerId="ADAL" clId="{71D6F6D9-85F0-0F4F-BAC1-3D8EF74D3DCD}" dt="2025-02-23T04:36:26.804" v="6088" actId="700"/>
          <ac:spMkLst>
            <pc:docMk/>
            <pc:sldMk cId="3172926621" sldId="497"/>
            <ac:spMk id="3" creationId="{CC0889FB-C596-946B-78AB-8E88C38E5D37}"/>
          </ac:spMkLst>
        </pc:spChg>
        <pc:spChg chg="del mod ord">
          <ac:chgData name="Corey Yuan-Zhen Cao" userId="894c8f18-9551-4354-8c83-83a52876c78b" providerId="ADAL" clId="{71D6F6D9-85F0-0F4F-BAC1-3D8EF74D3DCD}" dt="2025-02-23T04:36:26.804" v="6088" actId="700"/>
          <ac:spMkLst>
            <pc:docMk/>
            <pc:sldMk cId="3172926621" sldId="497"/>
            <ac:spMk id="4" creationId="{722FFEA7-22F3-DD5E-DD44-03C63DB08842}"/>
          </ac:spMkLst>
        </pc:spChg>
        <pc:spChg chg="del mod ord">
          <ac:chgData name="Corey Yuan-Zhen Cao" userId="894c8f18-9551-4354-8c83-83a52876c78b" providerId="ADAL" clId="{71D6F6D9-85F0-0F4F-BAC1-3D8EF74D3DCD}" dt="2025-02-23T04:36:26.804" v="6088" actId="700"/>
          <ac:spMkLst>
            <pc:docMk/>
            <pc:sldMk cId="3172926621" sldId="497"/>
            <ac:spMk id="5" creationId="{5C86122F-8A9A-55B9-5EE8-A108175C9BD7}"/>
          </ac:spMkLst>
        </pc:spChg>
        <pc:spChg chg="del">
          <ac:chgData name="Corey Yuan-Zhen Cao" userId="894c8f18-9551-4354-8c83-83a52876c78b" providerId="ADAL" clId="{71D6F6D9-85F0-0F4F-BAC1-3D8EF74D3DCD}" dt="2025-02-23T04:36:26.804" v="6088" actId="700"/>
          <ac:spMkLst>
            <pc:docMk/>
            <pc:sldMk cId="3172926621" sldId="497"/>
            <ac:spMk id="6" creationId="{3010A2EC-0CDD-AE5D-0558-94350221D4A6}"/>
          </ac:spMkLst>
        </pc:spChg>
        <pc:spChg chg="del">
          <ac:chgData name="Corey Yuan-Zhen Cao" userId="894c8f18-9551-4354-8c83-83a52876c78b" providerId="ADAL" clId="{71D6F6D9-85F0-0F4F-BAC1-3D8EF74D3DCD}" dt="2025-02-23T04:36:26.804" v="6088" actId="700"/>
          <ac:spMkLst>
            <pc:docMk/>
            <pc:sldMk cId="3172926621" sldId="497"/>
            <ac:spMk id="8" creationId="{1B35436B-E6A1-1C54-8C7D-BE1A1FC59AB4}"/>
          </ac:spMkLst>
        </pc:spChg>
        <pc:spChg chg="add mod ord">
          <ac:chgData name="Corey Yuan-Zhen Cao" userId="894c8f18-9551-4354-8c83-83a52876c78b" providerId="ADAL" clId="{71D6F6D9-85F0-0F4F-BAC1-3D8EF74D3DCD}" dt="2025-02-23T04:43:53.085" v="6226"/>
          <ac:spMkLst>
            <pc:docMk/>
            <pc:sldMk cId="3172926621" sldId="497"/>
            <ac:spMk id="9" creationId="{D1806AAA-B93A-7D0D-AF09-22B15AD42AEB}"/>
          </ac:spMkLst>
        </pc:spChg>
        <pc:spChg chg="add mod ord">
          <ac:chgData name="Corey Yuan-Zhen Cao" userId="894c8f18-9551-4354-8c83-83a52876c78b" providerId="ADAL" clId="{71D6F6D9-85F0-0F4F-BAC1-3D8EF74D3DCD}" dt="2025-02-23T04:43:43.833" v="6225"/>
          <ac:spMkLst>
            <pc:docMk/>
            <pc:sldMk cId="3172926621" sldId="497"/>
            <ac:spMk id="10" creationId="{EB3CB472-F164-CBEA-74F2-6A1E4BD72885}"/>
          </ac:spMkLst>
        </pc:spChg>
        <pc:spChg chg="add del mod ord">
          <ac:chgData name="Corey Yuan-Zhen Cao" userId="894c8f18-9551-4354-8c83-83a52876c78b" providerId="ADAL" clId="{71D6F6D9-85F0-0F4F-BAC1-3D8EF74D3DCD}" dt="2025-02-23T04:36:36.451" v="6089"/>
          <ac:spMkLst>
            <pc:docMk/>
            <pc:sldMk cId="3172926621" sldId="497"/>
            <ac:spMk id="11" creationId="{46261505-861C-13E8-1222-A39C334BDFD5}"/>
          </ac:spMkLst>
        </pc:spChg>
        <pc:spChg chg="add mod ord">
          <ac:chgData name="Corey Yuan-Zhen Cao" userId="894c8f18-9551-4354-8c83-83a52876c78b" providerId="ADAL" clId="{71D6F6D9-85F0-0F4F-BAC1-3D8EF74D3DCD}" dt="2025-02-23T04:47:19.068" v="6480" actId="20577"/>
          <ac:spMkLst>
            <pc:docMk/>
            <pc:sldMk cId="3172926621" sldId="497"/>
            <ac:spMk id="12" creationId="{D1F345C2-F28F-FD52-624E-86B5FE10A992}"/>
          </ac:spMkLst>
        </pc:spChg>
        <pc:spChg chg="add mod">
          <ac:chgData name="Corey Yuan-Zhen Cao" userId="894c8f18-9551-4354-8c83-83a52876c78b" providerId="ADAL" clId="{71D6F6D9-85F0-0F4F-BAC1-3D8EF74D3DCD}" dt="2025-02-23T04:38:47.487" v="6107" actId="1076"/>
          <ac:spMkLst>
            <pc:docMk/>
            <pc:sldMk cId="3172926621" sldId="497"/>
            <ac:spMk id="17" creationId="{9E8ADF88-F484-0B26-7712-EA827E3B5AE6}"/>
          </ac:spMkLst>
        </pc:spChg>
        <pc:graphicFrameChg chg="add del mod modGraphic">
          <ac:chgData name="Corey Yuan-Zhen Cao" userId="894c8f18-9551-4354-8c83-83a52876c78b" providerId="ADAL" clId="{71D6F6D9-85F0-0F4F-BAC1-3D8EF74D3DCD}" dt="2025-02-23T04:38:12.387" v="6101" actId="478"/>
          <ac:graphicFrameMkLst>
            <pc:docMk/>
            <pc:sldMk cId="3172926621" sldId="497"/>
            <ac:graphicFrameMk id="13" creationId="{D6780ED8-D25E-2ECA-3AF0-03977B6CA36C}"/>
          </ac:graphicFrameMkLst>
        </pc:graphicFrameChg>
        <pc:graphicFrameChg chg="add mod modGraphic">
          <ac:chgData name="Corey Yuan-Zhen Cao" userId="894c8f18-9551-4354-8c83-83a52876c78b" providerId="ADAL" clId="{71D6F6D9-85F0-0F4F-BAC1-3D8EF74D3DCD}" dt="2025-02-23T04:48:48.873" v="6488" actId="14100"/>
          <ac:graphicFrameMkLst>
            <pc:docMk/>
            <pc:sldMk cId="3172926621" sldId="497"/>
            <ac:graphicFrameMk id="14" creationId="{3BC6306E-854F-1B02-C863-3243FD086772}"/>
          </ac:graphicFrameMkLst>
        </pc:graphicFrameChg>
        <pc:graphicFrameChg chg="add mod modGraphic">
          <ac:chgData name="Corey Yuan-Zhen Cao" userId="894c8f18-9551-4354-8c83-83a52876c78b" providerId="ADAL" clId="{71D6F6D9-85F0-0F4F-BAC1-3D8EF74D3DCD}" dt="2025-02-23T04:48:45.549" v="6487" actId="14100"/>
          <ac:graphicFrameMkLst>
            <pc:docMk/>
            <pc:sldMk cId="3172926621" sldId="497"/>
            <ac:graphicFrameMk id="15" creationId="{8C0CA367-0A37-EC20-3338-02F1528718D9}"/>
          </ac:graphicFrameMkLst>
        </pc:graphicFrameChg>
      </pc:sldChg>
      <pc:sldChg chg="add">
        <pc:chgData name="Corey Yuan-Zhen Cao" userId="894c8f18-9551-4354-8c83-83a52876c78b" providerId="ADAL" clId="{71D6F6D9-85F0-0F4F-BAC1-3D8EF74D3DCD}" dt="2025-02-23T06:08:40.130" v="6891"/>
        <pc:sldMkLst>
          <pc:docMk/>
          <pc:sldMk cId="1243601329" sldId="498"/>
        </pc:sldMkLst>
      </pc:sldChg>
    </pc:docChg>
  </pc:docChgLst>
  <pc:docChgLst>
    <pc:chgData name="Michael Penney" userId="4f9b80c6-1a49-4d2e-92c5-79759f092c89" providerId="ADAL" clId="{6C45711C-969E-1644-99D4-4CEB0381AC35}"/>
    <pc:docChg chg="undo redo custSel modSld">
      <pc:chgData name="Michael Penney" userId="4f9b80c6-1a49-4d2e-92c5-79759f092c89" providerId="ADAL" clId="{6C45711C-969E-1644-99D4-4CEB0381AC35}" dt="2025-02-24T00:43:16.274" v="289" actId="20577"/>
      <pc:docMkLst>
        <pc:docMk/>
      </pc:docMkLst>
      <pc:sldChg chg="addSp delSp modSp mod">
        <pc:chgData name="Michael Penney" userId="4f9b80c6-1a49-4d2e-92c5-79759f092c89" providerId="ADAL" clId="{6C45711C-969E-1644-99D4-4CEB0381AC35}" dt="2025-02-24T00:30:53.614" v="285" actId="20577"/>
        <pc:sldMkLst>
          <pc:docMk/>
          <pc:sldMk cId="4018175131" sldId="461"/>
        </pc:sldMkLst>
        <pc:spChg chg="del">
          <ac:chgData name="Michael Penney" userId="4f9b80c6-1a49-4d2e-92c5-79759f092c89" providerId="ADAL" clId="{6C45711C-969E-1644-99D4-4CEB0381AC35}" dt="2025-02-23T03:33:09.651" v="255" actId="478"/>
          <ac:spMkLst>
            <pc:docMk/>
            <pc:sldMk cId="4018175131" sldId="461"/>
            <ac:spMk id="2" creationId="{165AC82A-FC4A-37A0-1C34-49CD0BD861DB}"/>
          </ac:spMkLst>
        </pc:spChg>
        <pc:spChg chg="add del mod">
          <ac:chgData name="Michael Penney" userId="4f9b80c6-1a49-4d2e-92c5-79759f092c89" providerId="ADAL" clId="{6C45711C-969E-1644-99D4-4CEB0381AC35}" dt="2025-02-23T03:31:50.934" v="248" actId="478"/>
          <ac:spMkLst>
            <pc:docMk/>
            <pc:sldMk cId="4018175131" sldId="461"/>
            <ac:spMk id="8" creationId="{18F2F963-A832-5F6C-788D-57F30C508743}"/>
          </ac:spMkLst>
        </pc:spChg>
        <pc:spChg chg="mod">
          <ac:chgData name="Michael Penney" userId="4f9b80c6-1a49-4d2e-92c5-79759f092c89" providerId="ADAL" clId="{6C45711C-969E-1644-99D4-4CEB0381AC35}" dt="2025-02-22T02:59:48.395" v="200" actId="2711"/>
          <ac:spMkLst>
            <pc:docMk/>
            <pc:sldMk cId="4018175131" sldId="461"/>
            <ac:spMk id="10" creationId="{F1DBDD8D-2235-935D-1DEC-0244FBE47705}"/>
          </ac:spMkLst>
        </pc:spChg>
        <pc:spChg chg="mod">
          <ac:chgData name="Michael Penney" userId="4f9b80c6-1a49-4d2e-92c5-79759f092c89" providerId="ADAL" clId="{6C45711C-969E-1644-99D4-4CEB0381AC35}" dt="2025-02-23T03:35:51.183" v="281" actId="20577"/>
          <ac:spMkLst>
            <pc:docMk/>
            <pc:sldMk cId="4018175131" sldId="461"/>
            <ac:spMk id="18" creationId="{209C4384-4DE1-442C-F5B3-E8AD416729D6}"/>
          </ac:spMkLst>
        </pc:spChg>
        <pc:spChg chg="mod">
          <ac:chgData name="Michael Penney" userId="4f9b80c6-1a49-4d2e-92c5-79759f092c89" providerId="ADAL" clId="{6C45711C-969E-1644-99D4-4CEB0381AC35}" dt="2025-02-22T01:49:38.641" v="151" actId="20577"/>
          <ac:spMkLst>
            <pc:docMk/>
            <pc:sldMk cId="4018175131" sldId="461"/>
            <ac:spMk id="22" creationId="{71EC417B-81A8-553E-9452-0BB9010D8C5F}"/>
          </ac:spMkLst>
        </pc:spChg>
        <pc:spChg chg="mod">
          <ac:chgData name="Michael Penney" userId="4f9b80c6-1a49-4d2e-92c5-79759f092c89" providerId="ADAL" clId="{6C45711C-969E-1644-99D4-4CEB0381AC35}" dt="2025-02-23T03:35:33.568" v="273" actId="20577"/>
          <ac:spMkLst>
            <pc:docMk/>
            <pc:sldMk cId="4018175131" sldId="461"/>
            <ac:spMk id="26" creationId="{5F4985F3-A7FA-E15E-059F-23B645DFD295}"/>
          </ac:spMkLst>
        </pc:spChg>
        <pc:spChg chg="mod">
          <ac:chgData name="Michael Penney" userId="4f9b80c6-1a49-4d2e-92c5-79759f092c89" providerId="ADAL" clId="{6C45711C-969E-1644-99D4-4CEB0381AC35}" dt="2025-02-24T00:30:53.614" v="285" actId="20577"/>
          <ac:spMkLst>
            <pc:docMk/>
            <pc:sldMk cId="4018175131" sldId="461"/>
            <ac:spMk id="28" creationId="{B359C512-A33B-534A-B638-EBC7178FB608}"/>
          </ac:spMkLst>
        </pc:spChg>
        <pc:graphicFrameChg chg="add mod">
          <ac:chgData name="Michael Penney" userId="4f9b80c6-1a49-4d2e-92c5-79759f092c89" providerId="ADAL" clId="{6C45711C-969E-1644-99D4-4CEB0381AC35}" dt="2025-02-23T03:34:56.306" v="263" actId="14100"/>
          <ac:graphicFrameMkLst>
            <pc:docMk/>
            <pc:sldMk cId="4018175131" sldId="461"/>
            <ac:graphicFrameMk id="3" creationId="{E24571A6-AB7E-3E90-2AC3-AD6CABFC28FA}"/>
          </ac:graphicFrameMkLst>
        </pc:graphicFrameChg>
        <pc:graphicFrameChg chg="del mod topLvl modGraphic">
          <ac:chgData name="Michael Penney" userId="4f9b80c6-1a49-4d2e-92c5-79759f092c89" providerId="ADAL" clId="{6C45711C-969E-1644-99D4-4CEB0381AC35}" dt="2025-02-23T03:31:47.124" v="247" actId="478"/>
          <ac:graphicFrameMkLst>
            <pc:docMk/>
            <pc:sldMk cId="4018175131" sldId="461"/>
            <ac:graphicFrameMk id="42" creationId="{B330C2AD-08D5-48D0-AD51-38958AB4C27F}"/>
          </ac:graphicFrameMkLst>
        </pc:graphicFrameChg>
      </pc:sldChg>
      <pc:sldChg chg="addSp delSp modSp mod">
        <pc:chgData name="Michael Penney" userId="4f9b80c6-1a49-4d2e-92c5-79759f092c89" providerId="ADAL" clId="{6C45711C-969E-1644-99D4-4CEB0381AC35}" dt="2025-02-23T00:36:04.470" v="211" actId="1076"/>
        <pc:sldMkLst>
          <pc:docMk/>
          <pc:sldMk cId="1573245639" sldId="465"/>
        </pc:sldMkLst>
        <pc:spChg chg="mod">
          <ac:chgData name="Michael Penney" userId="4f9b80c6-1a49-4d2e-92c5-79759f092c89" providerId="ADAL" clId="{6C45711C-969E-1644-99D4-4CEB0381AC35}" dt="2025-02-23T00:36:04.470" v="211" actId="1076"/>
          <ac:spMkLst>
            <pc:docMk/>
            <pc:sldMk cId="1573245639" sldId="465"/>
            <ac:spMk id="4" creationId="{D6C08917-25E7-E49F-8424-188C8D00FF4E}"/>
          </ac:spMkLst>
        </pc:spChg>
        <pc:spChg chg="mod">
          <ac:chgData name="Michael Penney" userId="4f9b80c6-1a49-4d2e-92c5-79759f092c89" providerId="ADAL" clId="{6C45711C-969E-1644-99D4-4CEB0381AC35}" dt="2025-02-22T01:24:21.277" v="32" actId="20577"/>
          <ac:spMkLst>
            <pc:docMk/>
            <pc:sldMk cId="1573245639" sldId="465"/>
            <ac:spMk id="10" creationId="{9F299A72-9145-9086-3CDC-32194BA9DC5D}"/>
          </ac:spMkLst>
        </pc:spChg>
        <pc:spChg chg="mod">
          <ac:chgData name="Michael Penney" userId="4f9b80c6-1a49-4d2e-92c5-79759f092c89" providerId="ADAL" clId="{6C45711C-969E-1644-99D4-4CEB0381AC35}" dt="2025-02-22T03:05:57.711" v="204" actId="2711"/>
          <ac:spMkLst>
            <pc:docMk/>
            <pc:sldMk cId="1573245639" sldId="465"/>
            <ac:spMk id="11" creationId="{3290327A-1096-73F0-F2A7-1E9E7EA10DC8}"/>
          </ac:spMkLst>
        </pc:spChg>
        <pc:spChg chg="del">
          <ac:chgData name="Michael Penney" userId="4f9b80c6-1a49-4d2e-92c5-79759f092c89" providerId="ADAL" clId="{6C45711C-969E-1644-99D4-4CEB0381AC35}" dt="2025-02-23T00:35:19.878" v="207" actId="478"/>
          <ac:spMkLst>
            <pc:docMk/>
            <pc:sldMk cId="1573245639" sldId="465"/>
            <ac:spMk id="18" creationId="{8967E3D9-0DD0-5FC3-AAD3-E514320F0225}"/>
          </ac:spMkLst>
        </pc:spChg>
        <pc:graphicFrameChg chg="add mod">
          <ac:chgData name="Michael Penney" userId="4f9b80c6-1a49-4d2e-92c5-79759f092c89" providerId="ADAL" clId="{6C45711C-969E-1644-99D4-4CEB0381AC35}" dt="2025-02-23T00:33:56.773" v="206"/>
          <ac:graphicFrameMkLst>
            <pc:docMk/>
            <pc:sldMk cId="1573245639" sldId="465"/>
            <ac:graphicFrameMk id="2" creationId="{406DE363-2CF0-3748-B18C-445A85DC0563}"/>
          </ac:graphicFrameMkLst>
        </pc:graphicFrameChg>
        <pc:cxnChg chg="add mod">
          <ac:chgData name="Michael Penney" userId="4f9b80c6-1a49-4d2e-92c5-79759f092c89" providerId="ADAL" clId="{6C45711C-969E-1644-99D4-4CEB0381AC35}" dt="2025-02-23T00:35:52.421" v="209" actId="14100"/>
          <ac:cxnSpMkLst>
            <pc:docMk/>
            <pc:sldMk cId="1573245639" sldId="465"/>
            <ac:cxnSpMk id="6" creationId="{0EB73A0C-D44C-A810-871B-1D80728D08AE}"/>
          </ac:cxnSpMkLst>
        </pc:cxnChg>
      </pc:sldChg>
      <pc:sldChg chg="modSp mod">
        <pc:chgData name="Michael Penney" userId="4f9b80c6-1a49-4d2e-92c5-79759f092c89" providerId="ADAL" clId="{6C45711C-969E-1644-99D4-4CEB0381AC35}" dt="2025-02-24T00:43:16.274" v="289" actId="20577"/>
        <pc:sldMkLst>
          <pc:docMk/>
          <pc:sldMk cId="107402232" sldId="494"/>
        </pc:sldMkLst>
        <pc:spChg chg="mod">
          <ac:chgData name="Michael Penney" userId="4f9b80c6-1a49-4d2e-92c5-79759f092c89" providerId="ADAL" clId="{6C45711C-969E-1644-99D4-4CEB0381AC35}" dt="2025-02-24T00:43:16.274" v="289" actId="20577"/>
          <ac:spMkLst>
            <pc:docMk/>
            <pc:sldMk cId="107402232" sldId="494"/>
            <ac:spMk id="18" creationId="{73B5B9B4-C7C4-C29A-3988-0FFC3387608C}"/>
          </ac:spMkLst>
        </pc:spChg>
      </pc:sldChg>
    </pc:docChg>
  </pc:docChgLst>
  <pc:docChgLst>
    <pc:chgData name="Armaan Kumar" userId="a351e95c-5450-4e5f-a2d5-0f74c8f92915" providerId="ADAL" clId="{73E285BA-F6B4-4373-8556-D81DEB87AB43}"/>
    <pc:docChg chg="undo custSel modSld sldOrd">
      <pc:chgData name="Armaan Kumar" userId="a351e95c-5450-4e5f-a2d5-0f74c8f92915" providerId="ADAL" clId="{73E285BA-F6B4-4373-8556-D81DEB87AB43}" dt="2025-02-24T01:03:01.872" v="1532" actId="1076"/>
      <pc:docMkLst>
        <pc:docMk/>
      </pc:docMkLst>
      <pc:sldChg chg="modSp mod">
        <pc:chgData name="Armaan Kumar" userId="a351e95c-5450-4e5f-a2d5-0f74c8f92915" providerId="ADAL" clId="{73E285BA-F6B4-4373-8556-D81DEB87AB43}" dt="2025-02-23T17:08:12.775" v="1513" actId="208"/>
        <pc:sldMkLst>
          <pc:docMk/>
          <pc:sldMk cId="131303031" sldId="343"/>
        </pc:sldMkLst>
        <pc:cxnChg chg="mod">
          <ac:chgData name="Armaan Kumar" userId="a351e95c-5450-4e5f-a2d5-0f74c8f92915" providerId="ADAL" clId="{73E285BA-F6B4-4373-8556-D81DEB87AB43}" dt="2025-02-23T17:08:12.775" v="1513" actId="208"/>
          <ac:cxnSpMkLst>
            <pc:docMk/>
            <pc:sldMk cId="131303031" sldId="343"/>
            <ac:cxnSpMk id="41" creationId="{393F514D-DA65-D421-4EB6-62655A13524F}"/>
          </ac:cxnSpMkLst>
        </pc:cxnChg>
        <pc:cxnChg chg="mod">
          <ac:chgData name="Armaan Kumar" userId="a351e95c-5450-4e5f-a2d5-0f74c8f92915" providerId="ADAL" clId="{73E285BA-F6B4-4373-8556-D81DEB87AB43}" dt="2025-02-23T17:07:52.666" v="1512" actId="208"/>
          <ac:cxnSpMkLst>
            <pc:docMk/>
            <pc:sldMk cId="131303031" sldId="343"/>
            <ac:cxnSpMk id="46" creationId="{4B341882-DADF-E697-C232-6AC85CA4192F}"/>
          </ac:cxnSpMkLst>
        </pc:cxnChg>
      </pc:sldChg>
      <pc:sldChg chg="modSp mod">
        <pc:chgData name="Armaan Kumar" userId="a351e95c-5450-4e5f-a2d5-0f74c8f92915" providerId="ADAL" clId="{73E285BA-F6B4-4373-8556-D81DEB87AB43}" dt="2025-02-23T17:22:08.256" v="1525" actId="27918"/>
        <pc:sldMkLst>
          <pc:docMk/>
          <pc:sldMk cId="4052889244" sldId="411"/>
        </pc:sldMkLst>
        <pc:graphicFrameChg chg="mod">
          <ac:chgData name="Armaan Kumar" userId="a351e95c-5450-4e5f-a2d5-0f74c8f92915" providerId="ADAL" clId="{73E285BA-F6B4-4373-8556-D81DEB87AB43}" dt="2025-02-23T17:17:16.305" v="1523"/>
          <ac:graphicFrameMkLst>
            <pc:docMk/>
            <pc:sldMk cId="4052889244" sldId="411"/>
            <ac:graphicFrameMk id="6" creationId="{B2BABB7D-B004-6E4D-A8DF-909AFB9E0A09}"/>
          </ac:graphicFrameMkLst>
        </pc:graphicFrameChg>
      </pc:sldChg>
      <pc:sldChg chg="modSp mod">
        <pc:chgData name="Armaan Kumar" userId="a351e95c-5450-4e5f-a2d5-0f74c8f92915" providerId="ADAL" clId="{73E285BA-F6B4-4373-8556-D81DEB87AB43}" dt="2025-02-22T06:17:51.142" v="699" actId="20577"/>
        <pc:sldMkLst>
          <pc:docMk/>
          <pc:sldMk cId="780259659" sldId="413"/>
        </pc:sldMkLst>
      </pc:sldChg>
      <pc:sldChg chg="modSp mod">
        <pc:chgData name="Armaan Kumar" userId="a351e95c-5450-4e5f-a2d5-0f74c8f92915" providerId="ADAL" clId="{73E285BA-F6B4-4373-8556-D81DEB87AB43}" dt="2025-02-22T06:24:29.381" v="1164" actId="207"/>
        <pc:sldMkLst>
          <pc:docMk/>
          <pc:sldMk cId="4018175131" sldId="461"/>
        </pc:sldMkLst>
        <pc:spChg chg="mod">
          <ac:chgData name="Armaan Kumar" userId="a351e95c-5450-4e5f-a2d5-0f74c8f92915" providerId="ADAL" clId="{73E285BA-F6B4-4373-8556-D81DEB87AB43}" dt="2025-02-21T20:43:48.118" v="145" actId="207"/>
          <ac:spMkLst>
            <pc:docMk/>
            <pc:sldMk cId="4018175131" sldId="461"/>
            <ac:spMk id="18" creationId="{209C4384-4DE1-442C-F5B3-E8AD416729D6}"/>
          </ac:spMkLst>
        </pc:spChg>
        <pc:spChg chg="mod">
          <ac:chgData name="Armaan Kumar" userId="a351e95c-5450-4e5f-a2d5-0f74c8f92915" providerId="ADAL" clId="{73E285BA-F6B4-4373-8556-D81DEB87AB43}" dt="2025-02-22T06:24:29.381" v="1164" actId="207"/>
          <ac:spMkLst>
            <pc:docMk/>
            <pc:sldMk cId="4018175131" sldId="461"/>
            <ac:spMk id="33" creationId="{B39DA3E8-3069-8AD3-2B7B-BD60D9E63C82}"/>
          </ac:spMkLst>
        </pc:spChg>
      </pc:sldChg>
      <pc:sldChg chg="addSp delSp modSp mod">
        <pc:chgData name="Armaan Kumar" userId="a351e95c-5450-4e5f-a2d5-0f74c8f92915" providerId="ADAL" clId="{73E285BA-F6B4-4373-8556-D81DEB87AB43}" dt="2025-02-21T20:39:53.950" v="134" actId="478"/>
        <pc:sldMkLst>
          <pc:docMk/>
          <pc:sldMk cId="3458094001" sldId="462"/>
        </pc:sldMkLst>
        <pc:spChg chg="mod">
          <ac:chgData name="Armaan Kumar" userId="a351e95c-5450-4e5f-a2d5-0f74c8f92915" providerId="ADAL" clId="{73E285BA-F6B4-4373-8556-D81DEB87AB43}" dt="2025-02-21T20:38:57.412" v="114" actId="403"/>
          <ac:spMkLst>
            <pc:docMk/>
            <pc:sldMk cId="3458094001" sldId="462"/>
            <ac:spMk id="20" creationId="{C7BDA901-01F9-F8A6-389A-BEDD954879AC}"/>
          </ac:spMkLst>
        </pc:spChg>
        <pc:spChg chg="add mod">
          <ac:chgData name="Armaan Kumar" userId="a351e95c-5450-4e5f-a2d5-0f74c8f92915" providerId="ADAL" clId="{73E285BA-F6B4-4373-8556-D81DEB87AB43}" dt="2025-02-21T20:39:49.015" v="132" actId="1076"/>
          <ac:spMkLst>
            <pc:docMk/>
            <pc:sldMk cId="3458094001" sldId="462"/>
            <ac:spMk id="24" creationId="{172B5697-ACE9-A24D-398D-368B079E7211}"/>
          </ac:spMkLst>
        </pc:spChg>
        <pc:graphicFrameChg chg="mod">
          <ac:chgData name="Armaan Kumar" userId="a351e95c-5450-4e5f-a2d5-0f74c8f92915" providerId="ADAL" clId="{73E285BA-F6B4-4373-8556-D81DEB87AB43}" dt="2025-02-21T20:39:03.152" v="115"/>
          <ac:graphicFrameMkLst>
            <pc:docMk/>
            <pc:sldMk cId="3458094001" sldId="462"/>
            <ac:graphicFrameMk id="23" creationId="{E2278C71-FD41-16FA-315A-57C8D83942E3}"/>
          </ac:graphicFrameMkLst>
        </pc:graphicFrameChg>
      </pc:sldChg>
      <pc:sldChg chg="modSp mod">
        <pc:chgData name="Armaan Kumar" userId="a351e95c-5450-4e5f-a2d5-0f74c8f92915" providerId="ADAL" clId="{73E285BA-F6B4-4373-8556-D81DEB87AB43}" dt="2025-02-22T06:25:17.714" v="1168" actId="207"/>
        <pc:sldMkLst>
          <pc:docMk/>
          <pc:sldMk cId="1573245639" sldId="465"/>
        </pc:sldMkLst>
        <pc:spChg chg="mod">
          <ac:chgData name="Armaan Kumar" userId="a351e95c-5450-4e5f-a2d5-0f74c8f92915" providerId="ADAL" clId="{73E285BA-F6B4-4373-8556-D81DEB87AB43}" dt="2025-02-22T06:25:07.444" v="1167" actId="207"/>
          <ac:spMkLst>
            <pc:docMk/>
            <pc:sldMk cId="1573245639" sldId="465"/>
            <ac:spMk id="4" creationId="{D6C08917-25E7-E49F-8424-188C8D00FF4E}"/>
          </ac:spMkLst>
        </pc:spChg>
        <pc:spChg chg="mod">
          <ac:chgData name="Armaan Kumar" userId="a351e95c-5450-4e5f-a2d5-0f74c8f92915" providerId="ADAL" clId="{73E285BA-F6B4-4373-8556-D81DEB87AB43}" dt="2025-02-22T06:25:17.714" v="1168" actId="207"/>
          <ac:spMkLst>
            <pc:docMk/>
            <pc:sldMk cId="1573245639" sldId="465"/>
            <ac:spMk id="20" creationId="{D3B9A70F-AB96-9C3E-8C85-A600FCBB6A6C}"/>
          </ac:spMkLst>
        </pc:spChg>
        <pc:graphicFrameChg chg="mod">
          <ac:chgData name="Armaan Kumar" userId="a351e95c-5450-4e5f-a2d5-0f74c8f92915" providerId="ADAL" clId="{73E285BA-F6B4-4373-8556-D81DEB87AB43}" dt="2025-02-22T06:25:01.326" v="1165" actId="167"/>
          <ac:graphicFrameMkLst>
            <pc:docMk/>
            <pc:sldMk cId="1573245639" sldId="465"/>
            <ac:graphicFrameMk id="2" creationId="{406DE363-2CF0-3748-B18C-445A85DC0563}"/>
          </ac:graphicFrameMkLst>
        </pc:graphicFrameChg>
      </pc:sldChg>
      <pc:sldChg chg="delSp modSp mod modCm">
        <pc:chgData name="Armaan Kumar" userId="a351e95c-5450-4e5f-a2d5-0f74c8f92915" providerId="ADAL" clId="{73E285BA-F6B4-4373-8556-D81DEB87AB43}" dt="2025-02-24T01:03:01.872" v="1532" actId="1076"/>
        <pc:sldMkLst>
          <pc:docMk/>
          <pc:sldMk cId="2904048250" sldId="480"/>
        </pc:sldMkLst>
        <pc:spChg chg="mod">
          <ac:chgData name="Armaan Kumar" userId="a351e95c-5450-4e5f-a2d5-0f74c8f92915" providerId="ADAL" clId="{73E285BA-F6B4-4373-8556-D81DEB87AB43}" dt="2025-02-21T20:42:00.943" v="141"/>
          <ac:spMkLst>
            <pc:docMk/>
            <pc:sldMk cId="2904048250" sldId="480"/>
            <ac:spMk id="2" creationId="{36BA24EC-0E0E-550A-4821-C0C3030FCACE}"/>
          </ac:spMkLst>
        </pc:spChg>
        <pc:spChg chg="mod">
          <ac:chgData name="Armaan Kumar" userId="a351e95c-5450-4e5f-a2d5-0f74c8f92915" providerId="ADAL" clId="{73E285BA-F6B4-4373-8556-D81DEB87AB43}" dt="2025-02-22T06:23:51.134" v="1163" actId="113"/>
          <ac:spMkLst>
            <pc:docMk/>
            <pc:sldMk cId="2904048250" sldId="480"/>
            <ac:spMk id="6" creationId="{6D621F5C-0A0B-AD13-B1A9-021DF7A92231}"/>
          </ac:spMkLst>
        </pc:spChg>
        <pc:spChg chg="mod">
          <ac:chgData name="Armaan Kumar" userId="a351e95c-5450-4e5f-a2d5-0f74c8f92915" providerId="ADAL" clId="{73E285BA-F6B4-4373-8556-D81DEB87AB43}" dt="2025-02-23T17:09:16.161" v="1521" actId="20577"/>
          <ac:spMkLst>
            <pc:docMk/>
            <pc:sldMk cId="2904048250" sldId="480"/>
            <ac:spMk id="11" creationId="{4D569EBF-B844-5AA4-4B76-1E2E87BEF403}"/>
          </ac:spMkLst>
        </pc:spChg>
        <pc:graphicFrameChg chg="mod">
          <ac:chgData name="Armaan Kumar" userId="a351e95c-5450-4e5f-a2d5-0f74c8f92915" providerId="ADAL" clId="{73E285BA-F6B4-4373-8556-D81DEB87AB43}" dt="2025-02-20T21:52:18.599" v="9" actId="1076"/>
          <ac:graphicFrameMkLst>
            <pc:docMk/>
            <pc:sldMk cId="2904048250" sldId="480"/>
            <ac:graphicFrameMk id="15" creationId="{F162E662-FA96-69E7-A739-A11781C97B4A}"/>
          </ac:graphicFrameMkLst>
        </pc:graphicFrameChg>
        <pc:graphicFrameChg chg="mod">
          <ac:chgData name="Armaan Kumar" userId="a351e95c-5450-4e5f-a2d5-0f74c8f92915" providerId="ADAL" clId="{73E285BA-F6B4-4373-8556-D81DEB87AB43}" dt="2025-02-24T01:03:01.872" v="1532" actId="1076"/>
          <ac:graphicFrameMkLst>
            <pc:docMk/>
            <pc:sldMk cId="2904048250" sldId="480"/>
            <ac:graphicFrameMk id="16" creationId="{5D8CC849-7E34-A72D-7C08-207F22B9DE75}"/>
          </ac:graphicFrameMkLst>
        </pc:graphicFrameChg>
        <pc:cxnChg chg="mod">
          <ac:chgData name="Armaan Kumar" userId="a351e95c-5450-4e5f-a2d5-0f74c8f92915" providerId="ADAL" clId="{73E285BA-F6B4-4373-8556-D81DEB87AB43}" dt="2025-02-23T14:27:16.764" v="1198" actId="692"/>
          <ac:cxnSpMkLst>
            <pc:docMk/>
            <pc:sldMk cId="2904048250" sldId="480"/>
            <ac:cxnSpMk id="18" creationId="{6541C9CF-89B5-03CC-2486-CC6E92813550}"/>
          </ac:cxnSpMkLst>
        </pc:cxnChg>
      </pc:sldChg>
      <pc:sldChg chg="delSp modSp mod">
        <pc:chgData name="Armaan Kumar" userId="a351e95c-5450-4e5f-a2d5-0f74c8f92915" providerId="ADAL" clId="{73E285BA-F6B4-4373-8556-D81DEB87AB43}" dt="2025-02-24T00:39:03.660" v="1530" actId="207"/>
        <pc:sldMkLst>
          <pc:docMk/>
          <pc:sldMk cId="579433030" sldId="481"/>
        </pc:sldMkLst>
        <pc:graphicFrameChg chg="mod">
          <ac:chgData name="Armaan Kumar" userId="a351e95c-5450-4e5f-a2d5-0f74c8f92915" providerId="ADAL" clId="{73E285BA-F6B4-4373-8556-D81DEB87AB43}" dt="2025-02-24T00:39:03.660" v="1530" actId="207"/>
          <ac:graphicFrameMkLst>
            <pc:docMk/>
            <pc:sldMk cId="579433030" sldId="481"/>
            <ac:graphicFrameMk id="18" creationId="{4630AE13-97CE-60EC-531D-5BA651B18853}"/>
          </ac:graphicFrameMkLst>
        </pc:graphicFrameChg>
        <pc:graphicFrameChg chg="mod">
          <ac:chgData name="Armaan Kumar" userId="a351e95c-5450-4e5f-a2d5-0f74c8f92915" providerId="ADAL" clId="{73E285BA-F6B4-4373-8556-D81DEB87AB43}" dt="2025-02-24T00:38:53.945" v="1529" actId="207"/>
          <ac:graphicFrameMkLst>
            <pc:docMk/>
            <pc:sldMk cId="579433030" sldId="481"/>
            <ac:graphicFrameMk id="24" creationId="{15EE75C4-5218-AED9-183A-B367A54E99BF}"/>
          </ac:graphicFrameMkLst>
        </pc:graphicFrameChg>
      </pc:sldChg>
      <pc:sldChg chg="delSp modSp mod">
        <pc:chgData name="Armaan Kumar" userId="a351e95c-5450-4e5f-a2d5-0f74c8f92915" providerId="ADAL" clId="{73E285BA-F6B4-4373-8556-D81DEB87AB43}" dt="2025-02-22T06:14:39.489" v="619" actId="478"/>
        <pc:sldMkLst>
          <pc:docMk/>
          <pc:sldMk cId="2215148334" sldId="485"/>
        </pc:sldMkLst>
        <pc:spChg chg="mod">
          <ac:chgData name="Armaan Kumar" userId="a351e95c-5450-4e5f-a2d5-0f74c8f92915" providerId="ADAL" clId="{73E285BA-F6B4-4373-8556-D81DEB87AB43}" dt="2025-02-21T20:42:05.899" v="142"/>
          <ac:spMkLst>
            <pc:docMk/>
            <pc:sldMk cId="2215148334" sldId="485"/>
            <ac:spMk id="2" creationId="{F2601001-C36B-2857-9FF7-3ECD702A7AFA}"/>
          </ac:spMkLst>
        </pc:spChg>
        <pc:graphicFrameChg chg="mod">
          <ac:chgData name="Armaan Kumar" userId="a351e95c-5450-4e5f-a2d5-0f74c8f92915" providerId="ADAL" clId="{73E285BA-F6B4-4373-8556-D81DEB87AB43}" dt="2025-02-20T22:17:43.334" v="31" actId="255"/>
          <ac:graphicFrameMkLst>
            <pc:docMk/>
            <pc:sldMk cId="2215148334" sldId="485"/>
            <ac:graphicFrameMk id="22" creationId="{8113E9E7-2CCE-EF16-45AA-CC7F5C7A30B9}"/>
          </ac:graphicFrameMkLst>
        </pc:graphicFrameChg>
        <pc:graphicFrameChg chg="mod">
          <ac:chgData name="Armaan Kumar" userId="a351e95c-5450-4e5f-a2d5-0f74c8f92915" providerId="ADAL" clId="{73E285BA-F6B4-4373-8556-D81DEB87AB43}" dt="2025-02-22T06:14:08.160" v="618" actId="255"/>
          <ac:graphicFrameMkLst>
            <pc:docMk/>
            <pc:sldMk cId="2215148334" sldId="485"/>
            <ac:graphicFrameMk id="27" creationId="{2B6AC870-0568-D60C-947F-3410F36F5C70}"/>
          </ac:graphicFrameMkLst>
        </pc:graphicFrameChg>
      </pc:sldChg>
      <pc:sldChg chg="delSp modSp mod ord">
        <pc:chgData name="Armaan Kumar" userId="a351e95c-5450-4e5f-a2d5-0f74c8f92915" providerId="ADAL" clId="{73E285BA-F6B4-4373-8556-D81DEB87AB43}" dt="2025-02-24T01:01:54.746" v="1531" actId="20577"/>
        <pc:sldMkLst>
          <pc:docMk/>
          <pc:sldMk cId="364820169" sldId="487"/>
        </pc:sldMkLst>
        <pc:spChg chg="mod">
          <ac:chgData name="Armaan Kumar" userId="a351e95c-5450-4e5f-a2d5-0f74c8f92915" providerId="ADAL" clId="{73E285BA-F6B4-4373-8556-D81DEB87AB43}" dt="2025-02-21T20:26:26.836" v="63"/>
          <ac:spMkLst>
            <pc:docMk/>
            <pc:sldMk cId="364820169" sldId="487"/>
            <ac:spMk id="2" creationId="{155DE85C-0B1E-2E76-175A-18360939996A}"/>
          </ac:spMkLst>
        </pc:spChg>
        <pc:spChg chg="mod">
          <ac:chgData name="Armaan Kumar" userId="a351e95c-5450-4e5f-a2d5-0f74c8f92915" providerId="ADAL" clId="{73E285BA-F6B4-4373-8556-D81DEB87AB43}" dt="2025-02-24T01:01:54.746" v="1531" actId="20577"/>
          <ac:spMkLst>
            <pc:docMk/>
            <pc:sldMk cId="364820169" sldId="487"/>
            <ac:spMk id="3" creationId="{64057AAE-B0BC-25B3-FB63-AE1EED7607BB}"/>
          </ac:spMkLst>
        </pc:spChg>
        <pc:spChg chg="mod">
          <ac:chgData name="Armaan Kumar" userId="a351e95c-5450-4e5f-a2d5-0f74c8f92915" providerId="ADAL" clId="{73E285BA-F6B4-4373-8556-D81DEB87AB43}" dt="2025-02-22T06:29:58.686" v="1184" actId="20577"/>
          <ac:spMkLst>
            <pc:docMk/>
            <pc:sldMk cId="364820169" sldId="487"/>
            <ac:spMk id="6" creationId="{6D4C11B6-3EE5-67E8-45C8-3D0D28D18B8E}"/>
          </ac:spMkLst>
        </pc:spChg>
        <pc:spChg chg="mod">
          <ac:chgData name="Armaan Kumar" userId="a351e95c-5450-4e5f-a2d5-0f74c8f92915" providerId="ADAL" clId="{73E285BA-F6B4-4373-8556-D81DEB87AB43}" dt="2025-02-23T14:38:07.144" v="1511" actId="313"/>
          <ac:spMkLst>
            <pc:docMk/>
            <pc:sldMk cId="364820169" sldId="487"/>
            <ac:spMk id="10" creationId="{CF617D86-7DCF-CB97-03BF-BD9DD218F65C}"/>
          </ac:spMkLst>
        </pc:spChg>
        <pc:graphicFrameChg chg="mod">
          <ac:chgData name="Armaan Kumar" userId="a351e95c-5450-4e5f-a2d5-0f74c8f92915" providerId="ADAL" clId="{73E285BA-F6B4-4373-8556-D81DEB87AB43}" dt="2025-02-22T13:41:43.009" v="1191" actId="1076"/>
          <ac:graphicFrameMkLst>
            <pc:docMk/>
            <pc:sldMk cId="364820169" sldId="487"/>
            <ac:graphicFrameMk id="14" creationId="{CEFA03DE-4A17-6A0F-38EE-4CDEC42DC3D7}"/>
          </ac:graphicFrameMkLst>
        </pc:graphicFrameChg>
        <pc:graphicFrameChg chg="mod">
          <ac:chgData name="Armaan Kumar" userId="a351e95c-5450-4e5f-a2d5-0f74c8f92915" providerId="ADAL" clId="{73E285BA-F6B4-4373-8556-D81DEB87AB43}" dt="2025-02-22T13:41:37.744" v="1190" actId="1076"/>
          <ac:graphicFrameMkLst>
            <pc:docMk/>
            <pc:sldMk cId="364820169" sldId="487"/>
            <ac:graphicFrameMk id="20" creationId="{82FEB5FD-7296-7084-B8D1-AB70850C8A07}"/>
          </ac:graphicFrameMkLst>
        </pc:graphicFrameChg>
      </pc:sldChg>
      <pc:sldChg chg="modSp mod">
        <pc:chgData name="Armaan Kumar" userId="a351e95c-5450-4e5f-a2d5-0f74c8f92915" providerId="ADAL" clId="{73E285BA-F6B4-4373-8556-D81DEB87AB43}" dt="2025-02-22T06:16:03.063" v="621" actId="20577"/>
        <pc:sldMkLst>
          <pc:docMk/>
          <pc:sldMk cId="107402232" sldId="494"/>
        </pc:sldMkLst>
        <pc:spChg chg="mod">
          <ac:chgData name="Armaan Kumar" userId="a351e95c-5450-4e5f-a2d5-0f74c8f92915" providerId="ADAL" clId="{73E285BA-F6B4-4373-8556-D81DEB87AB43}" dt="2025-02-22T06:16:03.063" v="621" actId="20577"/>
          <ac:spMkLst>
            <pc:docMk/>
            <pc:sldMk cId="107402232" sldId="494"/>
            <ac:spMk id="10" creationId="{C697B348-D2DD-3402-332A-10D3DC7CF897}"/>
          </ac:spMkLst>
        </pc:spChg>
      </pc:sldChg>
    </pc:docChg>
  </pc:docChgLst>
  <pc:docChgLst>
    <pc:chgData name="Aidan Penney" userId="c2e901a8-6863-4e7f-9df4-9419fae65668" providerId="ADAL" clId="{B25B844D-A5A0-BD44-AAA6-57F1C021F5CC}"/>
    <pc:docChg chg="custSel modSld">
      <pc:chgData name="Aidan Penney" userId="c2e901a8-6863-4e7f-9df4-9419fae65668" providerId="ADAL" clId="{B25B844D-A5A0-BD44-AAA6-57F1C021F5CC}" dt="2025-02-22T23:21:31.071" v="0" actId="478"/>
      <pc:docMkLst>
        <pc:docMk/>
      </pc:docMkLst>
      <pc:sldChg chg="delSp mod">
        <pc:chgData name="Aidan Penney" userId="c2e901a8-6863-4e7f-9df4-9419fae65668" providerId="ADAL" clId="{B25B844D-A5A0-BD44-AAA6-57F1C021F5CC}" dt="2025-02-22T23:21:31.071" v="0" actId="478"/>
        <pc:sldMkLst>
          <pc:docMk/>
          <pc:sldMk cId="4052889244" sldId="411"/>
        </pc:sldMkLst>
        <pc:spChg chg="del">
          <ac:chgData name="Aidan Penney" userId="c2e901a8-6863-4e7f-9df4-9419fae65668" providerId="ADAL" clId="{B25B844D-A5A0-BD44-AAA6-57F1C021F5CC}" dt="2025-02-22T23:21:31.071" v="0" actId="478"/>
          <ac:spMkLst>
            <pc:docMk/>
            <pc:sldMk cId="4052889244" sldId="411"/>
            <ac:spMk id="11" creationId="{492ED1AD-5034-D9A0-216E-066CE41CB167}"/>
          </ac:spMkLst>
        </pc:spChg>
      </pc:sldChg>
    </pc:docChg>
  </pc:docChgLst>
  <pc:docChgLst>
    <pc:chgData name="Carlo Abi-Raad" userId="08fc5628-31e7-49b7-aa1d-2f25a1b05d33" providerId="ADAL" clId="{A46A6E04-8212-C04B-909F-B50D8C93BA18}"/>
    <pc:docChg chg="undo redo custSel addSld delSld modSld sldOrd modSection">
      <pc:chgData name="Carlo Abi-Raad" userId="08fc5628-31e7-49b7-aa1d-2f25a1b05d33" providerId="ADAL" clId="{A46A6E04-8212-C04B-909F-B50D8C93BA18}" dt="2025-02-24T02:54:15.871" v="3353" actId="20577"/>
      <pc:docMkLst>
        <pc:docMk/>
      </pc:docMkLst>
      <pc:sldChg chg="addSp delSp modSp add mod ord">
        <pc:chgData name="Carlo Abi-Raad" userId="08fc5628-31e7-49b7-aa1d-2f25a1b05d33" providerId="ADAL" clId="{A46A6E04-8212-C04B-909F-B50D8C93BA18}" dt="2025-02-22T23:40:02.617" v="2348" actId="14100"/>
        <pc:sldMkLst>
          <pc:docMk/>
          <pc:sldMk cId="2957889177" sldId="410"/>
        </pc:sldMkLst>
        <pc:spChg chg="mod">
          <ac:chgData name="Carlo Abi-Raad" userId="08fc5628-31e7-49b7-aa1d-2f25a1b05d33" providerId="ADAL" clId="{A46A6E04-8212-C04B-909F-B50D8C93BA18}" dt="2025-02-22T22:16:37.037" v="142" actId="20577"/>
          <ac:spMkLst>
            <pc:docMk/>
            <pc:sldMk cId="2957889177" sldId="410"/>
            <ac:spMk id="5" creationId="{435691C5-2D58-B304-6548-5E222AE0DE8A}"/>
          </ac:spMkLst>
        </pc:spChg>
        <pc:spChg chg="mod">
          <ac:chgData name="Carlo Abi-Raad" userId="08fc5628-31e7-49b7-aa1d-2f25a1b05d33" providerId="ADAL" clId="{A46A6E04-8212-C04B-909F-B50D8C93BA18}" dt="2025-02-22T22:56:38.021" v="1713" actId="164"/>
          <ac:spMkLst>
            <pc:docMk/>
            <pc:sldMk cId="2957889177" sldId="410"/>
            <ac:spMk id="8" creationId="{7E4D4B2B-7045-4286-8D8E-C1E4D8A659E2}"/>
          </ac:spMkLst>
        </pc:spChg>
        <pc:spChg chg="mod">
          <ac:chgData name="Carlo Abi-Raad" userId="08fc5628-31e7-49b7-aa1d-2f25a1b05d33" providerId="ADAL" clId="{A46A6E04-8212-C04B-909F-B50D8C93BA18}" dt="2025-02-22T22:59:23.682" v="1733" actId="164"/>
          <ac:spMkLst>
            <pc:docMk/>
            <pc:sldMk cId="2957889177" sldId="410"/>
            <ac:spMk id="11" creationId="{6C76579F-6532-2BAD-30FC-E0E25C701F10}"/>
          </ac:spMkLst>
        </pc:spChg>
        <pc:spChg chg="mod">
          <ac:chgData name="Carlo Abi-Raad" userId="08fc5628-31e7-49b7-aa1d-2f25a1b05d33" providerId="ADAL" clId="{A46A6E04-8212-C04B-909F-B50D8C93BA18}" dt="2025-02-22T23:39:05.183" v="2342" actId="1076"/>
          <ac:spMkLst>
            <pc:docMk/>
            <pc:sldMk cId="2957889177" sldId="410"/>
            <ac:spMk id="18" creationId="{F23A3387-3BB9-3A5E-AD43-5A5A0605D5FB}"/>
          </ac:spMkLst>
        </pc:spChg>
        <pc:spChg chg="mod">
          <ac:chgData name="Carlo Abi-Raad" userId="08fc5628-31e7-49b7-aa1d-2f25a1b05d33" providerId="ADAL" clId="{A46A6E04-8212-C04B-909F-B50D8C93BA18}" dt="2025-02-22T22:56:38.021" v="1713" actId="164"/>
          <ac:spMkLst>
            <pc:docMk/>
            <pc:sldMk cId="2957889177" sldId="410"/>
            <ac:spMk id="22" creationId="{379576BD-D94C-6BC7-1D7D-91D75CBB390C}"/>
          </ac:spMkLst>
        </pc:spChg>
        <pc:spChg chg="mod">
          <ac:chgData name="Carlo Abi-Raad" userId="08fc5628-31e7-49b7-aa1d-2f25a1b05d33" providerId="ADAL" clId="{A46A6E04-8212-C04B-909F-B50D8C93BA18}" dt="2025-02-22T22:16:58.358" v="165" actId="20577"/>
          <ac:spMkLst>
            <pc:docMk/>
            <pc:sldMk cId="2957889177" sldId="410"/>
            <ac:spMk id="23" creationId="{9CF40F3D-1C4C-ECE9-309E-23F020E92389}"/>
          </ac:spMkLst>
        </pc:spChg>
        <pc:spChg chg="mod">
          <ac:chgData name="Carlo Abi-Raad" userId="08fc5628-31e7-49b7-aa1d-2f25a1b05d33" providerId="ADAL" clId="{A46A6E04-8212-C04B-909F-B50D8C93BA18}" dt="2025-02-22T22:56:38.021" v="1713" actId="164"/>
          <ac:spMkLst>
            <pc:docMk/>
            <pc:sldMk cId="2957889177" sldId="410"/>
            <ac:spMk id="25" creationId="{F0B3C853-55DE-8707-535F-2159E626839E}"/>
          </ac:spMkLst>
        </pc:spChg>
        <pc:spChg chg="mod">
          <ac:chgData name="Carlo Abi-Raad" userId="08fc5628-31e7-49b7-aa1d-2f25a1b05d33" providerId="ADAL" clId="{A46A6E04-8212-C04B-909F-B50D8C93BA18}" dt="2025-02-22T23:38:22.272" v="2339" actId="14100"/>
          <ac:spMkLst>
            <pc:docMk/>
            <pc:sldMk cId="2957889177" sldId="410"/>
            <ac:spMk id="27" creationId="{CE1CCAF3-A949-2584-3E8F-BDD3D3074523}"/>
          </ac:spMkLst>
        </pc:spChg>
        <pc:spChg chg="mod">
          <ac:chgData name="Carlo Abi-Raad" userId="08fc5628-31e7-49b7-aa1d-2f25a1b05d33" providerId="ADAL" clId="{A46A6E04-8212-C04B-909F-B50D8C93BA18}" dt="2025-02-22T23:38:27.641" v="2340" actId="14100"/>
          <ac:spMkLst>
            <pc:docMk/>
            <pc:sldMk cId="2957889177" sldId="410"/>
            <ac:spMk id="28" creationId="{F1D694DF-BA74-3ECD-AF2A-E9E0E48AF400}"/>
          </ac:spMkLst>
        </pc:spChg>
        <pc:spChg chg="mod">
          <ac:chgData name="Carlo Abi-Raad" userId="08fc5628-31e7-49b7-aa1d-2f25a1b05d33" providerId="ADAL" clId="{A46A6E04-8212-C04B-909F-B50D8C93BA18}" dt="2025-02-22T22:59:23.682" v="1733" actId="164"/>
          <ac:spMkLst>
            <pc:docMk/>
            <pc:sldMk cId="2957889177" sldId="410"/>
            <ac:spMk id="29" creationId="{40F5307B-FB52-5CF9-BFA2-0BA80CF4E7FD}"/>
          </ac:spMkLst>
        </pc:spChg>
        <pc:spChg chg="mod">
          <ac:chgData name="Carlo Abi-Raad" userId="08fc5628-31e7-49b7-aa1d-2f25a1b05d33" providerId="ADAL" clId="{A46A6E04-8212-C04B-909F-B50D8C93BA18}" dt="2025-02-22T23:39:09.878" v="2343" actId="1076"/>
          <ac:spMkLst>
            <pc:docMk/>
            <pc:sldMk cId="2957889177" sldId="410"/>
            <ac:spMk id="31" creationId="{229AB12C-701E-CD7E-A6E4-A3D5A9DE7789}"/>
          </ac:spMkLst>
        </pc:spChg>
        <pc:spChg chg="mod">
          <ac:chgData name="Carlo Abi-Raad" userId="08fc5628-31e7-49b7-aa1d-2f25a1b05d33" providerId="ADAL" clId="{A46A6E04-8212-C04B-909F-B50D8C93BA18}" dt="2025-02-22T22:59:23.682" v="1733" actId="164"/>
          <ac:spMkLst>
            <pc:docMk/>
            <pc:sldMk cId="2957889177" sldId="410"/>
            <ac:spMk id="32" creationId="{4B940927-38C8-9E03-7A7B-2C0276B7B62D}"/>
          </ac:spMkLst>
        </pc:spChg>
        <pc:spChg chg="mod">
          <ac:chgData name="Carlo Abi-Raad" userId="08fc5628-31e7-49b7-aa1d-2f25a1b05d33" providerId="ADAL" clId="{A46A6E04-8212-C04B-909F-B50D8C93BA18}" dt="2025-02-22T23:39:19.794" v="2344" actId="1076"/>
          <ac:spMkLst>
            <pc:docMk/>
            <pc:sldMk cId="2957889177" sldId="410"/>
            <ac:spMk id="34" creationId="{C6A99F0D-0C7A-57C2-89EA-019049E2384F}"/>
          </ac:spMkLst>
        </pc:spChg>
        <pc:spChg chg="mod">
          <ac:chgData name="Carlo Abi-Raad" userId="08fc5628-31e7-49b7-aa1d-2f25a1b05d33" providerId="ADAL" clId="{A46A6E04-8212-C04B-909F-B50D8C93BA18}" dt="2025-02-22T23:38:11.862" v="2337" actId="14100"/>
          <ac:spMkLst>
            <pc:docMk/>
            <pc:sldMk cId="2957889177" sldId="410"/>
            <ac:spMk id="44" creationId="{92856B5B-9F27-945C-654B-EB69EDA36C28}"/>
          </ac:spMkLst>
        </pc:spChg>
        <pc:grpChg chg="add mod">
          <ac:chgData name="Carlo Abi-Raad" userId="08fc5628-31e7-49b7-aa1d-2f25a1b05d33" providerId="ADAL" clId="{A46A6E04-8212-C04B-909F-B50D8C93BA18}" dt="2025-02-22T23:38:45.311" v="2341" actId="1076"/>
          <ac:grpSpMkLst>
            <pc:docMk/>
            <pc:sldMk cId="2957889177" sldId="410"/>
            <ac:grpSpMk id="10" creationId="{04748227-10F1-31AE-FD7B-BA720B3A0E8A}"/>
          </ac:grpSpMkLst>
        </pc:grpChg>
        <pc:grpChg chg="add mod">
          <ac:chgData name="Carlo Abi-Raad" userId="08fc5628-31e7-49b7-aa1d-2f25a1b05d33" providerId="ADAL" clId="{A46A6E04-8212-C04B-909F-B50D8C93BA18}" dt="2025-02-22T22:59:39.714" v="1734" actId="1076"/>
          <ac:grpSpMkLst>
            <pc:docMk/>
            <pc:sldMk cId="2957889177" sldId="410"/>
            <ac:grpSpMk id="12" creationId="{09F9BA27-250A-0979-6191-C714AC2D114E}"/>
          </ac:grpSpMkLst>
        </pc:grpChg>
        <pc:picChg chg="add mod">
          <ac:chgData name="Carlo Abi-Raad" userId="08fc5628-31e7-49b7-aa1d-2f25a1b05d33" providerId="ADAL" clId="{A46A6E04-8212-C04B-909F-B50D8C93BA18}" dt="2025-02-22T22:57:14.485" v="1718" actId="1076"/>
          <ac:picMkLst>
            <pc:docMk/>
            <pc:sldMk cId="2957889177" sldId="410"/>
            <ac:picMk id="3" creationId="{95F5B609-1732-AFE8-0108-57AFA82686B9}"/>
          </ac:picMkLst>
        </pc:picChg>
        <pc:picChg chg="add mod">
          <ac:chgData name="Carlo Abi-Raad" userId="08fc5628-31e7-49b7-aa1d-2f25a1b05d33" providerId="ADAL" clId="{A46A6E04-8212-C04B-909F-B50D8C93BA18}" dt="2025-02-22T22:57:42.297" v="1721" actId="1076"/>
          <ac:picMkLst>
            <pc:docMk/>
            <pc:sldMk cId="2957889177" sldId="410"/>
            <ac:picMk id="4" creationId="{EF978B50-8A60-DFDD-F8A5-803824CD3104}"/>
          </ac:picMkLst>
        </pc:picChg>
        <pc:picChg chg="add mod">
          <ac:chgData name="Carlo Abi-Raad" userId="08fc5628-31e7-49b7-aa1d-2f25a1b05d33" providerId="ADAL" clId="{A46A6E04-8212-C04B-909F-B50D8C93BA18}" dt="2025-02-22T22:58:48.685" v="1729" actId="1076"/>
          <ac:picMkLst>
            <pc:docMk/>
            <pc:sldMk cId="2957889177" sldId="410"/>
            <ac:picMk id="6" creationId="{E22171FB-A29C-EE75-D095-87EB69237C03}"/>
          </ac:picMkLst>
        </pc:picChg>
        <pc:picChg chg="add mod">
          <ac:chgData name="Carlo Abi-Raad" userId="08fc5628-31e7-49b7-aa1d-2f25a1b05d33" providerId="ADAL" clId="{A46A6E04-8212-C04B-909F-B50D8C93BA18}" dt="2025-02-22T23:40:02.617" v="2348" actId="14100"/>
          <ac:picMkLst>
            <pc:docMk/>
            <pc:sldMk cId="2957889177" sldId="410"/>
            <ac:picMk id="7" creationId="{DF44F13B-DE6C-4698-6DC3-5F3A170C4483}"/>
          </ac:picMkLst>
        </pc:picChg>
        <pc:picChg chg="add mod">
          <ac:chgData name="Carlo Abi-Raad" userId="08fc5628-31e7-49b7-aa1d-2f25a1b05d33" providerId="ADAL" clId="{A46A6E04-8212-C04B-909F-B50D8C93BA18}" dt="2025-02-22T23:39:47.119" v="2347" actId="1076"/>
          <ac:picMkLst>
            <pc:docMk/>
            <pc:sldMk cId="2957889177" sldId="410"/>
            <ac:picMk id="9" creationId="{4B363E52-90D7-55EF-9076-501DF8AA7FAD}"/>
          </ac:picMkLst>
        </pc:picChg>
        <pc:picChg chg="add mod">
          <ac:chgData name="Carlo Abi-Raad" userId="08fc5628-31e7-49b7-aa1d-2f25a1b05d33" providerId="ADAL" clId="{A46A6E04-8212-C04B-909F-B50D8C93BA18}" dt="2025-02-22T23:39:35.664" v="2346" actId="1076"/>
          <ac:picMkLst>
            <pc:docMk/>
            <pc:sldMk cId="2957889177" sldId="410"/>
            <ac:picMk id="1028" creationId="{BD334B9C-D1F4-A23B-59C3-2D1CE1A58558}"/>
          </ac:picMkLst>
        </pc:picChg>
      </pc:sldChg>
      <pc:sldChg chg="modSp mod">
        <pc:chgData name="Carlo Abi-Raad" userId="08fc5628-31e7-49b7-aa1d-2f25a1b05d33" providerId="ADAL" clId="{A46A6E04-8212-C04B-909F-B50D8C93BA18}" dt="2025-02-21T05:31:53.651" v="36" actId="20577"/>
        <pc:sldMkLst>
          <pc:docMk/>
          <pc:sldMk cId="780259659" sldId="413"/>
        </pc:sldMkLst>
      </pc:sldChg>
      <pc:sldChg chg="delSp modSp mod modCm">
        <pc:chgData name="Carlo Abi-Raad" userId="08fc5628-31e7-49b7-aa1d-2f25a1b05d33" providerId="ADAL" clId="{A46A6E04-8212-C04B-909F-B50D8C93BA18}" dt="2025-02-24T02:54:15.871" v="3353" actId="20577"/>
        <pc:sldMkLst>
          <pc:docMk/>
          <pc:sldMk cId="1573245639" sldId="465"/>
        </pc:sldMkLst>
        <pc:spChg chg="mod">
          <ac:chgData name="Carlo Abi-Raad" userId="08fc5628-31e7-49b7-aa1d-2f25a1b05d33" providerId="ADAL" clId="{A46A6E04-8212-C04B-909F-B50D8C93BA18}" dt="2025-02-21T23:32:17.891" v="65" actId="20577"/>
          <ac:spMkLst>
            <pc:docMk/>
            <pc:sldMk cId="1573245639" sldId="465"/>
            <ac:spMk id="8" creationId="{78490266-9AE6-9283-ADD8-71D62379BDF3}"/>
          </ac:spMkLst>
        </pc:spChg>
        <pc:spChg chg="mod">
          <ac:chgData name="Carlo Abi-Raad" userId="08fc5628-31e7-49b7-aa1d-2f25a1b05d33" providerId="ADAL" clId="{A46A6E04-8212-C04B-909F-B50D8C93BA18}" dt="2025-02-24T02:54:15.871" v="3353" actId="20577"/>
          <ac:spMkLst>
            <pc:docMk/>
            <pc:sldMk cId="1573245639" sldId="465"/>
            <ac:spMk id="9" creationId="{F05FFD3B-3ACC-8772-DC09-FE3435652F30}"/>
          </ac:spMkLst>
        </pc:spChg>
        <pc:spChg chg="mod">
          <ac:chgData name="Carlo Abi-Raad" userId="08fc5628-31e7-49b7-aa1d-2f25a1b05d33" providerId="ADAL" clId="{A46A6E04-8212-C04B-909F-B50D8C93BA18}" dt="2025-02-24T01:33:00.433" v="3308" actId="113"/>
          <ac:spMkLst>
            <pc:docMk/>
            <pc:sldMk cId="1573245639" sldId="465"/>
            <ac:spMk id="11" creationId="{3290327A-1096-73F0-F2A7-1E9E7EA10DC8}"/>
          </ac:spMkLst>
        </pc:spChg>
        <pc:spChg chg="mod">
          <ac:chgData name="Carlo Abi-Raad" userId="08fc5628-31e7-49b7-aa1d-2f25a1b05d33" providerId="ADAL" clId="{A46A6E04-8212-C04B-909F-B50D8C93BA18}" dt="2025-02-23T00:21:52.650" v="2839" actId="20577"/>
          <ac:spMkLst>
            <pc:docMk/>
            <pc:sldMk cId="1573245639" sldId="465"/>
            <ac:spMk id="16" creationId="{F3B2143E-D64A-9F8D-2017-9795CEE23BA4}"/>
          </ac:spMkLst>
        </pc:spChg>
        <pc:spChg chg="mod">
          <ac:chgData name="Carlo Abi-Raad" userId="08fc5628-31e7-49b7-aa1d-2f25a1b05d33" providerId="ADAL" clId="{A46A6E04-8212-C04B-909F-B50D8C93BA18}" dt="2025-02-23T00:26:54.180" v="2897" actId="1076"/>
          <ac:spMkLst>
            <pc:docMk/>
            <pc:sldMk cId="1573245639" sldId="465"/>
            <ac:spMk id="20" creationId="{D3B9A70F-AB96-9C3E-8C85-A600FCBB6A6C}"/>
          </ac:spMkLst>
        </pc:spChg>
        <pc:graphicFrameChg chg="mod">
          <ac:chgData name="Carlo Abi-Raad" userId="08fc5628-31e7-49b7-aa1d-2f25a1b05d33" providerId="ADAL" clId="{A46A6E04-8212-C04B-909F-B50D8C93BA18}" dt="2025-02-24T00:46:38.467" v="2904"/>
          <ac:graphicFrameMkLst>
            <pc:docMk/>
            <pc:sldMk cId="1573245639" sldId="465"/>
            <ac:graphicFrameMk id="2" creationId="{406DE363-2CF0-3748-B18C-445A85DC0563}"/>
          </ac:graphicFrameMkLst>
        </pc:graphicFrameChg>
        <pc:graphicFrameChg chg="mod">
          <ac:chgData name="Carlo Abi-Raad" userId="08fc5628-31e7-49b7-aa1d-2f25a1b05d33" providerId="ADAL" clId="{A46A6E04-8212-C04B-909F-B50D8C93BA18}" dt="2025-02-24T00:46:59.932" v="2905"/>
          <ac:graphicFrameMkLst>
            <pc:docMk/>
            <pc:sldMk cId="1573245639" sldId="465"/>
            <ac:graphicFrameMk id="19" creationId="{C251B1FE-75FC-E847-7258-12334D81AA9F}"/>
          </ac:graphicFrameMkLst>
        </pc:graphicFrameChg>
        <pc:cxnChg chg="mod">
          <ac:chgData name="Carlo Abi-Raad" userId="08fc5628-31e7-49b7-aa1d-2f25a1b05d33" providerId="ADAL" clId="{A46A6E04-8212-C04B-909F-B50D8C93BA18}" dt="2025-02-23T00:27:32.540" v="2902" actId="14100"/>
          <ac:cxnSpMkLst>
            <pc:docMk/>
            <pc:sldMk cId="1573245639" sldId="465"/>
            <ac:cxnSpMk id="21" creationId="{4212C219-738B-A611-8C03-62195D2BB87E}"/>
          </ac:cxnSpMkLst>
        </pc:cxnChg>
      </pc:sldChg>
      <pc:sldChg chg="ord">
        <pc:chgData name="Carlo Abi-Raad" userId="08fc5628-31e7-49b7-aa1d-2f25a1b05d33" providerId="ADAL" clId="{A46A6E04-8212-C04B-909F-B50D8C93BA18}" dt="2025-02-24T01:52:21.822" v="3309" actId="20578"/>
        <pc:sldMkLst>
          <pc:docMk/>
          <pc:sldMk cId="2904048250" sldId="480"/>
        </pc:sldMkLst>
      </pc:sldChg>
      <pc:sldChg chg="delSp modSp mod">
        <pc:chgData name="Carlo Abi-Raad" userId="08fc5628-31e7-49b7-aa1d-2f25a1b05d33" providerId="ADAL" clId="{A46A6E04-8212-C04B-909F-B50D8C93BA18}" dt="2025-02-24T00:38:28.197" v="2903"/>
        <pc:sldMkLst>
          <pc:docMk/>
          <pc:sldMk cId="579433030" sldId="481"/>
        </pc:sldMkLst>
        <pc:spChg chg="mod">
          <ac:chgData name="Carlo Abi-Raad" userId="08fc5628-31e7-49b7-aa1d-2f25a1b05d33" providerId="ADAL" clId="{A46A6E04-8212-C04B-909F-B50D8C93BA18}" dt="2025-02-22T23:45:51.921" v="2396" actId="20577"/>
          <ac:spMkLst>
            <pc:docMk/>
            <pc:sldMk cId="579433030" sldId="481"/>
            <ac:spMk id="9" creationId="{B0270434-F926-FAD6-9491-AEDCCD21154B}"/>
          </ac:spMkLst>
        </pc:spChg>
        <pc:spChg chg="mod">
          <ac:chgData name="Carlo Abi-Raad" userId="08fc5628-31e7-49b7-aa1d-2f25a1b05d33" providerId="ADAL" clId="{A46A6E04-8212-C04B-909F-B50D8C93BA18}" dt="2025-02-23T00:26:46.095" v="2892" actId="20577"/>
          <ac:spMkLst>
            <pc:docMk/>
            <pc:sldMk cId="579433030" sldId="481"/>
            <ac:spMk id="11" creationId="{B0434A7E-E35C-23B0-292F-F55553CFA903}"/>
          </ac:spMkLst>
        </pc:spChg>
        <pc:graphicFrameChg chg="mod">
          <ac:chgData name="Carlo Abi-Raad" userId="08fc5628-31e7-49b7-aa1d-2f25a1b05d33" providerId="ADAL" clId="{A46A6E04-8212-C04B-909F-B50D8C93BA18}" dt="2025-02-24T00:38:28.197" v="2903"/>
          <ac:graphicFrameMkLst>
            <pc:docMk/>
            <pc:sldMk cId="579433030" sldId="481"/>
            <ac:graphicFrameMk id="24" creationId="{15EE75C4-5218-AED9-183A-B367A54E99BF}"/>
          </ac:graphicFrameMkLst>
        </pc:graphicFrameChg>
      </pc:sldChg>
      <pc:sldChg chg="modSp del mod">
        <pc:chgData name="Carlo Abi-Raad" userId="08fc5628-31e7-49b7-aa1d-2f25a1b05d33" providerId="ADAL" clId="{A46A6E04-8212-C04B-909F-B50D8C93BA18}" dt="2025-02-22T23:09:00.324" v="1788" actId="2696"/>
        <pc:sldMkLst>
          <pc:docMk/>
          <pc:sldMk cId="1162722854" sldId="482"/>
        </pc:sldMkLst>
      </pc:sldChg>
      <pc:sldChg chg="modCm">
        <pc:chgData name="Carlo Abi-Raad" userId="08fc5628-31e7-49b7-aa1d-2f25a1b05d33" providerId="ADAL" clId="{A46A6E04-8212-C04B-909F-B50D8C93BA18}" dt="2025-02-22T01:02:43.450" v="116"/>
        <pc:sldMkLst>
          <pc:docMk/>
          <pc:sldMk cId="2590877607" sldId="488"/>
        </pc:sldMkLst>
      </pc:sldChg>
      <pc:sldChg chg="modSp mod">
        <pc:chgData name="Carlo Abi-Raad" userId="08fc5628-31e7-49b7-aa1d-2f25a1b05d33" providerId="ADAL" clId="{A46A6E04-8212-C04B-909F-B50D8C93BA18}" dt="2025-02-22T01:06:09.711" v="140" actId="20577"/>
        <pc:sldMkLst>
          <pc:docMk/>
          <pc:sldMk cId="3305817542" sldId="489"/>
        </pc:sldMkLst>
      </pc:sldChg>
    </pc:docChg>
  </pc:docChgLst>
  <pc:docChgLst>
    <pc:chgData name="Thomas Giroux" userId="a5e6b51b-05f9-4411-bff2-2d0750f3d155" providerId="ADAL" clId="{EC7B9931-DA63-B74B-B31F-12D643B06E75}"/>
    <pc:docChg chg="undo custSel delSld modSld modSection">
      <pc:chgData name="Thomas Giroux" userId="a5e6b51b-05f9-4411-bff2-2d0750f3d155" providerId="ADAL" clId="{EC7B9931-DA63-B74B-B31F-12D643B06E75}" dt="2025-02-23T19:10:00.942" v="646" actId="2711"/>
      <pc:docMkLst>
        <pc:docMk/>
      </pc:docMkLst>
      <pc:sldChg chg="delSp mod">
        <pc:chgData name="Thomas Giroux" userId="a5e6b51b-05f9-4411-bff2-2d0750f3d155" providerId="ADAL" clId="{EC7B9931-DA63-B74B-B31F-12D643B06E75}" dt="2025-02-22T18:45:59.377" v="473" actId="478"/>
        <pc:sldMkLst>
          <pc:docMk/>
          <pc:sldMk cId="2014744420" sldId="257"/>
        </pc:sldMkLst>
        <pc:spChg chg="del">
          <ac:chgData name="Thomas Giroux" userId="a5e6b51b-05f9-4411-bff2-2d0750f3d155" providerId="ADAL" clId="{EC7B9931-DA63-B74B-B31F-12D643B06E75}" dt="2025-02-22T18:45:59.377" v="473" actId="478"/>
          <ac:spMkLst>
            <pc:docMk/>
            <pc:sldMk cId="2014744420" sldId="257"/>
            <ac:spMk id="5" creationId="{1EF4081D-69D1-0CEE-68B3-EC3D7B3ACA7B}"/>
          </ac:spMkLst>
        </pc:spChg>
      </pc:sldChg>
      <pc:sldChg chg="modSp mod">
        <pc:chgData name="Thomas Giroux" userId="a5e6b51b-05f9-4411-bff2-2d0750f3d155" providerId="ADAL" clId="{EC7B9931-DA63-B74B-B31F-12D643B06E75}" dt="2025-02-22T18:45:39.146" v="466" actId="20577"/>
        <pc:sldMkLst>
          <pc:docMk/>
          <pc:sldMk cId="131303031" sldId="343"/>
        </pc:sldMkLst>
        <pc:spChg chg="mod">
          <ac:chgData name="Thomas Giroux" userId="a5e6b51b-05f9-4411-bff2-2d0750f3d155" providerId="ADAL" clId="{EC7B9931-DA63-B74B-B31F-12D643B06E75}" dt="2025-02-22T18:45:39.146" v="466" actId="20577"/>
          <ac:spMkLst>
            <pc:docMk/>
            <pc:sldMk cId="131303031" sldId="343"/>
            <ac:spMk id="22" creationId="{9A739467-1590-24CD-459B-7CD2C4CCC341}"/>
          </ac:spMkLst>
        </pc:spChg>
        <pc:spChg chg="mod">
          <ac:chgData name="Thomas Giroux" userId="a5e6b51b-05f9-4411-bff2-2d0750f3d155" providerId="ADAL" clId="{EC7B9931-DA63-B74B-B31F-12D643B06E75}" dt="2025-02-22T18:45:35.522" v="463" actId="20577"/>
          <ac:spMkLst>
            <pc:docMk/>
            <pc:sldMk cId="131303031" sldId="343"/>
            <ac:spMk id="23" creationId="{DF6B9621-0C88-1990-12C1-FA2C93E3F965}"/>
          </ac:spMkLst>
        </pc:spChg>
      </pc:sldChg>
      <pc:sldChg chg="modSp mod">
        <pc:chgData name="Thomas Giroux" userId="a5e6b51b-05f9-4411-bff2-2d0750f3d155" providerId="ADAL" clId="{EC7B9931-DA63-B74B-B31F-12D643B06E75}" dt="2025-02-22T18:49:45.737" v="503" actId="20577"/>
        <pc:sldMkLst>
          <pc:docMk/>
          <pc:sldMk cId="1028352504" sldId="363"/>
        </pc:sldMkLst>
        <pc:graphicFrameChg chg="modGraphic">
          <ac:chgData name="Thomas Giroux" userId="a5e6b51b-05f9-4411-bff2-2d0750f3d155" providerId="ADAL" clId="{EC7B9931-DA63-B74B-B31F-12D643B06E75}" dt="2025-02-22T18:49:45.737" v="503" actId="20577"/>
          <ac:graphicFrameMkLst>
            <pc:docMk/>
            <pc:sldMk cId="1028352504" sldId="363"/>
            <ac:graphicFrameMk id="6" creationId="{1E67A446-4B29-969E-B87E-3F3F7B241D63}"/>
          </ac:graphicFrameMkLst>
        </pc:graphicFrameChg>
      </pc:sldChg>
      <pc:sldChg chg="modSp mod">
        <pc:chgData name="Thomas Giroux" userId="a5e6b51b-05f9-4411-bff2-2d0750f3d155" providerId="ADAL" clId="{EC7B9931-DA63-B74B-B31F-12D643B06E75}" dt="2025-02-22T18:50:08.549" v="509" actId="20577"/>
        <pc:sldMkLst>
          <pc:docMk/>
          <pc:sldMk cId="4052889244" sldId="411"/>
        </pc:sldMkLst>
        <pc:spChg chg="mod">
          <ac:chgData name="Thomas Giroux" userId="a5e6b51b-05f9-4411-bff2-2d0750f3d155" providerId="ADAL" clId="{EC7B9931-DA63-B74B-B31F-12D643B06E75}" dt="2025-02-22T18:50:08.549" v="509" actId="20577"/>
          <ac:spMkLst>
            <pc:docMk/>
            <pc:sldMk cId="4052889244" sldId="411"/>
            <ac:spMk id="15" creationId="{C48A4E1E-E808-D5A5-9D33-88CA8F60389A}"/>
          </ac:spMkLst>
        </pc:spChg>
        <pc:graphicFrameChg chg="modGraphic">
          <ac:chgData name="Thomas Giroux" userId="a5e6b51b-05f9-4411-bff2-2d0750f3d155" providerId="ADAL" clId="{EC7B9931-DA63-B74B-B31F-12D643B06E75}" dt="2025-02-22T18:47:39.534" v="491" actId="20577"/>
          <ac:graphicFrameMkLst>
            <pc:docMk/>
            <pc:sldMk cId="4052889244" sldId="411"/>
            <ac:graphicFrameMk id="3" creationId="{C4869B7A-28D2-4087-CA6E-FC5C3C806D0D}"/>
          </ac:graphicFrameMkLst>
        </pc:graphicFrameChg>
      </pc:sldChg>
      <pc:sldChg chg="addSp delSp modSp mod">
        <pc:chgData name="Thomas Giroux" userId="a5e6b51b-05f9-4411-bff2-2d0750f3d155" providerId="ADAL" clId="{EC7B9931-DA63-B74B-B31F-12D643B06E75}" dt="2025-02-22T18:52:15.523" v="537" actId="20577"/>
        <pc:sldMkLst>
          <pc:docMk/>
          <pc:sldMk cId="4018175131" sldId="461"/>
        </pc:sldMkLst>
        <pc:spChg chg="del">
          <ac:chgData name="Thomas Giroux" userId="a5e6b51b-05f9-4411-bff2-2d0750f3d155" providerId="ADAL" clId="{EC7B9931-DA63-B74B-B31F-12D643B06E75}" dt="2025-02-22T01:08:17.394" v="250" actId="478"/>
          <ac:spMkLst>
            <pc:docMk/>
            <pc:sldMk cId="4018175131" sldId="461"/>
            <ac:spMk id="2" creationId="{57BF621B-B602-7A46-AE52-E81E8B0D4E1F}"/>
          </ac:spMkLst>
        </pc:spChg>
        <pc:spChg chg="del">
          <ac:chgData name="Thomas Giroux" userId="a5e6b51b-05f9-4411-bff2-2d0750f3d155" providerId="ADAL" clId="{EC7B9931-DA63-B74B-B31F-12D643B06E75}" dt="2025-02-22T01:07:53.468" v="247" actId="478"/>
          <ac:spMkLst>
            <pc:docMk/>
            <pc:sldMk cId="4018175131" sldId="461"/>
            <ac:spMk id="3" creationId="{4E63D0E4-BF19-310A-3B9B-070655FDB765}"/>
          </ac:spMkLst>
        </pc:spChg>
        <pc:spChg chg="del">
          <ac:chgData name="Thomas Giroux" userId="a5e6b51b-05f9-4411-bff2-2d0750f3d155" providerId="ADAL" clId="{EC7B9931-DA63-B74B-B31F-12D643B06E75}" dt="2025-02-22T18:35:26.448" v="354" actId="478"/>
          <ac:spMkLst>
            <pc:docMk/>
            <pc:sldMk cId="4018175131" sldId="461"/>
            <ac:spMk id="6" creationId="{E2EB9655-E629-8810-0C43-BB7FD2089E3A}"/>
          </ac:spMkLst>
        </pc:spChg>
        <pc:spChg chg="del">
          <ac:chgData name="Thomas Giroux" userId="a5e6b51b-05f9-4411-bff2-2d0750f3d155" providerId="ADAL" clId="{EC7B9931-DA63-B74B-B31F-12D643B06E75}" dt="2025-02-22T01:07:57.290" v="248" actId="478"/>
          <ac:spMkLst>
            <pc:docMk/>
            <pc:sldMk cId="4018175131" sldId="461"/>
            <ac:spMk id="8" creationId="{01DB9DA2-AA3D-1408-61A6-EE816B07F89F}"/>
          </ac:spMkLst>
        </pc:spChg>
        <pc:spChg chg="add mod">
          <ac:chgData name="Thomas Giroux" userId="a5e6b51b-05f9-4411-bff2-2d0750f3d155" providerId="ADAL" clId="{EC7B9931-DA63-B74B-B31F-12D643B06E75}" dt="2025-02-21T22:02:43.214" v="190" actId="14100"/>
          <ac:spMkLst>
            <pc:docMk/>
            <pc:sldMk cId="4018175131" sldId="461"/>
            <ac:spMk id="10" creationId="{F1DBDD8D-2235-935D-1DEC-0244FBE47705}"/>
          </ac:spMkLst>
        </pc:spChg>
        <pc:spChg chg="mod">
          <ac:chgData name="Thomas Giroux" userId="a5e6b51b-05f9-4411-bff2-2d0750f3d155" providerId="ADAL" clId="{EC7B9931-DA63-B74B-B31F-12D643B06E75}" dt="2025-02-21T22:02:55.285" v="231" actId="20577"/>
          <ac:spMkLst>
            <pc:docMk/>
            <pc:sldMk cId="4018175131" sldId="461"/>
            <ac:spMk id="22" creationId="{71EC417B-81A8-553E-9452-0BB9010D8C5F}"/>
          </ac:spMkLst>
        </pc:spChg>
        <pc:spChg chg="mod">
          <ac:chgData name="Thomas Giroux" userId="a5e6b51b-05f9-4411-bff2-2d0750f3d155" providerId="ADAL" clId="{EC7B9931-DA63-B74B-B31F-12D643B06E75}" dt="2025-02-21T22:02:15.632" v="186" actId="20577"/>
          <ac:spMkLst>
            <pc:docMk/>
            <pc:sldMk cId="4018175131" sldId="461"/>
            <ac:spMk id="26" creationId="{5F4985F3-A7FA-E15E-059F-23B645DFD295}"/>
          </ac:spMkLst>
        </pc:spChg>
        <pc:spChg chg="mod">
          <ac:chgData name="Thomas Giroux" userId="a5e6b51b-05f9-4411-bff2-2d0750f3d155" providerId="ADAL" clId="{EC7B9931-DA63-B74B-B31F-12D643B06E75}" dt="2025-02-22T18:52:15.523" v="537" actId="20577"/>
          <ac:spMkLst>
            <pc:docMk/>
            <pc:sldMk cId="4018175131" sldId="461"/>
            <ac:spMk id="28" creationId="{B359C512-A33B-534A-B638-EBC7178FB608}"/>
          </ac:spMkLst>
        </pc:spChg>
        <pc:graphicFrameChg chg="mod">
          <ac:chgData name="Thomas Giroux" userId="a5e6b51b-05f9-4411-bff2-2d0750f3d155" providerId="ADAL" clId="{EC7B9931-DA63-B74B-B31F-12D643B06E75}" dt="2025-02-21T22:03:13.025" v="232" actId="207"/>
          <ac:graphicFrameMkLst>
            <pc:docMk/>
            <pc:sldMk cId="4018175131" sldId="461"/>
            <ac:graphicFrameMk id="25" creationId="{6F076EFF-47E0-3CDA-EE33-FB369B270692}"/>
          </ac:graphicFrameMkLst>
        </pc:graphicFrameChg>
        <pc:graphicFrameChg chg="mod">
          <ac:chgData name="Thomas Giroux" userId="a5e6b51b-05f9-4411-bff2-2d0750f3d155" providerId="ADAL" clId="{EC7B9931-DA63-B74B-B31F-12D643B06E75}" dt="2025-02-22T01:08:07.477" v="249" actId="207"/>
          <ac:graphicFrameMkLst>
            <pc:docMk/>
            <pc:sldMk cId="4018175131" sldId="461"/>
            <ac:graphicFrameMk id="42" creationId="{B330C2AD-08D5-48D0-AD51-38958AB4C27F}"/>
          </ac:graphicFrameMkLst>
        </pc:graphicFrameChg>
      </pc:sldChg>
      <pc:sldChg chg="modSp mod">
        <pc:chgData name="Thomas Giroux" userId="a5e6b51b-05f9-4411-bff2-2d0750f3d155" providerId="ADAL" clId="{EC7B9931-DA63-B74B-B31F-12D643B06E75}" dt="2025-02-22T18:52:03.533" v="534" actId="20577"/>
        <pc:sldMkLst>
          <pc:docMk/>
          <pc:sldMk cId="3458094001" sldId="462"/>
        </pc:sldMkLst>
        <pc:spChg chg="mod">
          <ac:chgData name="Thomas Giroux" userId="a5e6b51b-05f9-4411-bff2-2d0750f3d155" providerId="ADAL" clId="{EC7B9931-DA63-B74B-B31F-12D643B06E75}" dt="2025-02-22T18:52:03.533" v="534" actId="20577"/>
          <ac:spMkLst>
            <pc:docMk/>
            <pc:sldMk cId="3458094001" sldId="462"/>
            <ac:spMk id="20" creationId="{C7BDA901-01F9-F8A6-389A-BEDD954879AC}"/>
          </ac:spMkLst>
        </pc:spChg>
      </pc:sldChg>
      <pc:sldChg chg="modSp mod">
        <pc:chgData name="Thomas Giroux" userId="a5e6b51b-05f9-4411-bff2-2d0750f3d155" providerId="ADAL" clId="{EC7B9931-DA63-B74B-B31F-12D643B06E75}" dt="2025-02-22T18:52:38.952" v="543" actId="20577"/>
        <pc:sldMkLst>
          <pc:docMk/>
          <pc:sldMk cId="1573245639" sldId="465"/>
        </pc:sldMkLst>
        <pc:spChg chg="mod">
          <ac:chgData name="Thomas Giroux" userId="a5e6b51b-05f9-4411-bff2-2d0750f3d155" providerId="ADAL" clId="{EC7B9931-DA63-B74B-B31F-12D643B06E75}" dt="2025-02-22T18:52:33.714" v="540" actId="20577"/>
          <ac:spMkLst>
            <pc:docMk/>
            <pc:sldMk cId="1573245639" sldId="465"/>
            <ac:spMk id="10" creationId="{9F299A72-9145-9086-3CDC-32194BA9DC5D}"/>
          </ac:spMkLst>
        </pc:spChg>
        <pc:spChg chg="mod">
          <ac:chgData name="Thomas Giroux" userId="a5e6b51b-05f9-4411-bff2-2d0750f3d155" providerId="ADAL" clId="{EC7B9931-DA63-B74B-B31F-12D643B06E75}" dt="2025-02-22T18:52:38.952" v="543" actId="20577"/>
          <ac:spMkLst>
            <pc:docMk/>
            <pc:sldMk cId="1573245639" sldId="465"/>
            <ac:spMk id="13" creationId="{DBAFC030-A14C-F728-B861-B153AA6E823A}"/>
          </ac:spMkLst>
        </pc:spChg>
      </pc:sldChg>
      <pc:sldChg chg="addSp delSp modSp mod">
        <pc:chgData name="Thomas Giroux" userId="a5e6b51b-05f9-4411-bff2-2d0750f3d155" providerId="ADAL" clId="{EC7B9931-DA63-B74B-B31F-12D643B06E75}" dt="2025-02-22T21:02:02.867" v="628" actId="20577"/>
        <pc:sldMkLst>
          <pc:docMk/>
          <pc:sldMk cId="3029556874" sldId="466"/>
        </pc:sldMkLst>
        <pc:spChg chg="mod">
          <ac:chgData name="Thomas Giroux" userId="a5e6b51b-05f9-4411-bff2-2d0750f3d155" providerId="ADAL" clId="{EC7B9931-DA63-B74B-B31F-12D643B06E75}" dt="2025-02-21T21:47:21.763" v="32" actId="20577"/>
          <ac:spMkLst>
            <pc:docMk/>
            <pc:sldMk cId="3029556874" sldId="466"/>
            <ac:spMk id="2" creationId="{278C1D1A-18F3-1EB6-5F94-61B4C57BF0CF}"/>
          </ac:spMkLst>
        </pc:spChg>
        <pc:spChg chg="del">
          <ac:chgData name="Thomas Giroux" userId="a5e6b51b-05f9-4411-bff2-2d0750f3d155" providerId="ADAL" clId="{EC7B9931-DA63-B74B-B31F-12D643B06E75}" dt="2025-02-22T18:37:20.033" v="371" actId="478"/>
          <ac:spMkLst>
            <pc:docMk/>
            <pc:sldMk cId="3029556874" sldId="466"/>
            <ac:spMk id="6" creationId="{5155FC55-DDE9-0300-15E9-6EAF7FA3E685}"/>
          </ac:spMkLst>
        </pc:spChg>
        <pc:spChg chg="mod">
          <ac:chgData name="Thomas Giroux" userId="a5e6b51b-05f9-4411-bff2-2d0750f3d155" providerId="ADAL" clId="{EC7B9931-DA63-B74B-B31F-12D643B06E75}" dt="2025-02-22T18:52:46.557" v="546" actId="20577"/>
          <ac:spMkLst>
            <pc:docMk/>
            <pc:sldMk cId="3029556874" sldId="466"/>
            <ac:spMk id="8" creationId="{0CD0C6C2-6076-1560-67D8-82A0A473FF5A}"/>
          </ac:spMkLst>
        </pc:spChg>
        <pc:spChg chg="mod">
          <ac:chgData name="Thomas Giroux" userId="a5e6b51b-05f9-4411-bff2-2d0750f3d155" providerId="ADAL" clId="{EC7B9931-DA63-B74B-B31F-12D643B06E75}" dt="2025-02-22T21:02:02.867" v="628" actId="20577"/>
          <ac:spMkLst>
            <pc:docMk/>
            <pc:sldMk cId="3029556874" sldId="466"/>
            <ac:spMk id="12" creationId="{46BE5529-5E90-E52A-74E6-BE3F44760B1C}"/>
          </ac:spMkLst>
        </pc:spChg>
        <pc:graphicFrameChg chg="add mod">
          <ac:chgData name="Thomas Giroux" userId="a5e6b51b-05f9-4411-bff2-2d0750f3d155" providerId="ADAL" clId="{EC7B9931-DA63-B74B-B31F-12D643B06E75}" dt="2025-02-22T18:41:50.058" v="433" actId="207"/>
          <ac:graphicFrameMkLst>
            <pc:docMk/>
            <pc:sldMk cId="3029556874" sldId="466"/>
            <ac:graphicFrameMk id="15" creationId="{DE5CA0C8-309F-CA2E-B59C-AD98F1F95FD4}"/>
          </ac:graphicFrameMkLst>
        </pc:graphicFrameChg>
        <pc:graphicFrameChg chg="mod modGraphic">
          <ac:chgData name="Thomas Giroux" userId="a5e6b51b-05f9-4411-bff2-2d0750f3d155" providerId="ADAL" clId="{EC7B9931-DA63-B74B-B31F-12D643B06E75}" dt="2025-02-22T18:37:29.917" v="373" actId="14100"/>
          <ac:graphicFrameMkLst>
            <pc:docMk/>
            <pc:sldMk cId="3029556874" sldId="466"/>
            <ac:graphicFrameMk id="18" creationId="{EB434806-DA5B-A781-6AE6-8B42B985A53E}"/>
          </ac:graphicFrameMkLst>
        </pc:graphicFrameChg>
        <pc:graphicFrameChg chg="add mod">
          <ac:chgData name="Thomas Giroux" userId="a5e6b51b-05f9-4411-bff2-2d0750f3d155" providerId="ADAL" clId="{EC7B9931-DA63-B74B-B31F-12D643B06E75}" dt="2025-02-22T18:41:46.954" v="432" actId="207"/>
          <ac:graphicFrameMkLst>
            <pc:docMk/>
            <pc:sldMk cId="3029556874" sldId="466"/>
            <ac:graphicFrameMk id="24" creationId="{824F5ADF-8073-8DC1-5BDF-4BAB7322F2CD}"/>
          </ac:graphicFrameMkLst>
        </pc:graphicFrameChg>
      </pc:sldChg>
      <pc:sldChg chg="addSp delSp modSp mod">
        <pc:chgData name="Thomas Giroux" userId="a5e6b51b-05f9-4411-bff2-2d0750f3d155" providerId="ADAL" clId="{EC7B9931-DA63-B74B-B31F-12D643B06E75}" dt="2025-02-22T01:11:17.952" v="257" actId="255"/>
        <pc:sldMkLst>
          <pc:docMk/>
          <pc:sldMk cId="2111688645" sldId="470"/>
        </pc:sldMkLst>
        <pc:graphicFrameChg chg="add mod modGraphic">
          <ac:chgData name="Thomas Giroux" userId="a5e6b51b-05f9-4411-bff2-2d0750f3d155" providerId="ADAL" clId="{EC7B9931-DA63-B74B-B31F-12D643B06E75}" dt="2025-02-22T01:11:17.952" v="257" actId="255"/>
          <ac:graphicFrameMkLst>
            <pc:docMk/>
            <pc:sldMk cId="2111688645" sldId="470"/>
            <ac:graphicFrameMk id="14" creationId="{09F2808C-9396-0760-41F8-797BEC3CC095}"/>
          </ac:graphicFrameMkLst>
        </pc:graphicFrameChg>
      </pc:sldChg>
      <pc:sldChg chg="del">
        <pc:chgData name="Thomas Giroux" userId="a5e6b51b-05f9-4411-bff2-2d0750f3d155" providerId="ADAL" clId="{EC7B9931-DA63-B74B-B31F-12D643B06E75}" dt="2025-02-22T18:43:20.292" v="434" actId="2696"/>
        <pc:sldMkLst>
          <pc:docMk/>
          <pc:sldMk cId="2627618476" sldId="475"/>
        </pc:sldMkLst>
      </pc:sldChg>
      <pc:sldChg chg="addSp delSp modSp del mod">
        <pc:chgData name="Thomas Giroux" userId="a5e6b51b-05f9-4411-bff2-2d0750f3d155" providerId="ADAL" clId="{EC7B9931-DA63-B74B-B31F-12D643B06E75}" dt="2025-02-22T18:26:42.308" v="313" actId="2696"/>
        <pc:sldMkLst>
          <pc:docMk/>
          <pc:sldMk cId="620634574" sldId="476"/>
        </pc:sldMkLst>
        <pc:spChg chg="add mod">
          <ac:chgData name="Thomas Giroux" userId="a5e6b51b-05f9-4411-bff2-2d0750f3d155" providerId="ADAL" clId="{EC7B9931-DA63-B74B-B31F-12D643B06E75}" dt="2025-02-22T18:26:14.708" v="312" actId="478"/>
          <ac:spMkLst>
            <pc:docMk/>
            <pc:sldMk cId="620634574" sldId="476"/>
            <ac:spMk id="10" creationId="{698625BB-4D46-B090-ABF7-97A027368E8B}"/>
          </ac:spMkLst>
        </pc:spChg>
        <pc:graphicFrameChg chg="del">
          <ac:chgData name="Thomas Giroux" userId="a5e6b51b-05f9-4411-bff2-2d0750f3d155" providerId="ADAL" clId="{EC7B9931-DA63-B74B-B31F-12D643B06E75}" dt="2025-02-22T18:26:14.708" v="312" actId="478"/>
          <ac:graphicFrameMkLst>
            <pc:docMk/>
            <pc:sldMk cId="620634574" sldId="476"/>
            <ac:graphicFrameMk id="11" creationId="{339652FA-6FF2-D197-6FF5-988B74215B51}"/>
          </ac:graphicFrameMkLst>
        </pc:graphicFrameChg>
      </pc:sldChg>
      <pc:sldChg chg="delSp modSp mod">
        <pc:chgData name="Thomas Giroux" userId="a5e6b51b-05f9-4411-bff2-2d0750f3d155" providerId="ADAL" clId="{EC7B9931-DA63-B74B-B31F-12D643B06E75}" dt="2025-02-22T18:27:08.997" v="319" actId="255"/>
        <pc:sldMkLst>
          <pc:docMk/>
          <pc:sldMk cId="423703719" sldId="477"/>
        </pc:sldMkLst>
        <pc:spChg chg="mod">
          <ac:chgData name="Thomas Giroux" userId="a5e6b51b-05f9-4411-bff2-2d0750f3d155" providerId="ADAL" clId="{EC7B9931-DA63-B74B-B31F-12D643B06E75}" dt="2025-02-21T21:52:39.837" v="149"/>
          <ac:spMkLst>
            <pc:docMk/>
            <pc:sldMk cId="423703719" sldId="477"/>
            <ac:spMk id="2" creationId="{DBFD42FC-E9D6-018D-364F-481155DB4EF2}"/>
          </ac:spMkLst>
        </pc:spChg>
        <pc:spChg chg="mod">
          <ac:chgData name="Thomas Giroux" userId="a5e6b51b-05f9-4411-bff2-2d0750f3d155" providerId="ADAL" clId="{EC7B9931-DA63-B74B-B31F-12D643B06E75}" dt="2025-02-22T18:26:51.483" v="315" actId="20577"/>
          <ac:spMkLst>
            <pc:docMk/>
            <pc:sldMk cId="423703719" sldId="477"/>
            <ac:spMk id="4" creationId="{158A7BA3-660D-6795-46C4-590C35EB2765}"/>
          </ac:spMkLst>
        </pc:spChg>
        <pc:spChg chg="del">
          <ac:chgData name="Thomas Giroux" userId="a5e6b51b-05f9-4411-bff2-2d0750f3d155" providerId="ADAL" clId="{EC7B9931-DA63-B74B-B31F-12D643B06E75}" dt="2025-02-22T01:08:51.675" v="251" actId="478"/>
          <ac:spMkLst>
            <pc:docMk/>
            <pc:sldMk cId="423703719" sldId="477"/>
            <ac:spMk id="5" creationId="{1814DBB7-FBA9-1226-4078-7159BA0CCD6A}"/>
          </ac:spMkLst>
        </pc:spChg>
        <pc:graphicFrameChg chg="modGraphic">
          <ac:chgData name="Thomas Giroux" userId="a5e6b51b-05f9-4411-bff2-2d0750f3d155" providerId="ADAL" clId="{EC7B9931-DA63-B74B-B31F-12D643B06E75}" dt="2025-02-22T18:27:01.421" v="317" actId="255"/>
          <ac:graphicFrameMkLst>
            <pc:docMk/>
            <pc:sldMk cId="423703719" sldId="477"/>
            <ac:graphicFrameMk id="13" creationId="{9A482C56-FC75-95E4-5BB6-D4E0B437A47E}"/>
          </ac:graphicFrameMkLst>
        </pc:graphicFrameChg>
        <pc:graphicFrameChg chg="modGraphic">
          <ac:chgData name="Thomas Giroux" userId="a5e6b51b-05f9-4411-bff2-2d0750f3d155" providerId="ADAL" clId="{EC7B9931-DA63-B74B-B31F-12D643B06E75}" dt="2025-02-22T18:27:08.997" v="319" actId="255"/>
          <ac:graphicFrameMkLst>
            <pc:docMk/>
            <pc:sldMk cId="423703719" sldId="477"/>
            <ac:graphicFrameMk id="21" creationId="{4509AB78-A3A3-F19A-64BD-04738CD4528F}"/>
          </ac:graphicFrameMkLst>
        </pc:graphicFrameChg>
      </pc:sldChg>
      <pc:sldChg chg="modSp mod">
        <pc:chgData name="Thomas Giroux" userId="a5e6b51b-05f9-4411-bff2-2d0750f3d155" providerId="ADAL" clId="{EC7B9931-DA63-B74B-B31F-12D643B06E75}" dt="2025-02-22T18:51:25.196" v="518" actId="20577"/>
        <pc:sldMkLst>
          <pc:docMk/>
          <pc:sldMk cId="2904048250" sldId="480"/>
        </pc:sldMkLst>
        <pc:spChg chg="mod">
          <ac:chgData name="Thomas Giroux" userId="a5e6b51b-05f9-4411-bff2-2d0750f3d155" providerId="ADAL" clId="{EC7B9931-DA63-B74B-B31F-12D643B06E75}" dt="2025-02-22T18:51:25.196" v="518" actId="20577"/>
          <ac:spMkLst>
            <pc:docMk/>
            <pc:sldMk cId="2904048250" sldId="480"/>
            <ac:spMk id="12" creationId="{D69351CD-FBF4-1461-4EE5-5C01D045F8FC}"/>
          </ac:spMkLst>
        </pc:spChg>
      </pc:sldChg>
      <pc:sldChg chg="modSp mod">
        <pc:chgData name="Thomas Giroux" userId="a5e6b51b-05f9-4411-bff2-2d0750f3d155" providerId="ADAL" clId="{EC7B9931-DA63-B74B-B31F-12D643B06E75}" dt="2025-02-22T18:51:16.950" v="515" actId="20577"/>
        <pc:sldMkLst>
          <pc:docMk/>
          <pc:sldMk cId="364820169" sldId="487"/>
        </pc:sldMkLst>
        <pc:spChg chg="mod">
          <ac:chgData name="Thomas Giroux" userId="a5e6b51b-05f9-4411-bff2-2d0750f3d155" providerId="ADAL" clId="{EC7B9931-DA63-B74B-B31F-12D643B06E75}" dt="2025-02-22T18:51:13.289" v="512" actId="20577"/>
          <ac:spMkLst>
            <pc:docMk/>
            <pc:sldMk cId="364820169" sldId="487"/>
            <ac:spMk id="5" creationId="{D78DBC09-2033-7F86-6E03-5AA52044520C}"/>
          </ac:spMkLst>
        </pc:spChg>
        <pc:spChg chg="mod">
          <ac:chgData name="Thomas Giroux" userId="a5e6b51b-05f9-4411-bff2-2d0750f3d155" providerId="ADAL" clId="{EC7B9931-DA63-B74B-B31F-12D643B06E75}" dt="2025-02-22T18:51:16.950" v="515" actId="20577"/>
          <ac:spMkLst>
            <pc:docMk/>
            <pc:sldMk cId="364820169" sldId="487"/>
            <ac:spMk id="12" creationId="{3FEBEE74-9776-0672-CC2D-22425C50B151}"/>
          </ac:spMkLst>
        </pc:spChg>
      </pc:sldChg>
      <pc:sldChg chg="addSp delSp modSp mod">
        <pc:chgData name="Thomas Giroux" userId="a5e6b51b-05f9-4411-bff2-2d0750f3d155" providerId="ADAL" clId="{EC7B9931-DA63-B74B-B31F-12D643B06E75}" dt="2025-02-23T19:10:00.942" v="646" actId="2711"/>
        <pc:sldMkLst>
          <pc:docMk/>
          <pc:sldMk cId="2590877607" sldId="488"/>
        </pc:sldMkLst>
        <pc:spChg chg="mod">
          <ac:chgData name="Thomas Giroux" userId="a5e6b51b-05f9-4411-bff2-2d0750f3d155" providerId="ADAL" clId="{EC7B9931-DA63-B74B-B31F-12D643B06E75}" dt="2025-02-21T21:51:35.970" v="102" actId="20577"/>
          <ac:spMkLst>
            <pc:docMk/>
            <pc:sldMk cId="2590877607" sldId="488"/>
            <ac:spMk id="2" creationId="{E9F8D7D2-52C9-EEE2-30E9-8AA764B84DEB}"/>
          </ac:spMkLst>
        </pc:spChg>
        <pc:spChg chg="mod">
          <ac:chgData name="Thomas Giroux" userId="a5e6b51b-05f9-4411-bff2-2d0750f3d155" providerId="ADAL" clId="{EC7B9931-DA63-B74B-B31F-12D643B06E75}" dt="2025-02-22T18:44:19.358" v="453" actId="20577"/>
          <ac:spMkLst>
            <pc:docMk/>
            <pc:sldMk cId="2590877607" sldId="488"/>
            <ac:spMk id="6" creationId="{A3B9CDA2-FD3A-AFE5-F500-B6E7F4B12414}"/>
          </ac:spMkLst>
        </pc:spChg>
        <pc:spChg chg="mod">
          <ac:chgData name="Thomas Giroux" userId="a5e6b51b-05f9-4411-bff2-2d0750f3d155" providerId="ADAL" clId="{EC7B9931-DA63-B74B-B31F-12D643B06E75}" dt="2025-02-23T19:07:37.263" v="640" actId="20577"/>
          <ac:spMkLst>
            <pc:docMk/>
            <pc:sldMk cId="2590877607" sldId="488"/>
            <ac:spMk id="8" creationId="{777C40CE-3D53-3AEB-22DD-6ADDAAC30835}"/>
          </ac:spMkLst>
        </pc:spChg>
        <pc:spChg chg="add del mod">
          <ac:chgData name="Thomas Giroux" userId="a5e6b51b-05f9-4411-bff2-2d0750f3d155" providerId="ADAL" clId="{EC7B9931-DA63-B74B-B31F-12D643B06E75}" dt="2025-02-23T19:09:51.729" v="644"/>
          <ac:spMkLst>
            <pc:docMk/>
            <pc:sldMk cId="2590877607" sldId="488"/>
            <ac:spMk id="12" creationId="{070E638E-55D1-0B37-03EC-E6C2829194B1}"/>
          </ac:spMkLst>
        </pc:spChg>
        <pc:graphicFrameChg chg="add mod">
          <ac:chgData name="Thomas Giroux" userId="a5e6b51b-05f9-4411-bff2-2d0750f3d155" providerId="ADAL" clId="{EC7B9931-DA63-B74B-B31F-12D643B06E75}" dt="2025-02-23T19:09:51.422" v="643"/>
          <ac:graphicFrameMkLst>
            <pc:docMk/>
            <pc:sldMk cId="2590877607" sldId="488"/>
            <ac:graphicFrameMk id="13" creationId="{2A7A0297-F7DF-D19A-42B7-091820038D56}"/>
          </ac:graphicFrameMkLst>
        </pc:graphicFrameChg>
        <pc:graphicFrameChg chg="del">
          <ac:chgData name="Thomas Giroux" userId="a5e6b51b-05f9-4411-bff2-2d0750f3d155" providerId="ADAL" clId="{EC7B9931-DA63-B74B-B31F-12D643B06E75}" dt="2025-02-23T19:09:43.299" v="641" actId="478"/>
          <ac:graphicFrameMkLst>
            <pc:docMk/>
            <pc:sldMk cId="2590877607" sldId="488"/>
            <ac:graphicFrameMk id="14" creationId="{B933B813-F59A-4F76-6451-92932A3F5CAC}"/>
          </ac:graphicFrameMkLst>
        </pc:graphicFrameChg>
        <pc:graphicFrameChg chg="add mod modGraphic">
          <ac:chgData name="Thomas Giroux" userId="a5e6b51b-05f9-4411-bff2-2d0750f3d155" providerId="ADAL" clId="{EC7B9931-DA63-B74B-B31F-12D643B06E75}" dt="2025-02-23T19:10:00.942" v="646" actId="2711"/>
          <ac:graphicFrameMkLst>
            <pc:docMk/>
            <pc:sldMk cId="2590877607" sldId="488"/>
            <ac:graphicFrameMk id="15" creationId="{B33FC8C1-F7B2-E534-8D28-D9FA5924A4B6}"/>
          </ac:graphicFrameMkLst>
        </pc:graphicFrameChg>
      </pc:sldChg>
      <pc:sldChg chg="addSp delSp modSp mod">
        <pc:chgData name="Thomas Giroux" userId="a5e6b51b-05f9-4411-bff2-2d0750f3d155" providerId="ADAL" clId="{EC7B9931-DA63-B74B-B31F-12D643B06E75}" dt="2025-02-23T15:56:38.344" v="638" actId="20577"/>
        <pc:sldMkLst>
          <pc:docMk/>
          <pc:sldMk cId="3305817542" sldId="489"/>
        </pc:sldMkLst>
        <pc:spChg chg="mod">
          <ac:chgData name="Thomas Giroux" userId="a5e6b51b-05f9-4411-bff2-2d0750f3d155" providerId="ADAL" clId="{EC7B9931-DA63-B74B-B31F-12D643B06E75}" dt="2025-02-23T15:56:38.344" v="638" actId="20577"/>
          <ac:spMkLst>
            <pc:docMk/>
            <pc:sldMk cId="3305817542" sldId="489"/>
            <ac:spMk id="3" creationId="{E458138F-D60D-D54C-01DA-E8762FCB35AB}"/>
          </ac:spMkLst>
        </pc:spChg>
        <pc:spChg chg="mod">
          <ac:chgData name="Thomas Giroux" userId="a5e6b51b-05f9-4411-bff2-2d0750f3d155" providerId="ADAL" clId="{EC7B9931-DA63-B74B-B31F-12D643B06E75}" dt="2025-02-22T18:54:32.332" v="611" actId="20577"/>
          <ac:spMkLst>
            <pc:docMk/>
            <pc:sldMk cId="3305817542" sldId="489"/>
            <ac:spMk id="6" creationId="{6424F181-9E3D-0516-BD74-056DB75977B6}"/>
          </ac:spMkLst>
        </pc:spChg>
        <pc:spChg chg="mod">
          <ac:chgData name="Thomas Giroux" userId="a5e6b51b-05f9-4411-bff2-2d0750f3d155" providerId="ADAL" clId="{EC7B9931-DA63-B74B-B31F-12D643B06E75}" dt="2025-02-22T15:55:22.856" v="303" actId="20577"/>
          <ac:spMkLst>
            <pc:docMk/>
            <pc:sldMk cId="3305817542" sldId="489"/>
            <ac:spMk id="7" creationId="{E1AB1FD3-3A07-F337-8D81-7277BC51BEC7}"/>
          </ac:spMkLst>
        </pc:spChg>
        <pc:spChg chg="add del mod">
          <ac:chgData name="Thomas Giroux" userId="a5e6b51b-05f9-4411-bff2-2d0750f3d155" providerId="ADAL" clId="{EC7B9931-DA63-B74B-B31F-12D643B06E75}" dt="2025-02-22T18:30:21.108" v="323"/>
          <ac:spMkLst>
            <pc:docMk/>
            <pc:sldMk cId="3305817542" sldId="489"/>
            <ac:spMk id="20" creationId="{A6F32272-928F-CAD2-3522-25EF305C1952}"/>
          </ac:spMkLst>
        </pc:spChg>
        <pc:spChg chg="add del mod">
          <ac:chgData name="Thomas Giroux" userId="a5e6b51b-05f9-4411-bff2-2d0750f3d155" providerId="ADAL" clId="{EC7B9931-DA63-B74B-B31F-12D643B06E75}" dt="2025-02-22T18:30:44.528" v="327"/>
          <ac:spMkLst>
            <pc:docMk/>
            <pc:sldMk cId="3305817542" sldId="489"/>
            <ac:spMk id="24" creationId="{991AFEC2-384F-F776-4229-EBF2423F8CB6}"/>
          </ac:spMkLst>
        </pc:spChg>
        <pc:spChg chg="add del mod">
          <ac:chgData name="Thomas Giroux" userId="a5e6b51b-05f9-4411-bff2-2d0750f3d155" providerId="ADAL" clId="{EC7B9931-DA63-B74B-B31F-12D643B06E75}" dt="2025-02-22T18:31:38.629" v="333"/>
          <ac:spMkLst>
            <pc:docMk/>
            <pc:sldMk cId="3305817542" sldId="489"/>
            <ac:spMk id="29" creationId="{4D9EE67B-3CDD-91F4-78A8-0E3557B5DC1B}"/>
          </ac:spMkLst>
        </pc:spChg>
        <pc:graphicFrameChg chg="add del mod modGraphic">
          <ac:chgData name="Thomas Giroux" userId="a5e6b51b-05f9-4411-bff2-2d0750f3d155" providerId="ADAL" clId="{EC7B9931-DA63-B74B-B31F-12D643B06E75}" dt="2025-02-22T18:28:03.440" v="320" actId="478"/>
          <ac:graphicFrameMkLst>
            <pc:docMk/>
            <pc:sldMk cId="3305817542" sldId="489"/>
            <ac:graphicFrameMk id="16" creationId="{007F5911-DF39-0FF3-CEE6-89CF00C266AC}"/>
          </ac:graphicFrameMkLst>
        </pc:graphicFrameChg>
        <pc:graphicFrameChg chg="add del mod modGraphic">
          <ac:chgData name="Thomas Giroux" userId="a5e6b51b-05f9-4411-bff2-2d0750f3d155" providerId="ADAL" clId="{EC7B9931-DA63-B74B-B31F-12D643B06E75}" dt="2025-02-22T18:30:28.188" v="324" actId="478"/>
          <ac:graphicFrameMkLst>
            <pc:docMk/>
            <pc:sldMk cId="3305817542" sldId="489"/>
            <ac:graphicFrameMk id="18" creationId="{BB344C59-2883-7B2E-A3A3-700718FBAE40}"/>
          </ac:graphicFrameMkLst>
        </pc:graphicFrameChg>
        <pc:graphicFrameChg chg="add mod">
          <ac:chgData name="Thomas Giroux" userId="a5e6b51b-05f9-4411-bff2-2d0750f3d155" providerId="ADAL" clId="{EC7B9931-DA63-B74B-B31F-12D643B06E75}" dt="2025-02-22T18:30:20.890" v="322"/>
          <ac:graphicFrameMkLst>
            <pc:docMk/>
            <pc:sldMk cId="3305817542" sldId="489"/>
            <ac:graphicFrameMk id="21" creationId="{D2FAEA77-989C-A4DA-EFB4-513A9EC2A822}"/>
          </ac:graphicFrameMkLst>
        </pc:graphicFrameChg>
        <pc:graphicFrameChg chg="add del mod modGraphic">
          <ac:chgData name="Thomas Giroux" userId="a5e6b51b-05f9-4411-bff2-2d0750f3d155" providerId="ADAL" clId="{EC7B9931-DA63-B74B-B31F-12D643B06E75}" dt="2025-02-22T18:31:32.829" v="330" actId="478"/>
          <ac:graphicFrameMkLst>
            <pc:docMk/>
            <pc:sldMk cId="3305817542" sldId="489"/>
            <ac:graphicFrameMk id="22" creationId="{81E1B332-B53F-27D1-9EB9-294AD569AA33}"/>
          </ac:graphicFrameMkLst>
        </pc:graphicFrameChg>
        <pc:graphicFrameChg chg="add mod">
          <ac:chgData name="Thomas Giroux" userId="a5e6b51b-05f9-4411-bff2-2d0750f3d155" providerId="ADAL" clId="{EC7B9931-DA63-B74B-B31F-12D643B06E75}" dt="2025-02-22T18:30:44.439" v="326"/>
          <ac:graphicFrameMkLst>
            <pc:docMk/>
            <pc:sldMk cId="3305817542" sldId="489"/>
            <ac:graphicFrameMk id="26" creationId="{7FCF8EF2-99B0-9EA3-6824-E19A18116995}"/>
          </ac:graphicFrameMkLst>
        </pc:graphicFrameChg>
        <pc:graphicFrameChg chg="add mod modGraphic">
          <ac:chgData name="Thomas Giroux" userId="a5e6b51b-05f9-4411-bff2-2d0750f3d155" providerId="ADAL" clId="{EC7B9931-DA63-B74B-B31F-12D643B06E75}" dt="2025-02-22T18:44:59.552" v="456" actId="14100"/>
          <ac:graphicFrameMkLst>
            <pc:docMk/>
            <pc:sldMk cId="3305817542" sldId="489"/>
            <ac:graphicFrameMk id="27" creationId="{EE13433F-6084-2E7A-78B8-CD59DF00E9D3}"/>
          </ac:graphicFrameMkLst>
        </pc:graphicFrameChg>
        <pc:graphicFrameChg chg="add mod">
          <ac:chgData name="Thomas Giroux" userId="a5e6b51b-05f9-4411-bff2-2d0750f3d155" providerId="ADAL" clId="{EC7B9931-DA63-B74B-B31F-12D643B06E75}" dt="2025-02-22T18:31:38.488" v="332"/>
          <ac:graphicFrameMkLst>
            <pc:docMk/>
            <pc:sldMk cId="3305817542" sldId="489"/>
            <ac:graphicFrameMk id="30" creationId="{45178D83-53AB-115D-AFBC-DF74FEF7FB9F}"/>
          </ac:graphicFrameMkLst>
        </pc:graphicFrameChg>
        <pc:graphicFrameChg chg="add mod">
          <ac:chgData name="Thomas Giroux" userId="a5e6b51b-05f9-4411-bff2-2d0750f3d155" providerId="ADAL" clId="{EC7B9931-DA63-B74B-B31F-12D643B06E75}" dt="2025-02-22T18:31:38.629" v="333"/>
          <ac:graphicFrameMkLst>
            <pc:docMk/>
            <pc:sldMk cId="3305817542" sldId="489"/>
            <ac:graphicFrameMk id="31" creationId="{61836F71-F1AB-E69D-1ED1-CEBF563BB49B}"/>
          </ac:graphicFrameMkLst>
        </pc:graphicFrameChg>
      </pc:sldChg>
      <pc:sldChg chg="addSp delSp modSp mod">
        <pc:chgData name="Thomas Giroux" userId="a5e6b51b-05f9-4411-bff2-2d0750f3d155" providerId="ADAL" clId="{EC7B9931-DA63-B74B-B31F-12D643B06E75}" dt="2025-02-22T18:53:17.560" v="549" actId="20577"/>
        <pc:sldMkLst>
          <pc:docMk/>
          <pc:sldMk cId="2749295762" sldId="490"/>
        </pc:sldMkLst>
        <pc:spChg chg="mod">
          <ac:chgData name="Thomas Giroux" userId="a5e6b51b-05f9-4411-bff2-2d0750f3d155" providerId="ADAL" clId="{EC7B9931-DA63-B74B-B31F-12D643B06E75}" dt="2025-02-22T18:53:17.560" v="549" actId="20577"/>
          <ac:spMkLst>
            <pc:docMk/>
            <pc:sldMk cId="2749295762" sldId="490"/>
            <ac:spMk id="7" creationId="{A0A16D61-63A7-8662-5375-A468855E2891}"/>
          </ac:spMkLst>
        </pc:spChg>
      </pc:sldChg>
      <pc:sldChg chg="modSp mod">
        <pc:chgData name="Thomas Giroux" userId="a5e6b51b-05f9-4411-bff2-2d0750f3d155" providerId="ADAL" clId="{EC7B9931-DA63-B74B-B31F-12D643B06E75}" dt="2025-02-22T18:45:48.566" v="472" actId="20577"/>
        <pc:sldMkLst>
          <pc:docMk/>
          <pc:sldMk cId="2949077002" sldId="491"/>
        </pc:sldMkLst>
        <pc:spChg chg="mod">
          <ac:chgData name="Thomas Giroux" userId="a5e6b51b-05f9-4411-bff2-2d0750f3d155" providerId="ADAL" clId="{EC7B9931-DA63-B74B-B31F-12D643B06E75}" dt="2025-02-22T18:45:48.566" v="472" actId="20577"/>
          <ac:spMkLst>
            <pc:docMk/>
            <pc:sldMk cId="2949077002" sldId="491"/>
            <ac:spMk id="15" creationId="{2DB2A952-408B-33AB-E573-43E6C2E2B3A1}"/>
          </ac:spMkLst>
        </pc:spChg>
        <pc:spChg chg="mod">
          <ac:chgData name="Thomas Giroux" userId="a5e6b51b-05f9-4411-bff2-2d0750f3d155" providerId="ADAL" clId="{EC7B9931-DA63-B74B-B31F-12D643B06E75}" dt="2025-02-22T18:45:45.352" v="469" actId="20577"/>
          <ac:spMkLst>
            <pc:docMk/>
            <pc:sldMk cId="2949077002" sldId="491"/>
            <ac:spMk id="16" creationId="{FF8C5C97-AA77-FB4D-7A6D-6245E9D507A4}"/>
          </ac:spMkLst>
        </pc:spChg>
      </pc:sldChg>
    </pc:docChg>
  </pc:docChgLst>
  <pc:docChgLst>
    <pc:chgData name="Armaan Kumar" userId="S::akuma045@uottawa.ca::a351e95c-5450-4e5f-a2d5-0f74c8f92915" providerId="AD" clId="Web-{95205561-BA79-0F3D-DD68-380D542AC335}"/>
    <pc:docChg chg="modSld">
      <pc:chgData name="Armaan Kumar" userId="S::akuma045@uottawa.ca::a351e95c-5450-4e5f-a2d5-0f74c8f92915" providerId="AD" clId="Web-{95205561-BA79-0F3D-DD68-380D542AC335}" dt="2025-02-24T18:10:17.066" v="4" actId="1076"/>
      <pc:docMkLst>
        <pc:docMk/>
      </pc:docMkLst>
      <pc:sldChg chg="modSp">
        <pc:chgData name="Armaan Kumar" userId="S::akuma045@uottawa.ca::a351e95c-5450-4e5f-a2d5-0f74c8f92915" providerId="AD" clId="Web-{95205561-BA79-0F3D-DD68-380D542AC335}" dt="2025-02-24T18:10:17.066" v="4" actId="1076"/>
        <pc:sldMkLst>
          <pc:docMk/>
          <pc:sldMk cId="364820169" sldId="487"/>
        </pc:sldMkLst>
        <pc:graphicFrameChg chg="mod">
          <ac:chgData name="Armaan Kumar" userId="S::akuma045@uottawa.ca::a351e95c-5450-4e5f-a2d5-0f74c8f92915" providerId="AD" clId="Web-{95205561-BA79-0F3D-DD68-380D542AC335}" dt="2025-02-24T18:10:17.066" v="4" actId="1076"/>
          <ac:graphicFrameMkLst>
            <pc:docMk/>
            <pc:sldMk cId="364820169" sldId="487"/>
            <ac:graphicFrameMk id="14" creationId="{CEFA03DE-4A17-6A0F-38EE-4CDEC42DC3D7}"/>
          </ac:graphicFrameMkLst>
        </pc:graphicFrameChg>
        <pc:graphicFrameChg chg="mod">
          <ac:chgData name="Armaan Kumar" userId="S::akuma045@uottawa.ca::a351e95c-5450-4e5f-a2d5-0f74c8f92915" providerId="AD" clId="Web-{95205561-BA79-0F3D-DD68-380D542AC335}" dt="2025-02-24T18:10:11.879" v="3" actId="1076"/>
          <ac:graphicFrameMkLst>
            <pc:docMk/>
            <pc:sldMk cId="364820169" sldId="487"/>
            <ac:graphicFrameMk id="20" creationId="{82FEB5FD-7296-7084-B8D1-AB70850C8A07}"/>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corey\Desktop\Graphs.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LSPD.TO%20x%20SHOP.TO.xlsx" TargetMode="Externa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1.xml"/></Relationships>
</file>

<file path=ppt/charts/_rels/chart11.xml.rels><?xml version="1.0" encoding="UTF-8" standalone="yes"?>
<Relationships xmlns="http://schemas.openxmlformats.org/package/2006/relationships"><Relationship Id="rId3" Type="http://schemas.openxmlformats.org/officeDocument/2006/relationships/oleObject" Target="file:///\\Users\thomasgiroux\Downloads\digital-payments_mobile-pos-payments_worldwide_USD_en.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_1CD_EF807C9B.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3716%20-%20Travail%20Individuel.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https://uottawa.sharepoint.com/sites/1100_365_T_Telfer_Investment_Club/Shared%20Documents/Technology,%20Media,%20Telecom,%20and%20Healthcare/2024-2025/Lightspeed%20Commerce%20-%20Winter%202024/Alumni%20Review/LSPD.TO%20x%20SHOP.TO.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https://uottawa.sharepoint.com/sites/1100_365_T_Telfer_Investment_Club/Shared%20Documents/Technology,%20Media,%20Telecom,%20and%20Healthcare/2024-2025/Lightspeed%20Commerce%20-%20Winter%202024/Alumni%20Review/LSPD.TO%20x%20SHOP.TO.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Users\corey\Desktop\Graphs.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Users\corey\Desktop\Graphs.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Users\corey\Desktop\Graphs.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1E0_AD18427A.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Users\corey\Desktop\Graphs.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Users\corey\Desktop\Graphs.xlsx" TargetMode="External"/><Relationship Id="rId2" Type="http://schemas.microsoft.com/office/2011/relationships/chartColorStyle" Target="colors21.xml"/><Relationship Id="rId1" Type="http://schemas.microsoft.com/office/2011/relationships/chartStyle" Target="style21.xml"/></Relationships>
</file>

<file path=ppt/charts/_rels/chart3.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LSPD.TO%20x%20SHOP.TO.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1E7_15BEB6C9.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_1E7_15BEB6C91.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_1E5_84087B2E.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92</c:f>
              <c:strCache>
                <c:ptCount val="1"/>
                <c:pt idx="0">
                  <c:v>Lightspeed Commerce Inc.</c:v>
                </c:pt>
              </c:strCache>
            </c:strRef>
          </c:tx>
          <c:spPr>
            <a:ln w="28575" cap="rnd">
              <a:solidFill>
                <a:srgbClr val="0F3557"/>
              </a:solidFill>
              <a:round/>
            </a:ln>
            <a:effectLst/>
          </c:spPr>
          <c:marker>
            <c:symbol val="none"/>
          </c:marker>
          <c:cat>
            <c:numRef>
              <c:f>Sheet1!$A$93:$A$1375</c:f>
              <c:numCache>
                <c:formatCode>[$-409]mmm\-dd\-yyyy;@</c:formatCode>
                <c:ptCount val="1283"/>
                <c:pt idx="0">
                  <c:v>43880</c:v>
                </c:pt>
                <c:pt idx="1">
                  <c:v>43881</c:v>
                </c:pt>
                <c:pt idx="2">
                  <c:v>43882</c:v>
                </c:pt>
                <c:pt idx="3">
                  <c:v>43885</c:v>
                </c:pt>
                <c:pt idx="4">
                  <c:v>43886</c:v>
                </c:pt>
                <c:pt idx="5">
                  <c:v>43887</c:v>
                </c:pt>
                <c:pt idx="6">
                  <c:v>43888</c:v>
                </c:pt>
                <c:pt idx="7">
                  <c:v>43889</c:v>
                </c:pt>
                <c:pt idx="8">
                  <c:v>43892</c:v>
                </c:pt>
                <c:pt idx="9">
                  <c:v>43893</c:v>
                </c:pt>
                <c:pt idx="10">
                  <c:v>43894</c:v>
                </c:pt>
                <c:pt idx="11">
                  <c:v>43895</c:v>
                </c:pt>
                <c:pt idx="12">
                  <c:v>43896</c:v>
                </c:pt>
                <c:pt idx="13">
                  <c:v>43899</c:v>
                </c:pt>
                <c:pt idx="14">
                  <c:v>43900</c:v>
                </c:pt>
                <c:pt idx="15">
                  <c:v>43901</c:v>
                </c:pt>
                <c:pt idx="16">
                  <c:v>43902</c:v>
                </c:pt>
                <c:pt idx="17">
                  <c:v>43903</c:v>
                </c:pt>
                <c:pt idx="18">
                  <c:v>43906</c:v>
                </c:pt>
                <c:pt idx="19">
                  <c:v>43907</c:v>
                </c:pt>
                <c:pt idx="20">
                  <c:v>43908</c:v>
                </c:pt>
                <c:pt idx="21">
                  <c:v>43909</c:v>
                </c:pt>
                <c:pt idx="22">
                  <c:v>43910</c:v>
                </c:pt>
                <c:pt idx="23">
                  <c:v>43913</c:v>
                </c:pt>
                <c:pt idx="24">
                  <c:v>43914</c:v>
                </c:pt>
                <c:pt idx="25">
                  <c:v>43915</c:v>
                </c:pt>
                <c:pt idx="26">
                  <c:v>43916</c:v>
                </c:pt>
                <c:pt idx="27">
                  <c:v>43917</c:v>
                </c:pt>
                <c:pt idx="28">
                  <c:v>43920</c:v>
                </c:pt>
                <c:pt idx="29">
                  <c:v>43921</c:v>
                </c:pt>
                <c:pt idx="30">
                  <c:v>43922</c:v>
                </c:pt>
                <c:pt idx="31">
                  <c:v>43923</c:v>
                </c:pt>
                <c:pt idx="32">
                  <c:v>43924</c:v>
                </c:pt>
                <c:pt idx="33">
                  <c:v>43927</c:v>
                </c:pt>
                <c:pt idx="34">
                  <c:v>43928</c:v>
                </c:pt>
                <c:pt idx="35">
                  <c:v>43929</c:v>
                </c:pt>
                <c:pt idx="36">
                  <c:v>43930</c:v>
                </c:pt>
                <c:pt idx="37">
                  <c:v>43934</c:v>
                </c:pt>
                <c:pt idx="38">
                  <c:v>43935</c:v>
                </c:pt>
                <c:pt idx="39">
                  <c:v>43936</c:v>
                </c:pt>
                <c:pt idx="40">
                  <c:v>43937</c:v>
                </c:pt>
                <c:pt idx="41">
                  <c:v>43938</c:v>
                </c:pt>
                <c:pt idx="42">
                  <c:v>43941</c:v>
                </c:pt>
                <c:pt idx="43">
                  <c:v>43942</c:v>
                </c:pt>
                <c:pt idx="44">
                  <c:v>43943</c:v>
                </c:pt>
                <c:pt idx="45">
                  <c:v>43944</c:v>
                </c:pt>
                <c:pt idx="46">
                  <c:v>43945</c:v>
                </c:pt>
                <c:pt idx="47">
                  <c:v>43948</c:v>
                </c:pt>
                <c:pt idx="48">
                  <c:v>43949</c:v>
                </c:pt>
                <c:pt idx="49">
                  <c:v>43950</c:v>
                </c:pt>
                <c:pt idx="50">
                  <c:v>43951</c:v>
                </c:pt>
                <c:pt idx="51">
                  <c:v>43952</c:v>
                </c:pt>
                <c:pt idx="52">
                  <c:v>43955</c:v>
                </c:pt>
                <c:pt idx="53">
                  <c:v>43956</c:v>
                </c:pt>
                <c:pt idx="54">
                  <c:v>43957</c:v>
                </c:pt>
                <c:pt idx="55">
                  <c:v>43958</c:v>
                </c:pt>
                <c:pt idx="56">
                  <c:v>43959</c:v>
                </c:pt>
                <c:pt idx="57">
                  <c:v>43962</c:v>
                </c:pt>
                <c:pt idx="58">
                  <c:v>43963</c:v>
                </c:pt>
                <c:pt idx="59">
                  <c:v>43964</c:v>
                </c:pt>
                <c:pt idx="60">
                  <c:v>43965</c:v>
                </c:pt>
                <c:pt idx="61">
                  <c:v>43966</c:v>
                </c:pt>
                <c:pt idx="62">
                  <c:v>43969</c:v>
                </c:pt>
                <c:pt idx="63">
                  <c:v>43970</c:v>
                </c:pt>
                <c:pt idx="64">
                  <c:v>43971</c:v>
                </c:pt>
                <c:pt idx="65">
                  <c:v>43972</c:v>
                </c:pt>
                <c:pt idx="66">
                  <c:v>43973</c:v>
                </c:pt>
                <c:pt idx="67">
                  <c:v>43976</c:v>
                </c:pt>
                <c:pt idx="68">
                  <c:v>43977</c:v>
                </c:pt>
                <c:pt idx="69">
                  <c:v>43978</c:v>
                </c:pt>
                <c:pt idx="70">
                  <c:v>43979</c:v>
                </c:pt>
                <c:pt idx="71">
                  <c:v>43980</c:v>
                </c:pt>
                <c:pt idx="72">
                  <c:v>43983</c:v>
                </c:pt>
                <c:pt idx="73">
                  <c:v>43984</c:v>
                </c:pt>
                <c:pt idx="74">
                  <c:v>43985</c:v>
                </c:pt>
                <c:pt idx="75">
                  <c:v>43986</c:v>
                </c:pt>
                <c:pt idx="76">
                  <c:v>43987</c:v>
                </c:pt>
                <c:pt idx="77">
                  <c:v>43990</c:v>
                </c:pt>
                <c:pt idx="78">
                  <c:v>43991</c:v>
                </c:pt>
                <c:pt idx="79">
                  <c:v>43992</c:v>
                </c:pt>
                <c:pt idx="80">
                  <c:v>43993</c:v>
                </c:pt>
                <c:pt idx="81">
                  <c:v>43994</c:v>
                </c:pt>
                <c:pt idx="82">
                  <c:v>43997</c:v>
                </c:pt>
                <c:pt idx="83">
                  <c:v>43998</c:v>
                </c:pt>
                <c:pt idx="84">
                  <c:v>43999</c:v>
                </c:pt>
                <c:pt idx="85">
                  <c:v>44000</c:v>
                </c:pt>
                <c:pt idx="86">
                  <c:v>44001</c:v>
                </c:pt>
                <c:pt idx="87">
                  <c:v>44004</c:v>
                </c:pt>
                <c:pt idx="88">
                  <c:v>44005</c:v>
                </c:pt>
                <c:pt idx="89">
                  <c:v>44006</c:v>
                </c:pt>
                <c:pt idx="90">
                  <c:v>44007</c:v>
                </c:pt>
                <c:pt idx="91">
                  <c:v>44008</c:v>
                </c:pt>
                <c:pt idx="92">
                  <c:v>44011</c:v>
                </c:pt>
                <c:pt idx="93">
                  <c:v>44012</c:v>
                </c:pt>
                <c:pt idx="94">
                  <c:v>44013</c:v>
                </c:pt>
                <c:pt idx="95">
                  <c:v>44014</c:v>
                </c:pt>
                <c:pt idx="96">
                  <c:v>44015</c:v>
                </c:pt>
                <c:pt idx="97">
                  <c:v>44018</c:v>
                </c:pt>
                <c:pt idx="98">
                  <c:v>44019</c:v>
                </c:pt>
                <c:pt idx="99">
                  <c:v>44020</c:v>
                </c:pt>
                <c:pt idx="100">
                  <c:v>44021</c:v>
                </c:pt>
                <c:pt idx="101">
                  <c:v>44022</c:v>
                </c:pt>
                <c:pt idx="102">
                  <c:v>44025</c:v>
                </c:pt>
                <c:pt idx="103">
                  <c:v>44026</c:v>
                </c:pt>
                <c:pt idx="104">
                  <c:v>44027</c:v>
                </c:pt>
                <c:pt idx="105">
                  <c:v>44028</c:v>
                </c:pt>
                <c:pt idx="106">
                  <c:v>44029</c:v>
                </c:pt>
                <c:pt idx="107">
                  <c:v>44032</c:v>
                </c:pt>
                <c:pt idx="108">
                  <c:v>44033</c:v>
                </c:pt>
                <c:pt idx="109">
                  <c:v>44034</c:v>
                </c:pt>
                <c:pt idx="110">
                  <c:v>44035</c:v>
                </c:pt>
                <c:pt idx="111">
                  <c:v>44036</c:v>
                </c:pt>
                <c:pt idx="112">
                  <c:v>44039</c:v>
                </c:pt>
                <c:pt idx="113">
                  <c:v>44040</c:v>
                </c:pt>
                <c:pt idx="114">
                  <c:v>44041</c:v>
                </c:pt>
                <c:pt idx="115">
                  <c:v>44042</c:v>
                </c:pt>
                <c:pt idx="116">
                  <c:v>44043</c:v>
                </c:pt>
                <c:pt idx="117">
                  <c:v>44046</c:v>
                </c:pt>
                <c:pt idx="118">
                  <c:v>44047</c:v>
                </c:pt>
                <c:pt idx="119">
                  <c:v>44048</c:v>
                </c:pt>
                <c:pt idx="120">
                  <c:v>44049</c:v>
                </c:pt>
                <c:pt idx="121">
                  <c:v>44050</c:v>
                </c:pt>
                <c:pt idx="122">
                  <c:v>44053</c:v>
                </c:pt>
                <c:pt idx="123">
                  <c:v>44054</c:v>
                </c:pt>
                <c:pt idx="124">
                  <c:v>44055</c:v>
                </c:pt>
                <c:pt idx="125">
                  <c:v>44056</c:v>
                </c:pt>
                <c:pt idx="126">
                  <c:v>44057</c:v>
                </c:pt>
                <c:pt idx="127">
                  <c:v>44060</c:v>
                </c:pt>
                <c:pt idx="128">
                  <c:v>44061</c:v>
                </c:pt>
                <c:pt idx="129">
                  <c:v>44062</c:v>
                </c:pt>
                <c:pt idx="130">
                  <c:v>44063</c:v>
                </c:pt>
                <c:pt idx="131">
                  <c:v>44064</c:v>
                </c:pt>
                <c:pt idx="132">
                  <c:v>44067</c:v>
                </c:pt>
                <c:pt idx="133">
                  <c:v>44068</c:v>
                </c:pt>
                <c:pt idx="134">
                  <c:v>44069</c:v>
                </c:pt>
                <c:pt idx="135">
                  <c:v>44070</c:v>
                </c:pt>
                <c:pt idx="136">
                  <c:v>44071</c:v>
                </c:pt>
                <c:pt idx="137">
                  <c:v>44074</c:v>
                </c:pt>
                <c:pt idx="138">
                  <c:v>44075</c:v>
                </c:pt>
                <c:pt idx="139">
                  <c:v>44076</c:v>
                </c:pt>
                <c:pt idx="140">
                  <c:v>44077</c:v>
                </c:pt>
                <c:pt idx="141">
                  <c:v>44078</c:v>
                </c:pt>
                <c:pt idx="142">
                  <c:v>44082</c:v>
                </c:pt>
                <c:pt idx="143">
                  <c:v>44083</c:v>
                </c:pt>
                <c:pt idx="144">
                  <c:v>44084</c:v>
                </c:pt>
                <c:pt idx="145">
                  <c:v>44085</c:v>
                </c:pt>
                <c:pt idx="146">
                  <c:v>44088</c:v>
                </c:pt>
                <c:pt idx="147">
                  <c:v>44089</c:v>
                </c:pt>
                <c:pt idx="148">
                  <c:v>44090</c:v>
                </c:pt>
                <c:pt idx="149">
                  <c:v>44091</c:v>
                </c:pt>
                <c:pt idx="150">
                  <c:v>44092</c:v>
                </c:pt>
                <c:pt idx="151">
                  <c:v>44095</c:v>
                </c:pt>
                <c:pt idx="152">
                  <c:v>44096</c:v>
                </c:pt>
                <c:pt idx="153">
                  <c:v>44097</c:v>
                </c:pt>
                <c:pt idx="154">
                  <c:v>44098</c:v>
                </c:pt>
                <c:pt idx="155">
                  <c:v>44099</c:v>
                </c:pt>
                <c:pt idx="156">
                  <c:v>44102</c:v>
                </c:pt>
                <c:pt idx="157">
                  <c:v>44103</c:v>
                </c:pt>
                <c:pt idx="158">
                  <c:v>44104</c:v>
                </c:pt>
                <c:pt idx="159">
                  <c:v>44105</c:v>
                </c:pt>
                <c:pt idx="160">
                  <c:v>44106</c:v>
                </c:pt>
                <c:pt idx="161">
                  <c:v>44109</c:v>
                </c:pt>
                <c:pt idx="162">
                  <c:v>44110</c:v>
                </c:pt>
                <c:pt idx="163">
                  <c:v>44111</c:v>
                </c:pt>
                <c:pt idx="164">
                  <c:v>44112</c:v>
                </c:pt>
                <c:pt idx="165">
                  <c:v>44113</c:v>
                </c:pt>
                <c:pt idx="166">
                  <c:v>44116</c:v>
                </c:pt>
                <c:pt idx="167">
                  <c:v>44117</c:v>
                </c:pt>
                <c:pt idx="168">
                  <c:v>44118</c:v>
                </c:pt>
                <c:pt idx="169">
                  <c:v>44119</c:v>
                </c:pt>
                <c:pt idx="170">
                  <c:v>44120</c:v>
                </c:pt>
                <c:pt idx="171">
                  <c:v>44123</c:v>
                </c:pt>
                <c:pt idx="172">
                  <c:v>44124</c:v>
                </c:pt>
                <c:pt idx="173">
                  <c:v>44125</c:v>
                </c:pt>
                <c:pt idx="174">
                  <c:v>44126</c:v>
                </c:pt>
                <c:pt idx="175">
                  <c:v>44127</c:v>
                </c:pt>
                <c:pt idx="176">
                  <c:v>44130</c:v>
                </c:pt>
                <c:pt idx="177">
                  <c:v>44131</c:v>
                </c:pt>
                <c:pt idx="178">
                  <c:v>44132</c:v>
                </c:pt>
                <c:pt idx="179">
                  <c:v>44133</c:v>
                </c:pt>
                <c:pt idx="180">
                  <c:v>44134</c:v>
                </c:pt>
                <c:pt idx="181">
                  <c:v>44137</c:v>
                </c:pt>
                <c:pt idx="182">
                  <c:v>44138</c:v>
                </c:pt>
                <c:pt idx="183">
                  <c:v>44139</c:v>
                </c:pt>
                <c:pt idx="184">
                  <c:v>44140</c:v>
                </c:pt>
                <c:pt idx="185">
                  <c:v>44141</c:v>
                </c:pt>
                <c:pt idx="186">
                  <c:v>44144</c:v>
                </c:pt>
                <c:pt idx="187">
                  <c:v>44145</c:v>
                </c:pt>
                <c:pt idx="188">
                  <c:v>44146</c:v>
                </c:pt>
                <c:pt idx="189">
                  <c:v>44147</c:v>
                </c:pt>
                <c:pt idx="190">
                  <c:v>44148</c:v>
                </c:pt>
                <c:pt idx="191">
                  <c:v>44151</c:v>
                </c:pt>
                <c:pt idx="192">
                  <c:v>44152</c:v>
                </c:pt>
                <c:pt idx="193">
                  <c:v>44153</c:v>
                </c:pt>
                <c:pt idx="194">
                  <c:v>44154</c:v>
                </c:pt>
                <c:pt idx="195">
                  <c:v>44155</c:v>
                </c:pt>
                <c:pt idx="196">
                  <c:v>44158</c:v>
                </c:pt>
                <c:pt idx="197">
                  <c:v>44159</c:v>
                </c:pt>
                <c:pt idx="198">
                  <c:v>44160</c:v>
                </c:pt>
                <c:pt idx="199">
                  <c:v>44161</c:v>
                </c:pt>
                <c:pt idx="200">
                  <c:v>44162</c:v>
                </c:pt>
                <c:pt idx="201">
                  <c:v>44165</c:v>
                </c:pt>
                <c:pt idx="202">
                  <c:v>44166</c:v>
                </c:pt>
                <c:pt idx="203">
                  <c:v>44167</c:v>
                </c:pt>
                <c:pt idx="204">
                  <c:v>44168</c:v>
                </c:pt>
                <c:pt idx="205">
                  <c:v>44169</c:v>
                </c:pt>
                <c:pt idx="206">
                  <c:v>44172</c:v>
                </c:pt>
                <c:pt idx="207">
                  <c:v>44173</c:v>
                </c:pt>
                <c:pt idx="208">
                  <c:v>44174</c:v>
                </c:pt>
                <c:pt idx="209">
                  <c:v>44175</c:v>
                </c:pt>
                <c:pt idx="210">
                  <c:v>44176</c:v>
                </c:pt>
                <c:pt idx="211">
                  <c:v>44179</c:v>
                </c:pt>
                <c:pt idx="212">
                  <c:v>44180</c:v>
                </c:pt>
                <c:pt idx="213">
                  <c:v>44181</c:v>
                </c:pt>
                <c:pt idx="214">
                  <c:v>44182</c:v>
                </c:pt>
                <c:pt idx="215">
                  <c:v>44183</c:v>
                </c:pt>
                <c:pt idx="216">
                  <c:v>44186</c:v>
                </c:pt>
                <c:pt idx="217">
                  <c:v>44187</c:v>
                </c:pt>
                <c:pt idx="218">
                  <c:v>44188</c:v>
                </c:pt>
                <c:pt idx="219">
                  <c:v>44189</c:v>
                </c:pt>
                <c:pt idx="220">
                  <c:v>44193</c:v>
                </c:pt>
                <c:pt idx="221">
                  <c:v>44194</c:v>
                </c:pt>
                <c:pt idx="222">
                  <c:v>44195</c:v>
                </c:pt>
                <c:pt idx="223">
                  <c:v>44196</c:v>
                </c:pt>
                <c:pt idx="224">
                  <c:v>44200</c:v>
                </c:pt>
                <c:pt idx="225">
                  <c:v>44201</c:v>
                </c:pt>
                <c:pt idx="226">
                  <c:v>44202</c:v>
                </c:pt>
                <c:pt idx="227">
                  <c:v>44203</c:v>
                </c:pt>
                <c:pt idx="228">
                  <c:v>44204</c:v>
                </c:pt>
                <c:pt idx="229">
                  <c:v>44207</c:v>
                </c:pt>
                <c:pt idx="230">
                  <c:v>44208</c:v>
                </c:pt>
                <c:pt idx="231">
                  <c:v>44209</c:v>
                </c:pt>
                <c:pt idx="232">
                  <c:v>44210</c:v>
                </c:pt>
                <c:pt idx="233">
                  <c:v>44211</c:v>
                </c:pt>
                <c:pt idx="234">
                  <c:v>44214</c:v>
                </c:pt>
                <c:pt idx="235">
                  <c:v>44215</c:v>
                </c:pt>
                <c:pt idx="236">
                  <c:v>44216</c:v>
                </c:pt>
                <c:pt idx="237">
                  <c:v>44217</c:v>
                </c:pt>
                <c:pt idx="238">
                  <c:v>44218</c:v>
                </c:pt>
                <c:pt idx="239">
                  <c:v>44221</c:v>
                </c:pt>
                <c:pt idx="240">
                  <c:v>44222</c:v>
                </c:pt>
                <c:pt idx="241">
                  <c:v>44223</c:v>
                </c:pt>
                <c:pt idx="242">
                  <c:v>44224</c:v>
                </c:pt>
                <c:pt idx="243">
                  <c:v>44225</c:v>
                </c:pt>
                <c:pt idx="244">
                  <c:v>44228</c:v>
                </c:pt>
                <c:pt idx="245">
                  <c:v>44229</c:v>
                </c:pt>
                <c:pt idx="246">
                  <c:v>44230</c:v>
                </c:pt>
                <c:pt idx="247">
                  <c:v>44231</c:v>
                </c:pt>
                <c:pt idx="248">
                  <c:v>44232</c:v>
                </c:pt>
                <c:pt idx="249">
                  <c:v>44235</c:v>
                </c:pt>
                <c:pt idx="250">
                  <c:v>44236</c:v>
                </c:pt>
                <c:pt idx="251">
                  <c:v>44237</c:v>
                </c:pt>
                <c:pt idx="252">
                  <c:v>44238</c:v>
                </c:pt>
                <c:pt idx="253">
                  <c:v>44239</c:v>
                </c:pt>
                <c:pt idx="254">
                  <c:v>44243</c:v>
                </c:pt>
                <c:pt idx="255">
                  <c:v>44244</c:v>
                </c:pt>
                <c:pt idx="256">
                  <c:v>44245</c:v>
                </c:pt>
                <c:pt idx="257">
                  <c:v>44246</c:v>
                </c:pt>
                <c:pt idx="258">
                  <c:v>44249</c:v>
                </c:pt>
                <c:pt idx="259">
                  <c:v>44250</c:v>
                </c:pt>
                <c:pt idx="260">
                  <c:v>44251</c:v>
                </c:pt>
                <c:pt idx="261">
                  <c:v>44252</c:v>
                </c:pt>
                <c:pt idx="262">
                  <c:v>44253</c:v>
                </c:pt>
                <c:pt idx="263">
                  <c:v>44256</c:v>
                </c:pt>
                <c:pt idx="264">
                  <c:v>44257</c:v>
                </c:pt>
                <c:pt idx="265">
                  <c:v>44258</c:v>
                </c:pt>
                <c:pt idx="266">
                  <c:v>44259</c:v>
                </c:pt>
                <c:pt idx="267">
                  <c:v>44260</c:v>
                </c:pt>
                <c:pt idx="268">
                  <c:v>44263</c:v>
                </c:pt>
                <c:pt idx="269">
                  <c:v>44264</c:v>
                </c:pt>
                <c:pt idx="270">
                  <c:v>44265</c:v>
                </c:pt>
                <c:pt idx="271">
                  <c:v>44266</c:v>
                </c:pt>
                <c:pt idx="272">
                  <c:v>44267</c:v>
                </c:pt>
                <c:pt idx="273">
                  <c:v>44270</c:v>
                </c:pt>
                <c:pt idx="274">
                  <c:v>44271</c:v>
                </c:pt>
                <c:pt idx="275">
                  <c:v>44272</c:v>
                </c:pt>
                <c:pt idx="276">
                  <c:v>44273</c:v>
                </c:pt>
                <c:pt idx="277">
                  <c:v>44274</c:v>
                </c:pt>
                <c:pt idx="278">
                  <c:v>44277</c:v>
                </c:pt>
                <c:pt idx="279">
                  <c:v>44278</c:v>
                </c:pt>
                <c:pt idx="280">
                  <c:v>44279</c:v>
                </c:pt>
                <c:pt idx="281">
                  <c:v>44280</c:v>
                </c:pt>
                <c:pt idx="282">
                  <c:v>44281</c:v>
                </c:pt>
                <c:pt idx="283">
                  <c:v>44284</c:v>
                </c:pt>
                <c:pt idx="284">
                  <c:v>44285</c:v>
                </c:pt>
                <c:pt idx="285">
                  <c:v>44286</c:v>
                </c:pt>
                <c:pt idx="286">
                  <c:v>44287</c:v>
                </c:pt>
                <c:pt idx="287">
                  <c:v>44291</c:v>
                </c:pt>
                <c:pt idx="288">
                  <c:v>44292</c:v>
                </c:pt>
                <c:pt idx="289">
                  <c:v>44293</c:v>
                </c:pt>
                <c:pt idx="290">
                  <c:v>44294</c:v>
                </c:pt>
                <c:pt idx="291">
                  <c:v>44295</c:v>
                </c:pt>
                <c:pt idx="292">
                  <c:v>44298</c:v>
                </c:pt>
                <c:pt idx="293">
                  <c:v>44299</c:v>
                </c:pt>
                <c:pt idx="294">
                  <c:v>44300</c:v>
                </c:pt>
                <c:pt idx="295">
                  <c:v>44301</c:v>
                </c:pt>
                <c:pt idx="296">
                  <c:v>44302</c:v>
                </c:pt>
                <c:pt idx="297">
                  <c:v>44305</c:v>
                </c:pt>
                <c:pt idx="298">
                  <c:v>44306</c:v>
                </c:pt>
                <c:pt idx="299">
                  <c:v>44307</c:v>
                </c:pt>
                <c:pt idx="300">
                  <c:v>44308</c:v>
                </c:pt>
                <c:pt idx="301">
                  <c:v>44309</c:v>
                </c:pt>
                <c:pt idx="302">
                  <c:v>44312</c:v>
                </c:pt>
                <c:pt idx="303">
                  <c:v>44313</c:v>
                </c:pt>
                <c:pt idx="304">
                  <c:v>44314</c:v>
                </c:pt>
                <c:pt idx="305">
                  <c:v>44315</c:v>
                </c:pt>
                <c:pt idx="306">
                  <c:v>44316</c:v>
                </c:pt>
                <c:pt idx="307">
                  <c:v>44319</c:v>
                </c:pt>
                <c:pt idx="308">
                  <c:v>44320</c:v>
                </c:pt>
                <c:pt idx="309">
                  <c:v>44321</c:v>
                </c:pt>
                <c:pt idx="310">
                  <c:v>44322</c:v>
                </c:pt>
                <c:pt idx="311">
                  <c:v>44323</c:v>
                </c:pt>
                <c:pt idx="312">
                  <c:v>44326</c:v>
                </c:pt>
                <c:pt idx="313">
                  <c:v>44327</c:v>
                </c:pt>
                <c:pt idx="314">
                  <c:v>44328</c:v>
                </c:pt>
                <c:pt idx="315">
                  <c:v>44329</c:v>
                </c:pt>
                <c:pt idx="316">
                  <c:v>44330</c:v>
                </c:pt>
                <c:pt idx="317">
                  <c:v>44333</c:v>
                </c:pt>
                <c:pt idx="318">
                  <c:v>44334</c:v>
                </c:pt>
                <c:pt idx="319">
                  <c:v>44335</c:v>
                </c:pt>
                <c:pt idx="320">
                  <c:v>44336</c:v>
                </c:pt>
                <c:pt idx="321">
                  <c:v>44337</c:v>
                </c:pt>
                <c:pt idx="322">
                  <c:v>44340</c:v>
                </c:pt>
                <c:pt idx="323">
                  <c:v>44341</c:v>
                </c:pt>
                <c:pt idx="324">
                  <c:v>44342</c:v>
                </c:pt>
                <c:pt idx="325">
                  <c:v>44343</c:v>
                </c:pt>
                <c:pt idx="326">
                  <c:v>44344</c:v>
                </c:pt>
                <c:pt idx="327">
                  <c:v>44347</c:v>
                </c:pt>
                <c:pt idx="328">
                  <c:v>44348</c:v>
                </c:pt>
                <c:pt idx="329">
                  <c:v>44349</c:v>
                </c:pt>
                <c:pt idx="330">
                  <c:v>44350</c:v>
                </c:pt>
                <c:pt idx="331">
                  <c:v>44351</c:v>
                </c:pt>
                <c:pt idx="332">
                  <c:v>44354</c:v>
                </c:pt>
                <c:pt idx="333">
                  <c:v>44355</c:v>
                </c:pt>
                <c:pt idx="334">
                  <c:v>44356</c:v>
                </c:pt>
                <c:pt idx="335">
                  <c:v>44357</c:v>
                </c:pt>
                <c:pt idx="336">
                  <c:v>44358</c:v>
                </c:pt>
                <c:pt idx="337">
                  <c:v>44361</c:v>
                </c:pt>
                <c:pt idx="338">
                  <c:v>44362</c:v>
                </c:pt>
                <c:pt idx="339">
                  <c:v>44363</c:v>
                </c:pt>
                <c:pt idx="340">
                  <c:v>44364</c:v>
                </c:pt>
                <c:pt idx="341">
                  <c:v>44365</c:v>
                </c:pt>
                <c:pt idx="342">
                  <c:v>44368</c:v>
                </c:pt>
                <c:pt idx="343">
                  <c:v>44369</c:v>
                </c:pt>
                <c:pt idx="344">
                  <c:v>44370</c:v>
                </c:pt>
                <c:pt idx="345">
                  <c:v>44371</c:v>
                </c:pt>
                <c:pt idx="346">
                  <c:v>44372</c:v>
                </c:pt>
                <c:pt idx="347">
                  <c:v>44375</c:v>
                </c:pt>
                <c:pt idx="348">
                  <c:v>44376</c:v>
                </c:pt>
                <c:pt idx="349">
                  <c:v>44377</c:v>
                </c:pt>
                <c:pt idx="350">
                  <c:v>44378</c:v>
                </c:pt>
                <c:pt idx="351">
                  <c:v>44379</c:v>
                </c:pt>
                <c:pt idx="352">
                  <c:v>44382</c:v>
                </c:pt>
                <c:pt idx="353">
                  <c:v>44383</c:v>
                </c:pt>
                <c:pt idx="354">
                  <c:v>44384</c:v>
                </c:pt>
                <c:pt idx="355">
                  <c:v>44385</c:v>
                </c:pt>
                <c:pt idx="356">
                  <c:v>44386</c:v>
                </c:pt>
                <c:pt idx="357">
                  <c:v>44389</c:v>
                </c:pt>
                <c:pt idx="358">
                  <c:v>44390</c:v>
                </c:pt>
                <c:pt idx="359">
                  <c:v>44391</c:v>
                </c:pt>
                <c:pt idx="360">
                  <c:v>44392</c:v>
                </c:pt>
                <c:pt idx="361">
                  <c:v>44393</c:v>
                </c:pt>
                <c:pt idx="362">
                  <c:v>44396</c:v>
                </c:pt>
                <c:pt idx="363">
                  <c:v>44397</c:v>
                </c:pt>
                <c:pt idx="364">
                  <c:v>44398</c:v>
                </c:pt>
                <c:pt idx="365">
                  <c:v>44399</c:v>
                </c:pt>
                <c:pt idx="366">
                  <c:v>44400</c:v>
                </c:pt>
                <c:pt idx="367">
                  <c:v>44403</c:v>
                </c:pt>
                <c:pt idx="368">
                  <c:v>44404</c:v>
                </c:pt>
                <c:pt idx="369">
                  <c:v>44405</c:v>
                </c:pt>
                <c:pt idx="370">
                  <c:v>44406</c:v>
                </c:pt>
                <c:pt idx="371">
                  <c:v>44407</c:v>
                </c:pt>
                <c:pt idx="372">
                  <c:v>44410</c:v>
                </c:pt>
                <c:pt idx="373">
                  <c:v>44411</c:v>
                </c:pt>
                <c:pt idx="374">
                  <c:v>44412</c:v>
                </c:pt>
                <c:pt idx="375">
                  <c:v>44413</c:v>
                </c:pt>
                <c:pt idx="376">
                  <c:v>44414</c:v>
                </c:pt>
                <c:pt idx="377">
                  <c:v>44417</c:v>
                </c:pt>
                <c:pt idx="378">
                  <c:v>44418</c:v>
                </c:pt>
                <c:pt idx="379">
                  <c:v>44419</c:v>
                </c:pt>
                <c:pt idx="380">
                  <c:v>44420</c:v>
                </c:pt>
                <c:pt idx="381">
                  <c:v>44421</c:v>
                </c:pt>
                <c:pt idx="382">
                  <c:v>44424</c:v>
                </c:pt>
                <c:pt idx="383">
                  <c:v>44425</c:v>
                </c:pt>
                <c:pt idx="384">
                  <c:v>44426</c:v>
                </c:pt>
                <c:pt idx="385">
                  <c:v>44427</c:v>
                </c:pt>
                <c:pt idx="386">
                  <c:v>44428</c:v>
                </c:pt>
                <c:pt idx="387">
                  <c:v>44431</c:v>
                </c:pt>
                <c:pt idx="388">
                  <c:v>44432</c:v>
                </c:pt>
                <c:pt idx="389">
                  <c:v>44433</c:v>
                </c:pt>
                <c:pt idx="390">
                  <c:v>44434</c:v>
                </c:pt>
                <c:pt idx="391">
                  <c:v>44435</c:v>
                </c:pt>
                <c:pt idx="392">
                  <c:v>44438</c:v>
                </c:pt>
                <c:pt idx="393">
                  <c:v>44439</c:v>
                </c:pt>
                <c:pt idx="394">
                  <c:v>44440</c:v>
                </c:pt>
                <c:pt idx="395">
                  <c:v>44441</c:v>
                </c:pt>
                <c:pt idx="396">
                  <c:v>44442</c:v>
                </c:pt>
                <c:pt idx="397">
                  <c:v>44446</c:v>
                </c:pt>
                <c:pt idx="398">
                  <c:v>44447</c:v>
                </c:pt>
                <c:pt idx="399">
                  <c:v>44448</c:v>
                </c:pt>
                <c:pt idx="400">
                  <c:v>44449</c:v>
                </c:pt>
                <c:pt idx="401">
                  <c:v>44452</c:v>
                </c:pt>
                <c:pt idx="402">
                  <c:v>44453</c:v>
                </c:pt>
                <c:pt idx="403">
                  <c:v>44454</c:v>
                </c:pt>
                <c:pt idx="404">
                  <c:v>44455</c:v>
                </c:pt>
                <c:pt idx="405">
                  <c:v>44456</c:v>
                </c:pt>
                <c:pt idx="406">
                  <c:v>44459</c:v>
                </c:pt>
                <c:pt idx="407">
                  <c:v>44460</c:v>
                </c:pt>
                <c:pt idx="408">
                  <c:v>44461</c:v>
                </c:pt>
                <c:pt idx="409">
                  <c:v>44462</c:v>
                </c:pt>
                <c:pt idx="410">
                  <c:v>44463</c:v>
                </c:pt>
                <c:pt idx="411">
                  <c:v>44466</c:v>
                </c:pt>
                <c:pt idx="412">
                  <c:v>44467</c:v>
                </c:pt>
                <c:pt idx="413">
                  <c:v>44468</c:v>
                </c:pt>
                <c:pt idx="414">
                  <c:v>44469</c:v>
                </c:pt>
                <c:pt idx="415">
                  <c:v>44470</c:v>
                </c:pt>
                <c:pt idx="416">
                  <c:v>44473</c:v>
                </c:pt>
                <c:pt idx="417">
                  <c:v>44474</c:v>
                </c:pt>
                <c:pt idx="418">
                  <c:v>44475</c:v>
                </c:pt>
                <c:pt idx="419">
                  <c:v>44476</c:v>
                </c:pt>
                <c:pt idx="420">
                  <c:v>44477</c:v>
                </c:pt>
                <c:pt idx="421">
                  <c:v>44480</c:v>
                </c:pt>
                <c:pt idx="422">
                  <c:v>44481</c:v>
                </c:pt>
                <c:pt idx="423">
                  <c:v>44482</c:v>
                </c:pt>
                <c:pt idx="424">
                  <c:v>44483</c:v>
                </c:pt>
                <c:pt idx="425">
                  <c:v>44484</c:v>
                </c:pt>
                <c:pt idx="426">
                  <c:v>44487</c:v>
                </c:pt>
                <c:pt idx="427">
                  <c:v>44488</c:v>
                </c:pt>
                <c:pt idx="428">
                  <c:v>44489</c:v>
                </c:pt>
                <c:pt idx="429">
                  <c:v>44490</c:v>
                </c:pt>
                <c:pt idx="430">
                  <c:v>44491</c:v>
                </c:pt>
                <c:pt idx="431">
                  <c:v>44494</c:v>
                </c:pt>
                <c:pt idx="432">
                  <c:v>44495</c:v>
                </c:pt>
                <c:pt idx="433">
                  <c:v>44496</c:v>
                </c:pt>
                <c:pt idx="434">
                  <c:v>44497</c:v>
                </c:pt>
                <c:pt idx="435">
                  <c:v>44498</c:v>
                </c:pt>
                <c:pt idx="436">
                  <c:v>44501</c:v>
                </c:pt>
                <c:pt idx="437">
                  <c:v>44502</c:v>
                </c:pt>
                <c:pt idx="438">
                  <c:v>44503</c:v>
                </c:pt>
                <c:pt idx="439">
                  <c:v>44504</c:v>
                </c:pt>
                <c:pt idx="440">
                  <c:v>44505</c:v>
                </c:pt>
                <c:pt idx="441">
                  <c:v>44508</c:v>
                </c:pt>
                <c:pt idx="442">
                  <c:v>44509</c:v>
                </c:pt>
                <c:pt idx="443">
                  <c:v>44510</c:v>
                </c:pt>
                <c:pt idx="444">
                  <c:v>44511</c:v>
                </c:pt>
                <c:pt idx="445">
                  <c:v>44512</c:v>
                </c:pt>
                <c:pt idx="446">
                  <c:v>44515</c:v>
                </c:pt>
                <c:pt idx="447">
                  <c:v>44516</c:v>
                </c:pt>
                <c:pt idx="448">
                  <c:v>44517</c:v>
                </c:pt>
                <c:pt idx="449">
                  <c:v>44518</c:v>
                </c:pt>
                <c:pt idx="450">
                  <c:v>44519</c:v>
                </c:pt>
                <c:pt idx="451">
                  <c:v>44522</c:v>
                </c:pt>
                <c:pt idx="452">
                  <c:v>44523</c:v>
                </c:pt>
                <c:pt idx="453">
                  <c:v>44524</c:v>
                </c:pt>
                <c:pt idx="454">
                  <c:v>44525</c:v>
                </c:pt>
                <c:pt idx="455">
                  <c:v>44526</c:v>
                </c:pt>
                <c:pt idx="456">
                  <c:v>44529</c:v>
                </c:pt>
                <c:pt idx="457">
                  <c:v>44530</c:v>
                </c:pt>
                <c:pt idx="458">
                  <c:v>44531</c:v>
                </c:pt>
                <c:pt idx="459">
                  <c:v>44532</c:v>
                </c:pt>
                <c:pt idx="460">
                  <c:v>44533</c:v>
                </c:pt>
                <c:pt idx="461">
                  <c:v>44536</c:v>
                </c:pt>
                <c:pt idx="462">
                  <c:v>44537</c:v>
                </c:pt>
                <c:pt idx="463">
                  <c:v>44538</c:v>
                </c:pt>
                <c:pt idx="464">
                  <c:v>44539</c:v>
                </c:pt>
                <c:pt idx="465">
                  <c:v>44540</c:v>
                </c:pt>
                <c:pt idx="466">
                  <c:v>44543</c:v>
                </c:pt>
                <c:pt idx="467">
                  <c:v>44544</c:v>
                </c:pt>
                <c:pt idx="468">
                  <c:v>44545</c:v>
                </c:pt>
                <c:pt idx="469">
                  <c:v>44546</c:v>
                </c:pt>
                <c:pt idx="470">
                  <c:v>44547</c:v>
                </c:pt>
                <c:pt idx="471">
                  <c:v>44550</c:v>
                </c:pt>
                <c:pt idx="472">
                  <c:v>44551</c:v>
                </c:pt>
                <c:pt idx="473">
                  <c:v>44552</c:v>
                </c:pt>
                <c:pt idx="474">
                  <c:v>44553</c:v>
                </c:pt>
                <c:pt idx="475">
                  <c:v>44554</c:v>
                </c:pt>
                <c:pt idx="476">
                  <c:v>44557</c:v>
                </c:pt>
                <c:pt idx="477">
                  <c:v>44558</c:v>
                </c:pt>
                <c:pt idx="478">
                  <c:v>44559</c:v>
                </c:pt>
                <c:pt idx="479">
                  <c:v>44560</c:v>
                </c:pt>
                <c:pt idx="480">
                  <c:v>44561</c:v>
                </c:pt>
                <c:pt idx="481">
                  <c:v>44564</c:v>
                </c:pt>
                <c:pt idx="482">
                  <c:v>44565</c:v>
                </c:pt>
                <c:pt idx="483">
                  <c:v>44566</c:v>
                </c:pt>
                <c:pt idx="484">
                  <c:v>44567</c:v>
                </c:pt>
                <c:pt idx="485">
                  <c:v>44568</c:v>
                </c:pt>
                <c:pt idx="486">
                  <c:v>44571</c:v>
                </c:pt>
                <c:pt idx="487">
                  <c:v>44572</c:v>
                </c:pt>
                <c:pt idx="488">
                  <c:v>44573</c:v>
                </c:pt>
                <c:pt idx="489">
                  <c:v>44574</c:v>
                </c:pt>
                <c:pt idx="490">
                  <c:v>44575</c:v>
                </c:pt>
                <c:pt idx="491">
                  <c:v>44578</c:v>
                </c:pt>
                <c:pt idx="492">
                  <c:v>44579</c:v>
                </c:pt>
                <c:pt idx="493">
                  <c:v>44580</c:v>
                </c:pt>
                <c:pt idx="494">
                  <c:v>44581</c:v>
                </c:pt>
                <c:pt idx="495">
                  <c:v>44582</c:v>
                </c:pt>
                <c:pt idx="496">
                  <c:v>44585</c:v>
                </c:pt>
                <c:pt idx="497">
                  <c:v>44586</c:v>
                </c:pt>
                <c:pt idx="498">
                  <c:v>44587</c:v>
                </c:pt>
                <c:pt idx="499">
                  <c:v>44588</c:v>
                </c:pt>
                <c:pt idx="500">
                  <c:v>44589</c:v>
                </c:pt>
                <c:pt idx="501">
                  <c:v>44592</c:v>
                </c:pt>
                <c:pt idx="502">
                  <c:v>44593</c:v>
                </c:pt>
                <c:pt idx="503">
                  <c:v>44594</c:v>
                </c:pt>
                <c:pt idx="504">
                  <c:v>44595</c:v>
                </c:pt>
                <c:pt idx="505">
                  <c:v>44596</c:v>
                </c:pt>
                <c:pt idx="506">
                  <c:v>44599</c:v>
                </c:pt>
                <c:pt idx="507">
                  <c:v>44600</c:v>
                </c:pt>
                <c:pt idx="508">
                  <c:v>44601</c:v>
                </c:pt>
                <c:pt idx="509">
                  <c:v>44602</c:v>
                </c:pt>
                <c:pt idx="510">
                  <c:v>44603</c:v>
                </c:pt>
                <c:pt idx="511">
                  <c:v>44606</c:v>
                </c:pt>
                <c:pt idx="512">
                  <c:v>44607</c:v>
                </c:pt>
                <c:pt idx="513">
                  <c:v>44608</c:v>
                </c:pt>
                <c:pt idx="514">
                  <c:v>44609</c:v>
                </c:pt>
                <c:pt idx="515">
                  <c:v>44610</c:v>
                </c:pt>
                <c:pt idx="516">
                  <c:v>44614</c:v>
                </c:pt>
                <c:pt idx="517">
                  <c:v>44615</c:v>
                </c:pt>
                <c:pt idx="518">
                  <c:v>44616</c:v>
                </c:pt>
                <c:pt idx="519">
                  <c:v>44617</c:v>
                </c:pt>
                <c:pt idx="520">
                  <c:v>44620</c:v>
                </c:pt>
                <c:pt idx="521">
                  <c:v>44621</c:v>
                </c:pt>
                <c:pt idx="522">
                  <c:v>44622</c:v>
                </c:pt>
                <c:pt idx="523">
                  <c:v>44623</c:v>
                </c:pt>
                <c:pt idx="524">
                  <c:v>44624</c:v>
                </c:pt>
                <c:pt idx="525">
                  <c:v>44627</c:v>
                </c:pt>
                <c:pt idx="526">
                  <c:v>44628</c:v>
                </c:pt>
                <c:pt idx="527">
                  <c:v>44629</c:v>
                </c:pt>
                <c:pt idx="528">
                  <c:v>44630</c:v>
                </c:pt>
                <c:pt idx="529">
                  <c:v>44631</c:v>
                </c:pt>
                <c:pt idx="530">
                  <c:v>44634</c:v>
                </c:pt>
                <c:pt idx="531">
                  <c:v>44635</c:v>
                </c:pt>
                <c:pt idx="532">
                  <c:v>44636</c:v>
                </c:pt>
                <c:pt idx="533">
                  <c:v>44637</c:v>
                </c:pt>
                <c:pt idx="534">
                  <c:v>44638</c:v>
                </c:pt>
                <c:pt idx="535">
                  <c:v>44641</c:v>
                </c:pt>
                <c:pt idx="536">
                  <c:v>44642</c:v>
                </c:pt>
                <c:pt idx="537">
                  <c:v>44643</c:v>
                </c:pt>
                <c:pt idx="538">
                  <c:v>44644</c:v>
                </c:pt>
                <c:pt idx="539">
                  <c:v>44645</c:v>
                </c:pt>
                <c:pt idx="540">
                  <c:v>44648</c:v>
                </c:pt>
                <c:pt idx="541">
                  <c:v>44649</c:v>
                </c:pt>
                <c:pt idx="542">
                  <c:v>44650</c:v>
                </c:pt>
                <c:pt idx="543">
                  <c:v>44651</c:v>
                </c:pt>
                <c:pt idx="544">
                  <c:v>44652</c:v>
                </c:pt>
                <c:pt idx="545">
                  <c:v>44655</c:v>
                </c:pt>
                <c:pt idx="546">
                  <c:v>44656</c:v>
                </c:pt>
                <c:pt idx="547">
                  <c:v>44657</c:v>
                </c:pt>
                <c:pt idx="548">
                  <c:v>44658</c:v>
                </c:pt>
                <c:pt idx="549">
                  <c:v>44659</c:v>
                </c:pt>
                <c:pt idx="550">
                  <c:v>44662</c:v>
                </c:pt>
                <c:pt idx="551">
                  <c:v>44663</c:v>
                </c:pt>
                <c:pt idx="552">
                  <c:v>44664</c:v>
                </c:pt>
                <c:pt idx="553">
                  <c:v>44665</c:v>
                </c:pt>
                <c:pt idx="554">
                  <c:v>44669</c:v>
                </c:pt>
                <c:pt idx="555">
                  <c:v>44670</c:v>
                </c:pt>
                <c:pt idx="556">
                  <c:v>44671</c:v>
                </c:pt>
                <c:pt idx="557">
                  <c:v>44672</c:v>
                </c:pt>
                <c:pt idx="558">
                  <c:v>44673</c:v>
                </c:pt>
                <c:pt idx="559">
                  <c:v>44676</c:v>
                </c:pt>
                <c:pt idx="560">
                  <c:v>44677</c:v>
                </c:pt>
                <c:pt idx="561">
                  <c:v>44678</c:v>
                </c:pt>
                <c:pt idx="562">
                  <c:v>44679</c:v>
                </c:pt>
                <c:pt idx="563">
                  <c:v>44680</c:v>
                </c:pt>
                <c:pt idx="564">
                  <c:v>44683</c:v>
                </c:pt>
                <c:pt idx="565">
                  <c:v>44684</c:v>
                </c:pt>
                <c:pt idx="566">
                  <c:v>44685</c:v>
                </c:pt>
                <c:pt idx="567">
                  <c:v>44686</c:v>
                </c:pt>
                <c:pt idx="568">
                  <c:v>44687</c:v>
                </c:pt>
                <c:pt idx="569">
                  <c:v>44690</c:v>
                </c:pt>
                <c:pt idx="570">
                  <c:v>44691</c:v>
                </c:pt>
                <c:pt idx="571">
                  <c:v>44692</c:v>
                </c:pt>
                <c:pt idx="572">
                  <c:v>44693</c:v>
                </c:pt>
                <c:pt idx="573">
                  <c:v>44694</c:v>
                </c:pt>
                <c:pt idx="574">
                  <c:v>44697</c:v>
                </c:pt>
                <c:pt idx="575">
                  <c:v>44698</c:v>
                </c:pt>
                <c:pt idx="576">
                  <c:v>44699</c:v>
                </c:pt>
                <c:pt idx="577">
                  <c:v>44700</c:v>
                </c:pt>
                <c:pt idx="578">
                  <c:v>44701</c:v>
                </c:pt>
                <c:pt idx="579">
                  <c:v>44704</c:v>
                </c:pt>
                <c:pt idx="580">
                  <c:v>44705</c:v>
                </c:pt>
                <c:pt idx="581">
                  <c:v>44706</c:v>
                </c:pt>
                <c:pt idx="582">
                  <c:v>44707</c:v>
                </c:pt>
                <c:pt idx="583">
                  <c:v>44708</c:v>
                </c:pt>
                <c:pt idx="584">
                  <c:v>44711</c:v>
                </c:pt>
                <c:pt idx="585">
                  <c:v>44712</c:v>
                </c:pt>
                <c:pt idx="586">
                  <c:v>44713</c:v>
                </c:pt>
                <c:pt idx="587">
                  <c:v>44714</c:v>
                </c:pt>
                <c:pt idx="588">
                  <c:v>44715</c:v>
                </c:pt>
                <c:pt idx="589">
                  <c:v>44718</c:v>
                </c:pt>
                <c:pt idx="590">
                  <c:v>44719</c:v>
                </c:pt>
                <c:pt idx="591">
                  <c:v>44720</c:v>
                </c:pt>
                <c:pt idx="592">
                  <c:v>44721</c:v>
                </c:pt>
                <c:pt idx="593">
                  <c:v>44722</c:v>
                </c:pt>
                <c:pt idx="594">
                  <c:v>44725</c:v>
                </c:pt>
                <c:pt idx="595">
                  <c:v>44726</c:v>
                </c:pt>
                <c:pt idx="596">
                  <c:v>44727</c:v>
                </c:pt>
                <c:pt idx="597">
                  <c:v>44728</c:v>
                </c:pt>
                <c:pt idx="598">
                  <c:v>44729</c:v>
                </c:pt>
                <c:pt idx="599">
                  <c:v>44732</c:v>
                </c:pt>
                <c:pt idx="600">
                  <c:v>44733</c:v>
                </c:pt>
                <c:pt idx="601">
                  <c:v>44734</c:v>
                </c:pt>
                <c:pt idx="602">
                  <c:v>44735</c:v>
                </c:pt>
                <c:pt idx="603">
                  <c:v>44736</c:v>
                </c:pt>
                <c:pt idx="604">
                  <c:v>44739</c:v>
                </c:pt>
                <c:pt idx="605">
                  <c:v>44740</c:v>
                </c:pt>
                <c:pt idx="606">
                  <c:v>44741</c:v>
                </c:pt>
                <c:pt idx="607">
                  <c:v>44742</c:v>
                </c:pt>
                <c:pt idx="608">
                  <c:v>44743</c:v>
                </c:pt>
                <c:pt idx="609">
                  <c:v>44746</c:v>
                </c:pt>
                <c:pt idx="610">
                  <c:v>44747</c:v>
                </c:pt>
                <c:pt idx="611">
                  <c:v>44748</c:v>
                </c:pt>
                <c:pt idx="612">
                  <c:v>44749</c:v>
                </c:pt>
                <c:pt idx="613">
                  <c:v>44750</c:v>
                </c:pt>
                <c:pt idx="614">
                  <c:v>44753</c:v>
                </c:pt>
                <c:pt idx="615">
                  <c:v>44754</c:v>
                </c:pt>
                <c:pt idx="616">
                  <c:v>44755</c:v>
                </c:pt>
                <c:pt idx="617">
                  <c:v>44756</c:v>
                </c:pt>
                <c:pt idx="618">
                  <c:v>44757</c:v>
                </c:pt>
                <c:pt idx="619">
                  <c:v>44760</c:v>
                </c:pt>
                <c:pt idx="620">
                  <c:v>44761</c:v>
                </c:pt>
                <c:pt idx="621">
                  <c:v>44762</c:v>
                </c:pt>
                <c:pt idx="622">
                  <c:v>44763</c:v>
                </c:pt>
                <c:pt idx="623">
                  <c:v>44764</c:v>
                </c:pt>
                <c:pt idx="624">
                  <c:v>44767</c:v>
                </c:pt>
                <c:pt idx="625">
                  <c:v>44768</c:v>
                </c:pt>
                <c:pt idx="626">
                  <c:v>44769</c:v>
                </c:pt>
                <c:pt idx="627">
                  <c:v>44770</c:v>
                </c:pt>
                <c:pt idx="628">
                  <c:v>44771</c:v>
                </c:pt>
                <c:pt idx="629">
                  <c:v>44774</c:v>
                </c:pt>
                <c:pt idx="630">
                  <c:v>44775</c:v>
                </c:pt>
                <c:pt idx="631">
                  <c:v>44776</c:v>
                </c:pt>
                <c:pt idx="632">
                  <c:v>44777</c:v>
                </c:pt>
                <c:pt idx="633">
                  <c:v>44778</c:v>
                </c:pt>
                <c:pt idx="634">
                  <c:v>44781</c:v>
                </c:pt>
                <c:pt idx="635">
                  <c:v>44782</c:v>
                </c:pt>
                <c:pt idx="636">
                  <c:v>44783</c:v>
                </c:pt>
                <c:pt idx="637">
                  <c:v>44784</c:v>
                </c:pt>
                <c:pt idx="638">
                  <c:v>44785</c:v>
                </c:pt>
                <c:pt idx="639">
                  <c:v>44788</c:v>
                </c:pt>
                <c:pt idx="640">
                  <c:v>44789</c:v>
                </c:pt>
                <c:pt idx="641">
                  <c:v>44790</c:v>
                </c:pt>
                <c:pt idx="642">
                  <c:v>44791</c:v>
                </c:pt>
                <c:pt idx="643">
                  <c:v>44792</c:v>
                </c:pt>
                <c:pt idx="644">
                  <c:v>44795</c:v>
                </c:pt>
                <c:pt idx="645">
                  <c:v>44796</c:v>
                </c:pt>
                <c:pt idx="646">
                  <c:v>44797</c:v>
                </c:pt>
                <c:pt idx="647">
                  <c:v>44798</c:v>
                </c:pt>
                <c:pt idx="648">
                  <c:v>44799</c:v>
                </c:pt>
                <c:pt idx="649">
                  <c:v>44802</c:v>
                </c:pt>
                <c:pt idx="650">
                  <c:v>44803</c:v>
                </c:pt>
                <c:pt idx="651">
                  <c:v>44804</c:v>
                </c:pt>
                <c:pt idx="652">
                  <c:v>44805</c:v>
                </c:pt>
                <c:pt idx="653">
                  <c:v>44806</c:v>
                </c:pt>
                <c:pt idx="654">
                  <c:v>44810</c:v>
                </c:pt>
                <c:pt idx="655">
                  <c:v>44811</c:v>
                </c:pt>
                <c:pt idx="656">
                  <c:v>44812</c:v>
                </c:pt>
                <c:pt idx="657">
                  <c:v>44813</c:v>
                </c:pt>
                <c:pt idx="658">
                  <c:v>44816</c:v>
                </c:pt>
                <c:pt idx="659">
                  <c:v>44817</c:v>
                </c:pt>
                <c:pt idx="660">
                  <c:v>44818</c:v>
                </c:pt>
                <c:pt idx="661">
                  <c:v>44819</c:v>
                </c:pt>
                <c:pt idx="662">
                  <c:v>44820</c:v>
                </c:pt>
                <c:pt idx="663">
                  <c:v>44823</c:v>
                </c:pt>
                <c:pt idx="664">
                  <c:v>44824</c:v>
                </c:pt>
                <c:pt idx="665">
                  <c:v>44825</c:v>
                </c:pt>
                <c:pt idx="666">
                  <c:v>44826</c:v>
                </c:pt>
                <c:pt idx="667">
                  <c:v>44827</c:v>
                </c:pt>
                <c:pt idx="668">
                  <c:v>44830</c:v>
                </c:pt>
                <c:pt idx="669">
                  <c:v>44831</c:v>
                </c:pt>
                <c:pt idx="670">
                  <c:v>44832</c:v>
                </c:pt>
                <c:pt idx="671">
                  <c:v>44833</c:v>
                </c:pt>
                <c:pt idx="672">
                  <c:v>44834</c:v>
                </c:pt>
                <c:pt idx="673">
                  <c:v>44837</c:v>
                </c:pt>
                <c:pt idx="674">
                  <c:v>44838</c:v>
                </c:pt>
                <c:pt idx="675">
                  <c:v>44839</c:v>
                </c:pt>
                <c:pt idx="676">
                  <c:v>44840</c:v>
                </c:pt>
                <c:pt idx="677">
                  <c:v>44841</c:v>
                </c:pt>
                <c:pt idx="678">
                  <c:v>44844</c:v>
                </c:pt>
                <c:pt idx="679">
                  <c:v>44845</c:v>
                </c:pt>
                <c:pt idx="680">
                  <c:v>44846</c:v>
                </c:pt>
                <c:pt idx="681">
                  <c:v>44847</c:v>
                </c:pt>
                <c:pt idx="682">
                  <c:v>44848</c:v>
                </c:pt>
                <c:pt idx="683">
                  <c:v>44851</c:v>
                </c:pt>
                <c:pt idx="684">
                  <c:v>44852</c:v>
                </c:pt>
                <c:pt idx="685">
                  <c:v>44853</c:v>
                </c:pt>
                <c:pt idx="686">
                  <c:v>44854</c:v>
                </c:pt>
                <c:pt idx="687">
                  <c:v>44855</c:v>
                </c:pt>
                <c:pt idx="688">
                  <c:v>44858</c:v>
                </c:pt>
                <c:pt idx="689">
                  <c:v>44859</c:v>
                </c:pt>
                <c:pt idx="690">
                  <c:v>44860</c:v>
                </c:pt>
                <c:pt idx="691">
                  <c:v>44861</c:v>
                </c:pt>
                <c:pt idx="692">
                  <c:v>44862</c:v>
                </c:pt>
                <c:pt idx="693">
                  <c:v>44865</c:v>
                </c:pt>
                <c:pt idx="694">
                  <c:v>44866</c:v>
                </c:pt>
                <c:pt idx="695">
                  <c:v>44867</c:v>
                </c:pt>
                <c:pt idx="696">
                  <c:v>44868</c:v>
                </c:pt>
                <c:pt idx="697">
                  <c:v>44869</c:v>
                </c:pt>
                <c:pt idx="698">
                  <c:v>44872</c:v>
                </c:pt>
                <c:pt idx="699">
                  <c:v>44873</c:v>
                </c:pt>
                <c:pt idx="700">
                  <c:v>44874</c:v>
                </c:pt>
                <c:pt idx="701">
                  <c:v>44875</c:v>
                </c:pt>
                <c:pt idx="702">
                  <c:v>44876</c:v>
                </c:pt>
                <c:pt idx="703">
                  <c:v>44879</c:v>
                </c:pt>
                <c:pt idx="704">
                  <c:v>44880</c:v>
                </c:pt>
                <c:pt idx="705">
                  <c:v>44881</c:v>
                </c:pt>
                <c:pt idx="706">
                  <c:v>44882</c:v>
                </c:pt>
                <c:pt idx="707">
                  <c:v>44883</c:v>
                </c:pt>
                <c:pt idx="708">
                  <c:v>44886</c:v>
                </c:pt>
                <c:pt idx="709">
                  <c:v>44887</c:v>
                </c:pt>
                <c:pt idx="710">
                  <c:v>44888</c:v>
                </c:pt>
                <c:pt idx="711">
                  <c:v>44889</c:v>
                </c:pt>
                <c:pt idx="712">
                  <c:v>44890</c:v>
                </c:pt>
                <c:pt idx="713">
                  <c:v>44893</c:v>
                </c:pt>
                <c:pt idx="714">
                  <c:v>44894</c:v>
                </c:pt>
                <c:pt idx="715">
                  <c:v>44895</c:v>
                </c:pt>
                <c:pt idx="716">
                  <c:v>44896</c:v>
                </c:pt>
                <c:pt idx="717">
                  <c:v>44897</c:v>
                </c:pt>
                <c:pt idx="718">
                  <c:v>44900</c:v>
                </c:pt>
                <c:pt idx="719">
                  <c:v>44901</c:v>
                </c:pt>
                <c:pt idx="720">
                  <c:v>44902</c:v>
                </c:pt>
                <c:pt idx="721">
                  <c:v>44903</c:v>
                </c:pt>
                <c:pt idx="722">
                  <c:v>44904</c:v>
                </c:pt>
                <c:pt idx="723">
                  <c:v>44907</c:v>
                </c:pt>
                <c:pt idx="724">
                  <c:v>44908</c:v>
                </c:pt>
                <c:pt idx="725">
                  <c:v>44909</c:v>
                </c:pt>
                <c:pt idx="726">
                  <c:v>44910</c:v>
                </c:pt>
                <c:pt idx="727">
                  <c:v>44911</c:v>
                </c:pt>
                <c:pt idx="728">
                  <c:v>44914</c:v>
                </c:pt>
                <c:pt idx="729">
                  <c:v>44915</c:v>
                </c:pt>
                <c:pt idx="730">
                  <c:v>44916</c:v>
                </c:pt>
                <c:pt idx="731">
                  <c:v>44917</c:v>
                </c:pt>
                <c:pt idx="732">
                  <c:v>44918</c:v>
                </c:pt>
                <c:pt idx="733">
                  <c:v>44922</c:v>
                </c:pt>
                <c:pt idx="734">
                  <c:v>44923</c:v>
                </c:pt>
                <c:pt idx="735">
                  <c:v>44924</c:v>
                </c:pt>
                <c:pt idx="736">
                  <c:v>44925</c:v>
                </c:pt>
                <c:pt idx="737">
                  <c:v>44929</c:v>
                </c:pt>
                <c:pt idx="738">
                  <c:v>44930</c:v>
                </c:pt>
                <c:pt idx="739">
                  <c:v>44931</c:v>
                </c:pt>
                <c:pt idx="740">
                  <c:v>44932</c:v>
                </c:pt>
                <c:pt idx="741">
                  <c:v>44935</c:v>
                </c:pt>
                <c:pt idx="742">
                  <c:v>44936</c:v>
                </c:pt>
                <c:pt idx="743">
                  <c:v>44937</c:v>
                </c:pt>
                <c:pt idx="744">
                  <c:v>44938</c:v>
                </c:pt>
                <c:pt idx="745">
                  <c:v>44939</c:v>
                </c:pt>
                <c:pt idx="746">
                  <c:v>44942</c:v>
                </c:pt>
                <c:pt idx="747">
                  <c:v>44943</c:v>
                </c:pt>
                <c:pt idx="748">
                  <c:v>44944</c:v>
                </c:pt>
                <c:pt idx="749">
                  <c:v>44945</c:v>
                </c:pt>
                <c:pt idx="750">
                  <c:v>44946</c:v>
                </c:pt>
                <c:pt idx="751">
                  <c:v>44949</c:v>
                </c:pt>
                <c:pt idx="752">
                  <c:v>44950</c:v>
                </c:pt>
                <c:pt idx="753">
                  <c:v>44951</c:v>
                </c:pt>
                <c:pt idx="754">
                  <c:v>44952</c:v>
                </c:pt>
                <c:pt idx="755">
                  <c:v>44953</c:v>
                </c:pt>
                <c:pt idx="756">
                  <c:v>44956</c:v>
                </c:pt>
                <c:pt idx="757">
                  <c:v>44957</c:v>
                </c:pt>
                <c:pt idx="758">
                  <c:v>44958</c:v>
                </c:pt>
                <c:pt idx="759">
                  <c:v>44959</c:v>
                </c:pt>
                <c:pt idx="760">
                  <c:v>44960</c:v>
                </c:pt>
                <c:pt idx="761">
                  <c:v>44963</c:v>
                </c:pt>
                <c:pt idx="762">
                  <c:v>44964</c:v>
                </c:pt>
                <c:pt idx="763">
                  <c:v>44965</c:v>
                </c:pt>
                <c:pt idx="764">
                  <c:v>44966</c:v>
                </c:pt>
                <c:pt idx="765">
                  <c:v>44967</c:v>
                </c:pt>
                <c:pt idx="766">
                  <c:v>44970</c:v>
                </c:pt>
                <c:pt idx="767">
                  <c:v>44971</c:v>
                </c:pt>
                <c:pt idx="768">
                  <c:v>44972</c:v>
                </c:pt>
                <c:pt idx="769">
                  <c:v>44973</c:v>
                </c:pt>
                <c:pt idx="770">
                  <c:v>44974</c:v>
                </c:pt>
                <c:pt idx="771">
                  <c:v>44978</c:v>
                </c:pt>
                <c:pt idx="772">
                  <c:v>44979</c:v>
                </c:pt>
                <c:pt idx="773">
                  <c:v>44980</c:v>
                </c:pt>
                <c:pt idx="774">
                  <c:v>44981</c:v>
                </c:pt>
                <c:pt idx="775">
                  <c:v>44984</c:v>
                </c:pt>
                <c:pt idx="776">
                  <c:v>44985</c:v>
                </c:pt>
                <c:pt idx="777">
                  <c:v>44986</c:v>
                </c:pt>
                <c:pt idx="778">
                  <c:v>44987</c:v>
                </c:pt>
                <c:pt idx="779">
                  <c:v>44988</c:v>
                </c:pt>
                <c:pt idx="780">
                  <c:v>44991</c:v>
                </c:pt>
                <c:pt idx="781">
                  <c:v>44992</c:v>
                </c:pt>
                <c:pt idx="782">
                  <c:v>44993</c:v>
                </c:pt>
                <c:pt idx="783">
                  <c:v>44994</c:v>
                </c:pt>
                <c:pt idx="784">
                  <c:v>44995</c:v>
                </c:pt>
                <c:pt idx="785">
                  <c:v>44998</c:v>
                </c:pt>
                <c:pt idx="786">
                  <c:v>44999</c:v>
                </c:pt>
                <c:pt idx="787">
                  <c:v>45000</c:v>
                </c:pt>
                <c:pt idx="788">
                  <c:v>45001</c:v>
                </c:pt>
                <c:pt idx="789">
                  <c:v>45002</c:v>
                </c:pt>
                <c:pt idx="790">
                  <c:v>45005</c:v>
                </c:pt>
                <c:pt idx="791">
                  <c:v>45006</c:v>
                </c:pt>
                <c:pt idx="792">
                  <c:v>45007</c:v>
                </c:pt>
                <c:pt idx="793">
                  <c:v>45008</c:v>
                </c:pt>
                <c:pt idx="794">
                  <c:v>45009</c:v>
                </c:pt>
                <c:pt idx="795">
                  <c:v>45012</c:v>
                </c:pt>
                <c:pt idx="796">
                  <c:v>45013</c:v>
                </c:pt>
                <c:pt idx="797">
                  <c:v>45014</c:v>
                </c:pt>
                <c:pt idx="798">
                  <c:v>45015</c:v>
                </c:pt>
                <c:pt idx="799">
                  <c:v>45016</c:v>
                </c:pt>
                <c:pt idx="800">
                  <c:v>45019</c:v>
                </c:pt>
                <c:pt idx="801">
                  <c:v>45020</c:v>
                </c:pt>
                <c:pt idx="802">
                  <c:v>45021</c:v>
                </c:pt>
                <c:pt idx="803">
                  <c:v>45022</c:v>
                </c:pt>
                <c:pt idx="804">
                  <c:v>45026</c:v>
                </c:pt>
                <c:pt idx="805">
                  <c:v>45027</c:v>
                </c:pt>
                <c:pt idx="806">
                  <c:v>45028</c:v>
                </c:pt>
                <c:pt idx="807">
                  <c:v>45029</c:v>
                </c:pt>
                <c:pt idx="808">
                  <c:v>45030</c:v>
                </c:pt>
                <c:pt idx="809">
                  <c:v>45033</c:v>
                </c:pt>
                <c:pt idx="810">
                  <c:v>45034</c:v>
                </c:pt>
                <c:pt idx="811">
                  <c:v>45035</c:v>
                </c:pt>
                <c:pt idx="812">
                  <c:v>45036</c:v>
                </c:pt>
                <c:pt idx="813">
                  <c:v>45037</c:v>
                </c:pt>
                <c:pt idx="814">
                  <c:v>45040</c:v>
                </c:pt>
                <c:pt idx="815">
                  <c:v>45041</c:v>
                </c:pt>
                <c:pt idx="816">
                  <c:v>45042</c:v>
                </c:pt>
                <c:pt idx="817">
                  <c:v>45043</c:v>
                </c:pt>
                <c:pt idx="818">
                  <c:v>45044</c:v>
                </c:pt>
                <c:pt idx="819">
                  <c:v>45047</c:v>
                </c:pt>
                <c:pt idx="820">
                  <c:v>45048</c:v>
                </c:pt>
                <c:pt idx="821">
                  <c:v>45049</c:v>
                </c:pt>
                <c:pt idx="822">
                  <c:v>45050</c:v>
                </c:pt>
                <c:pt idx="823">
                  <c:v>45051</c:v>
                </c:pt>
                <c:pt idx="824">
                  <c:v>45054</c:v>
                </c:pt>
                <c:pt idx="825">
                  <c:v>45055</c:v>
                </c:pt>
                <c:pt idx="826">
                  <c:v>45056</c:v>
                </c:pt>
                <c:pt idx="827">
                  <c:v>45057</c:v>
                </c:pt>
                <c:pt idx="828">
                  <c:v>45058</c:v>
                </c:pt>
                <c:pt idx="829">
                  <c:v>45061</c:v>
                </c:pt>
                <c:pt idx="830">
                  <c:v>45062</c:v>
                </c:pt>
                <c:pt idx="831">
                  <c:v>45063</c:v>
                </c:pt>
                <c:pt idx="832">
                  <c:v>45064</c:v>
                </c:pt>
                <c:pt idx="833">
                  <c:v>45065</c:v>
                </c:pt>
                <c:pt idx="834">
                  <c:v>45068</c:v>
                </c:pt>
                <c:pt idx="835">
                  <c:v>45069</c:v>
                </c:pt>
                <c:pt idx="836">
                  <c:v>45070</c:v>
                </c:pt>
                <c:pt idx="837">
                  <c:v>45071</c:v>
                </c:pt>
                <c:pt idx="838">
                  <c:v>45072</c:v>
                </c:pt>
                <c:pt idx="839">
                  <c:v>45075</c:v>
                </c:pt>
                <c:pt idx="840">
                  <c:v>45076</c:v>
                </c:pt>
                <c:pt idx="841">
                  <c:v>45077</c:v>
                </c:pt>
                <c:pt idx="842">
                  <c:v>45078</c:v>
                </c:pt>
                <c:pt idx="843">
                  <c:v>45079</c:v>
                </c:pt>
                <c:pt idx="844">
                  <c:v>45082</c:v>
                </c:pt>
                <c:pt idx="845">
                  <c:v>45083</c:v>
                </c:pt>
                <c:pt idx="846">
                  <c:v>45084</c:v>
                </c:pt>
                <c:pt idx="847">
                  <c:v>45085</c:v>
                </c:pt>
                <c:pt idx="848">
                  <c:v>45086</c:v>
                </c:pt>
                <c:pt idx="849">
                  <c:v>45089</c:v>
                </c:pt>
                <c:pt idx="850">
                  <c:v>45090</c:v>
                </c:pt>
                <c:pt idx="851">
                  <c:v>45091</c:v>
                </c:pt>
                <c:pt idx="852">
                  <c:v>45092</c:v>
                </c:pt>
                <c:pt idx="853">
                  <c:v>45093</c:v>
                </c:pt>
                <c:pt idx="854">
                  <c:v>45096</c:v>
                </c:pt>
                <c:pt idx="855">
                  <c:v>45097</c:v>
                </c:pt>
                <c:pt idx="856">
                  <c:v>45098</c:v>
                </c:pt>
                <c:pt idx="857">
                  <c:v>45099</c:v>
                </c:pt>
                <c:pt idx="858">
                  <c:v>45100</c:v>
                </c:pt>
                <c:pt idx="859">
                  <c:v>45103</c:v>
                </c:pt>
                <c:pt idx="860">
                  <c:v>45104</c:v>
                </c:pt>
                <c:pt idx="861">
                  <c:v>45105</c:v>
                </c:pt>
                <c:pt idx="862">
                  <c:v>45106</c:v>
                </c:pt>
                <c:pt idx="863">
                  <c:v>45107</c:v>
                </c:pt>
                <c:pt idx="864">
                  <c:v>45110</c:v>
                </c:pt>
                <c:pt idx="865">
                  <c:v>45111</c:v>
                </c:pt>
                <c:pt idx="866">
                  <c:v>45112</c:v>
                </c:pt>
                <c:pt idx="867">
                  <c:v>45113</c:v>
                </c:pt>
                <c:pt idx="868">
                  <c:v>45114</c:v>
                </c:pt>
                <c:pt idx="869">
                  <c:v>45117</c:v>
                </c:pt>
                <c:pt idx="870">
                  <c:v>45118</c:v>
                </c:pt>
                <c:pt idx="871">
                  <c:v>45119</c:v>
                </c:pt>
                <c:pt idx="872">
                  <c:v>45120</c:v>
                </c:pt>
                <c:pt idx="873">
                  <c:v>45121</c:v>
                </c:pt>
                <c:pt idx="874">
                  <c:v>45124</c:v>
                </c:pt>
                <c:pt idx="875">
                  <c:v>45125</c:v>
                </c:pt>
                <c:pt idx="876">
                  <c:v>45126</c:v>
                </c:pt>
                <c:pt idx="877">
                  <c:v>45127</c:v>
                </c:pt>
                <c:pt idx="878">
                  <c:v>45128</c:v>
                </c:pt>
                <c:pt idx="879">
                  <c:v>45131</c:v>
                </c:pt>
                <c:pt idx="880">
                  <c:v>45132</c:v>
                </c:pt>
                <c:pt idx="881">
                  <c:v>45133</c:v>
                </c:pt>
                <c:pt idx="882">
                  <c:v>45134</c:v>
                </c:pt>
                <c:pt idx="883">
                  <c:v>45135</c:v>
                </c:pt>
                <c:pt idx="884">
                  <c:v>45138</c:v>
                </c:pt>
                <c:pt idx="885">
                  <c:v>45139</c:v>
                </c:pt>
                <c:pt idx="886">
                  <c:v>45140</c:v>
                </c:pt>
                <c:pt idx="887">
                  <c:v>45141</c:v>
                </c:pt>
                <c:pt idx="888">
                  <c:v>45142</c:v>
                </c:pt>
                <c:pt idx="889">
                  <c:v>45145</c:v>
                </c:pt>
                <c:pt idx="890">
                  <c:v>45146</c:v>
                </c:pt>
                <c:pt idx="891">
                  <c:v>45147</c:v>
                </c:pt>
                <c:pt idx="892">
                  <c:v>45148</c:v>
                </c:pt>
                <c:pt idx="893">
                  <c:v>45149</c:v>
                </c:pt>
                <c:pt idx="894">
                  <c:v>45152</c:v>
                </c:pt>
                <c:pt idx="895">
                  <c:v>45153</c:v>
                </c:pt>
                <c:pt idx="896">
                  <c:v>45154</c:v>
                </c:pt>
                <c:pt idx="897">
                  <c:v>45155</c:v>
                </c:pt>
                <c:pt idx="898">
                  <c:v>45156</c:v>
                </c:pt>
                <c:pt idx="899">
                  <c:v>45159</c:v>
                </c:pt>
                <c:pt idx="900">
                  <c:v>45160</c:v>
                </c:pt>
                <c:pt idx="901">
                  <c:v>45161</c:v>
                </c:pt>
                <c:pt idx="902">
                  <c:v>45162</c:v>
                </c:pt>
                <c:pt idx="903">
                  <c:v>45163</c:v>
                </c:pt>
                <c:pt idx="904">
                  <c:v>45166</c:v>
                </c:pt>
                <c:pt idx="905">
                  <c:v>45167</c:v>
                </c:pt>
                <c:pt idx="906">
                  <c:v>45168</c:v>
                </c:pt>
                <c:pt idx="907">
                  <c:v>45169</c:v>
                </c:pt>
                <c:pt idx="908">
                  <c:v>45170</c:v>
                </c:pt>
                <c:pt idx="909">
                  <c:v>45174</c:v>
                </c:pt>
                <c:pt idx="910">
                  <c:v>45175</c:v>
                </c:pt>
                <c:pt idx="911">
                  <c:v>45176</c:v>
                </c:pt>
                <c:pt idx="912">
                  <c:v>45177</c:v>
                </c:pt>
                <c:pt idx="913">
                  <c:v>45180</c:v>
                </c:pt>
                <c:pt idx="914">
                  <c:v>45181</c:v>
                </c:pt>
                <c:pt idx="915">
                  <c:v>45182</c:v>
                </c:pt>
                <c:pt idx="916">
                  <c:v>45183</c:v>
                </c:pt>
                <c:pt idx="917">
                  <c:v>45184</c:v>
                </c:pt>
                <c:pt idx="918">
                  <c:v>45187</c:v>
                </c:pt>
                <c:pt idx="919">
                  <c:v>45188</c:v>
                </c:pt>
                <c:pt idx="920">
                  <c:v>45189</c:v>
                </c:pt>
                <c:pt idx="921">
                  <c:v>45190</c:v>
                </c:pt>
                <c:pt idx="922">
                  <c:v>45191</c:v>
                </c:pt>
                <c:pt idx="923">
                  <c:v>45194</c:v>
                </c:pt>
                <c:pt idx="924">
                  <c:v>45195</c:v>
                </c:pt>
                <c:pt idx="925">
                  <c:v>45196</c:v>
                </c:pt>
                <c:pt idx="926">
                  <c:v>45197</c:v>
                </c:pt>
                <c:pt idx="927">
                  <c:v>45198</c:v>
                </c:pt>
                <c:pt idx="928">
                  <c:v>45201</c:v>
                </c:pt>
                <c:pt idx="929">
                  <c:v>45202</c:v>
                </c:pt>
                <c:pt idx="930">
                  <c:v>45203</c:v>
                </c:pt>
                <c:pt idx="931">
                  <c:v>45204</c:v>
                </c:pt>
                <c:pt idx="932">
                  <c:v>45205</c:v>
                </c:pt>
                <c:pt idx="933">
                  <c:v>45208</c:v>
                </c:pt>
                <c:pt idx="934">
                  <c:v>45209</c:v>
                </c:pt>
                <c:pt idx="935">
                  <c:v>45210</c:v>
                </c:pt>
                <c:pt idx="936">
                  <c:v>45211</c:v>
                </c:pt>
                <c:pt idx="937">
                  <c:v>45212</c:v>
                </c:pt>
                <c:pt idx="938">
                  <c:v>45215</c:v>
                </c:pt>
                <c:pt idx="939">
                  <c:v>45216</c:v>
                </c:pt>
                <c:pt idx="940">
                  <c:v>45217</c:v>
                </c:pt>
                <c:pt idx="941">
                  <c:v>45218</c:v>
                </c:pt>
                <c:pt idx="942">
                  <c:v>45219</c:v>
                </c:pt>
                <c:pt idx="943">
                  <c:v>45222</c:v>
                </c:pt>
                <c:pt idx="944">
                  <c:v>45223</c:v>
                </c:pt>
                <c:pt idx="945">
                  <c:v>45224</c:v>
                </c:pt>
                <c:pt idx="946">
                  <c:v>45225</c:v>
                </c:pt>
                <c:pt idx="947">
                  <c:v>45226</c:v>
                </c:pt>
                <c:pt idx="948">
                  <c:v>45229</c:v>
                </c:pt>
                <c:pt idx="949">
                  <c:v>45230</c:v>
                </c:pt>
                <c:pt idx="950">
                  <c:v>45231</c:v>
                </c:pt>
                <c:pt idx="951">
                  <c:v>45232</c:v>
                </c:pt>
                <c:pt idx="952">
                  <c:v>45233</c:v>
                </c:pt>
                <c:pt idx="953">
                  <c:v>45236</c:v>
                </c:pt>
                <c:pt idx="954">
                  <c:v>45237</c:v>
                </c:pt>
                <c:pt idx="955">
                  <c:v>45238</c:v>
                </c:pt>
                <c:pt idx="956">
                  <c:v>45239</c:v>
                </c:pt>
                <c:pt idx="957">
                  <c:v>45240</c:v>
                </c:pt>
                <c:pt idx="958">
                  <c:v>45243</c:v>
                </c:pt>
                <c:pt idx="959">
                  <c:v>45244</c:v>
                </c:pt>
                <c:pt idx="960">
                  <c:v>45245</c:v>
                </c:pt>
                <c:pt idx="961">
                  <c:v>45246</c:v>
                </c:pt>
                <c:pt idx="962">
                  <c:v>45247</c:v>
                </c:pt>
                <c:pt idx="963">
                  <c:v>45250</c:v>
                </c:pt>
                <c:pt idx="964">
                  <c:v>45251</c:v>
                </c:pt>
                <c:pt idx="965">
                  <c:v>45252</c:v>
                </c:pt>
                <c:pt idx="966">
                  <c:v>45253</c:v>
                </c:pt>
                <c:pt idx="967">
                  <c:v>45254</c:v>
                </c:pt>
                <c:pt idx="968">
                  <c:v>45257</c:v>
                </c:pt>
                <c:pt idx="969">
                  <c:v>45258</c:v>
                </c:pt>
                <c:pt idx="970">
                  <c:v>45259</c:v>
                </c:pt>
                <c:pt idx="971">
                  <c:v>45260</c:v>
                </c:pt>
                <c:pt idx="972">
                  <c:v>45261</c:v>
                </c:pt>
                <c:pt idx="973">
                  <c:v>45264</c:v>
                </c:pt>
                <c:pt idx="974">
                  <c:v>45265</c:v>
                </c:pt>
                <c:pt idx="975">
                  <c:v>45266</c:v>
                </c:pt>
                <c:pt idx="976">
                  <c:v>45267</c:v>
                </c:pt>
                <c:pt idx="977">
                  <c:v>45268</c:v>
                </c:pt>
                <c:pt idx="978">
                  <c:v>45271</c:v>
                </c:pt>
                <c:pt idx="979">
                  <c:v>45272</c:v>
                </c:pt>
                <c:pt idx="980">
                  <c:v>45273</c:v>
                </c:pt>
                <c:pt idx="981">
                  <c:v>45274</c:v>
                </c:pt>
                <c:pt idx="982">
                  <c:v>45275</c:v>
                </c:pt>
                <c:pt idx="983">
                  <c:v>45278</c:v>
                </c:pt>
                <c:pt idx="984">
                  <c:v>45279</c:v>
                </c:pt>
                <c:pt idx="985">
                  <c:v>45280</c:v>
                </c:pt>
                <c:pt idx="986">
                  <c:v>45281</c:v>
                </c:pt>
                <c:pt idx="987">
                  <c:v>45282</c:v>
                </c:pt>
                <c:pt idx="988">
                  <c:v>45286</c:v>
                </c:pt>
                <c:pt idx="989">
                  <c:v>45287</c:v>
                </c:pt>
                <c:pt idx="990">
                  <c:v>45288</c:v>
                </c:pt>
                <c:pt idx="991">
                  <c:v>45289</c:v>
                </c:pt>
                <c:pt idx="992">
                  <c:v>45293</c:v>
                </c:pt>
                <c:pt idx="993">
                  <c:v>45294</c:v>
                </c:pt>
                <c:pt idx="994">
                  <c:v>45295</c:v>
                </c:pt>
                <c:pt idx="995">
                  <c:v>45296</c:v>
                </c:pt>
                <c:pt idx="996">
                  <c:v>45299</c:v>
                </c:pt>
                <c:pt idx="997">
                  <c:v>45300</c:v>
                </c:pt>
                <c:pt idx="998">
                  <c:v>45301</c:v>
                </c:pt>
                <c:pt idx="999">
                  <c:v>45302</c:v>
                </c:pt>
                <c:pt idx="1000">
                  <c:v>45303</c:v>
                </c:pt>
                <c:pt idx="1001">
                  <c:v>45306</c:v>
                </c:pt>
                <c:pt idx="1002">
                  <c:v>45307</c:v>
                </c:pt>
                <c:pt idx="1003">
                  <c:v>45308</c:v>
                </c:pt>
                <c:pt idx="1004">
                  <c:v>45309</c:v>
                </c:pt>
                <c:pt idx="1005">
                  <c:v>45310</c:v>
                </c:pt>
                <c:pt idx="1006">
                  <c:v>45313</c:v>
                </c:pt>
                <c:pt idx="1007">
                  <c:v>45314</c:v>
                </c:pt>
                <c:pt idx="1008">
                  <c:v>45315</c:v>
                </c:pt>
                <c:pt idx="1009">
                  <c:v>45316</c:v>
                </c:pt>
                <c:pt idx="1010">
                  <c:v>45317</c:v>
                </c:pt>
                <c:pt idx="1011">
                  <c:v>45320</c:v>
                </c:pt>
                <c:pt idx="1012">
                  <c:v>45321</c:v>
                </c:pt>
                <c:pt idx="1013">
                  <c:v>45322</c:v>
                </c:pt>
                <c:pt idx="1014">
                  <c:v>45323</c:v>
                </c:pt>
                <c:pt idx="1015">
                  <c:v>45324</c:v>
                </c:pt>
                <c:pt idx="1016">
                  <c:v>45327</c:v>
                </c:pt>
                <c:pt idx="1017">
                  <c:v>45328</c:v>
                </c:pt>
                <c:pt idx="1018">
                  <c:v>45329</c:v>
                </c:pt>
                <c:pt idx="1019">
                  <c:v>45330</c:v>
                </c:pt>
                <c:pt idx="1020">
                  <c:v>45331</c:v>
                </c:pt>
                <c:pt idx="1021">
                  <c:v>45334</c:v>
                </c:pt>
                <c:pt idx="1022">
                  <c:v>45335</c:v>
                </c:pt>
                <c:pt idx="1023">
                  <c:v>45336</c:v>
                </c:pt>
                <c:pt idx="1024">
                  <c:v>45337</c:v>
                </c:pt>
                <c:pt idx="1025">
                  <c:v>45338</c:v>
                </c:pt>
                <c:pt idx="1026">
                  <c:v>45342</c:v>
                </c:pt>
                <c:pt idx="1027">
                  <c:v>45343</c:v>
                </c:pt>
                <c:pt idx="1028">
                  <c:v>45344</c:v>
                </c:pt>
                <c:pt idx="1029">
                  <c:v>45345</c:v>
                </c:pt>
                <c:pt idx="1030">
                  <c:v>45348</c:v>
                </c:pt>
                <c:pt idx="1031">
                  <c:v>45349</c:v>
                </c:pt>
                <c:pt idx="1032">
                  <c:v>45350</c:v>
                </c:pt>
                <c:pt idx="1033">
                  <c:v>45351</c:v>
                </c:pt>
                <c:pt idx="1034">
                  <c:v>45352</c:v>
                </c:pt>
                <c:pt idx="1035">
                  <c:v>45355</c:v>
                </c:pt>
                <c:pt idx="1036">
                  <c:v>45356</c:v>
                </c:pt>
                <c:pt idx="1037">
                  <c:v>45357</c:v>
                </c:pt>
                <c:pt idx="1038">
                  <c:v>45358</c:v>
                </c:pt>
                <c:pt idx="1039">
                  <c:v>45359</c:v>
                </c:pt>
                <c:pt idx="1040">
                  <c:v>45362</c:v>
                </c:pt>
                <c:pt idx="1041">
                  <c:v>45363</c:v>
                </c:pt>
                <c:pt idx="1042">
                  <c:v>45364</c:v>
                </c:pt>
                <c:pt idx="1043">
                  <c:v>45365</c:v>
                </c:pt>
                <c:pt idx="1044">
                  <c:v>45366</c:v>
                </c:pt>
                <c:pt idx="1045">
                  <c:v>45369</c:v>
                </c:pt>
                <c:pt idx="1046">
                  <c:v>45370</c:v>
                </c:pt>
                <c:pt idx="1047">
                  <c:v>45371</c:v>
                </c:pt>
                <c:pt idx="1048">
                  <c:v>45372</c:v>
                </c:pt>
                <c:pt idx="1049">
                  <c:v>45373</c:v>
                </c:pt>
                <c:pt idx="1050">
                  <c:v>45376</c:v>
                </c:pt>
                <c:pt idx="1051">
                  <c:v>45377</c:v>
                </c:pt>
                <c:pt idx="1052">
                  <c:v>45378</c:v>
                </c:pt>
                <c:pt idx="1053">
                  <c:v>45379</c:v>
                </c:pt>
                <c:pt idx="1054">
                  <c:v>45383</c:v>
                </c:pt>
                <c:pt idx="1055">
                  <c:v>45384</c:v>
                </c:pt>
                <c:pt idx="1056">
                  <c:v>45385</c:v>
                </c:pt>
                <c:pt idx="1057">
                  <c:v>45386</c:v>
                </c:pt>
                <c:pt idx="1058">
                  <c:v>45387</c:v>
                </c:pt>
                <c:pt idx="1059">
                  <c:v>45390</c:v>
                </c:pt>
                <c:pt idx="1060">
                  <c:v>45391</c:v>
                </c:pt>
                <c:pt idx="1061">
                  <c:v>45392</c:v>
                </c:pt>
                <c:pt idx="1062">
                  <c:v>45393</c:v>
                </c:pt>
                <c:pt idx="1063">
                  <c:v>45394</c:v>
                </c:pt>
                <c:pt idx="1064">
                  <c:v>45397</c:v>
                </c:pt>
                <c:pt idx="1065">
                  <c:v>45398</c:v>
                </c:pt>
                <c:pt idx="1066">
                  <c:v>45399</c:v>
                </c:pt>
                <c:pt idx="1067">
                  <c:v>45400</c:v>
                </c:pt>
                <c:pt idx="1068">
                  <c:v>45401</c:v>
                </c:pt>
                <c:pt idx="1069">
                  <c:v>45404</c:v>
                </c:pt>
                <c:pt idx="1070">
                  <c:v>45405</c:v>
                </c:pt>
                <c:pt idx="1071">
                  <c:v>45406</c:v>
                </c:pt>
                <c:pt idx="1072">
                  <c:v>45407</c:v>
                </c:pt>
                <c:pt idx="1073">
                  <c:v>45408</c:v>
                </c:pt>
                <c:pt idx="1074">
                  <c:v>45411</c:v>
                </c:pt>
                <c:pt idx="1075">
                  <c:v>45412</c:v>
                </c:pt>
                <c:pt idx="1076">
                  <c:v>45413</c:v>
                </c:pt>
                <c:pt idx="1077">
                  <c:v>45414</c:v>
                </c:pt>
                <c:pt idx="1078">
                  <c:v>45415</c:v>
                </c:pt>
                <c:pt idx="1079">
                  <c:v>45418</c:v>
                </c:pt>
                <c:pt idx="1080">
                  <c:v>45419</c:v>
                </c:pt>
                <c:pt idx="1081">
                  <c:v>45420</c:v>
                </c:pt>
                <c:pt idx="1082">
                  <c:v>45421</c:v>
                </c:pt>
                <c:pt idx="1083">
                  <c:v>45422</c:v>
                </c:pt>
                <c:pt idx="1084">
                  <c:v>45425</c:v>
                </c:pt>
                <c:pt idx="1085">
                  <c:v>45426</c:v>
                </c:pt>
                <c:pt idx="1086">
                  <c:v>45427</c:v>
                </c:pt>
                <c:pt idx="1087">
                  <c:v>45428</c:v>
                </c:pt>
                <c:pt idx="1088">
                  <c:v>45429</c:v>
                </c:pt>
                <c:pt idx="1089">
                  <c:v>45432</c:v>
                </c:pt>
                <c:pt idx="1090">
                  <c:v>45433</c:v>
                </c:pt>
                <c:pt idx="1091">
                  <c:v>45434</c:v>
                </c:pt>
                <c:pt idx="1092">
                  <c:v>45435</c:v>
                </c:pt>
                <c:pt idx="1093">
                  <c:v>45436</c:v>
                </c:pt>
                <c:pt idx="1094">
                  <c:v>45439</c:v>
                </c:pt>
                <c:pt idx="1095">
                  <c:v>45440</c:v>
                </c:pt>
                <c:pt idx="1096">
                  <c:v>45441</c:v>
                </c:pt>
                <c:pt idx="1097">
                  <c:v>45442</c:v>
                </c:pt>
                <c:pt idx="1098">
                  <c:v>45443</c:v>
                </c:pt>
                <c:pt idx="1099">
                  <c:v>45446</c:v>
                </c:pt>
                <c:pt idx="1100">
                  <c:v>45447</c:v>
                </c:pt>
                <c:pt idx="1101">
                  <c:v>45448</c:v>
                </c:pt>
                <c:pt idx="1102">
                  <c:v>45449</c:v>
                </c:pt>
                <c:pt idx="1103">
                  <c:v>45450</c:v>
                </c:pt>
                <c:pt idx="1104">
                  <c:v>45453</c:v>
                </c:pt>
                <c:pt idx="1105">
                  <c:v>45454</c:v>
                </c:pt>
                <c:pt idx="1106">
                  <c:v>45455</c:v>
                </c:pt>
                <c:pt idx="1107">
                  <c:v>45456</c:v>
                </c:pt>
                <c:pt idx="1108">
                  <c:v>45457</c:v>
                </c:pt>
                <c:pt idx="1109">
                  <c:v>45460</c:v>
                </c:pt>
                <c:pt idx="1110">
                  <c:v>45461</c:v>
                </c:pt>
                <c:pt idx="1111">
                  <c:v>45462</c:v>
                </c:pt>
                <c:pt idx="1112">
                  <c:v>45463</c:v>
                </c:pt>
                <c:pt idx="1113">
                  <c:v>45464</c:v>
                </c:pt>
                <c:pt idx="1114">
                  <c:v>45467</c:v>
                </c:pt>
                <c:pt idx="1115">
                  <c:v>45468</c:v>
                </c:pt>
                <c:pt idx="1116">
                  <c:v>45469</c:v>
                </c:pt>
                <c:pt idx="1117">
                  <c:v>45470</c:v>
                </c:pt>
                <c:pt idx="1118">
                  <c:v>45471</c:v>
                </c:pt>
                <c:pt idx="1119">
                  <c:v>45474</c:v>
                </c:pt>
                <c:pt idx="1120">
                  <c:v>45475</c:v>
                </c:pt>
                <c:pt idx="1121">
                  <c:v>45476</c:v>
                </c:pt>
                <c:pt idx="1122">
                  <c:v>45477</c:v>
                </c:pt>
                <c:pt idx="1123">
                  <c:v>45478</c:v>
                </c:pt>
                <c:pt idx="1124">
                  <c:v>45481</c:v>
                </c:pt>
                <c:pt idx="1125">
                  <c:v>45482</c:v>
                </c:pt>
                <c:pt idx="1126">
                  <c:v>45483</c:v>
                </c:pt>
                <c:pt idx="1127">
                  <c:v>45484</c:v>
                </c:pt>
                <c:pt idx="1128">
                  <c:v>45485</c:v>
                </c:pt>
                <c:pt idx="1129">
                  <c:v>45488</c:v>
                </c:pt>
                <c:pt idx="1130">
                  <c:v>45489</c:v>
                </c:pt>
                <c:pt idx="1131">
                  <c:v>45490</c:v>
                </c:pt>
                <c:pt idx="1132">
                  <c:v>45491</c:v>
                </c:pt>
                <c:pt idx="1133">
                  <c:v>45492</c:v>
                </c:pt>
                <c:pt idx="1134">
                  <c:v>45495</c:v>
                </c:pt>
                <c:pt idx="1135">
                  <c:v>45496</c:v>
                </c:pt>
                <c:pt idx="1136">
                  <c:v>45497</c:v>
                </c:pt>
                <c:pt idx="1137">
                  <c:v>45498</c:v>
                </c:pt>
                <c:pt idx="1138">
                  <c:v>45499</c:v>
                </c:pt>
                <c:pt idx="1139">
                  <c:v>45502</c:v>
                </c:pt>
                <c:pt idx="1140">
                  <c:v>45503</c:v>
                </c:pt>
                <c:pt idx="1141">
                  <c:v>45504</c:v>
                </c:pt>
                <c:pt idx="1142">
                  <c:v>45505</c:v>
                </c:pt>
                <c:pt idx="1143">
                  <c:v>45506</c:v>
                </c:pt>
                <c:pt idx="1144">
                  <c:v>45509</c:v>
                </c:pt>
                <c:pt idx="1145">
                  <c:v>45510</c:v>
                </c:pt>
                <c:pt idx="1146">
                  <c:v>45511</c:v>
                </c:pt>
                <c:pt idx="1147">
                  <c:v>45512</c:v>
                </c:pt>
                <c:pt idx="1148">
                  <c:v>45513</c:v>
                </c:pt>
                <c:pt idx="1149">
                  <c:v>45516</c:v>
                </c:pt>
                <c:pt idx="1150">
                  <c:v>45517</c:v>
                </c:pt>
                <c:pt idx="1151">
                  <c:v>45518</c:v>
                </c:pt>
                <c:pt idx="1152">
                  <c:v>45519</c:v>
                </c:pt>
                <c:pt idx="1153">
                  <c:v>45520</c:v>
                </c:pt>
                <c:pt idx="1154">
                  <c:v>45523</c:v>
                </c:pt>
                <c:pt idx="1155">
                  <c:v>45524</c:v>
                </c:pt>
                <c:pt idx="1156">
                  <c:v>45525</c:v>
                </c:pt>
                <c:pt idx="1157">
                  <c:v>45526</c:v>
                </c:pt>
                <c:pt idx="1158">
                  <c:v>45527</c:v>
                </c:pt>
                <c:pt idx="1159">
                  <c:v>45530</c:v>
                </c:pt>
                <c:pt idx="1160">
                  <c:v>45531</c:v>
                </c:pt>
                <c:pt idx="1161">
                  <c:v>45532</c:v>
                </c:pt>
                <c:pt idx="1162">
                  <c:v>45533</c:v>
                </c:pt>
                <c:pt idx="1163">
                  <c:v>45534</c:v>
                </c:pt>
                <c:pt idx="1164">
                  <c:v>45538</c:v>
                </c:pt>
                <c:pt idx="1165">
                  <c:v>45539</c:v>
                </c:pt>
                <c:pt idx="1166">
                  <c:v>45540</c:v>
                </c:pt>
                <c:pt idx="1167">
                  <c:v>45541</c:v>
                </c:pt>
                <c:pt idx="1168">
                  <c:v>45544</c:v>
                </c:pt>
                <c:pt idx="1169">
                  <c:v>45545</c:v>
                </c:pt>
                <c:pt idx="1170">
                  <c:v>45546</c:v>
                </c:pt>
                <c:pt idx="1171">
                  <c:v>45547</c:v>
                </c:pt>
                <c:pt idx="1172">
                  <c:v>45548</c:v>
                </c:pt>
                <c:pt idx="1173">
                  <c:v>45551</c:v>
                </c:pt>
                <c:pt idx="1174">
                  <c:v>45552</c:v>
                </c:pt>
                <c:pt idx="1175">
                  <c:v>45553</c:v>
                </c:pt>
                <c:pt idx="1176">
                  <c:v>45554</c:v>
                </c:pt>
                <c:pt idx="1177">
                  <c:v>45555</c:v>
                </c:pt>
                <c:pt idx="1178">
                  <c:v>45558</c:v>
                </c:pt>
                <c:pt idx="1179">
                  <c:v>45559</c:v>
                </c:pt>
                <c:pt idx="1180">
                  <c:v>45560</c:v>
                </c:pt>
                <c:pt idx="1181">
                  <c:v>45561</c:v>
                </c:pt>
                <c:pt idx="1182">
                  <c:v>45562</c:v>
                </c:pt>
                <c:pt idx="1183">
                  <c:v>45565</c:v>
                </c:pt>
                <c:pt idx="1184">
                  <c:v>45566</c:v>
                </c:pt>
                <c:pt idx="1185">
                  <c:v>45567</c:v>
                </c:pt>
                <c:pt idx="1186">
                  <c:v>45568</c:v>
                </c:pt>
                <c:pt idx="1187">
                  <c:v>45569</c:v>
                </c:pt>
                <c:pt idx="1188">
                  <c:v>45572</c:v>
                </c:pt>
                <c:pt idx="1189">
                  <c:v>45573</c:v>
                </c:pt>
                <c:pt idx="1190">
                  <c:v>45574</c:v>
                </c:pt>
                <c:pt idx="1191">
                  <c:v>45575</c:v>
                </c:pt>
                <c:pt idx="1192">
                  <c:v>45576</c:v>
                </c:pt>
                <c:pt idx="1193">
                  <c:v>45579</c:v>
                </c:pt>
                <c:pt idx="1194">
                  <c:v>45580</c:v>
                </c:pt>
                <c:pt idx="1195">
                  <c:v>45581</c:v>
                </c:pt>
                <c:pt idx="1196">
                  <c:v>45582</c:v>
                </c:pt>
                <c:pt idx="1197">
                  <c:v>45583</c:v>
                </c:pt>
                <c:pt idx="1198">
                  <c:v>45586</c:v>
                </c:pt>
                <c:pt idx="1199">
                  <c:v>45587</c:v>
                </c:pt>
                <c:pt idx="1200">
                  <c:v>45588</c:v>
                </c:pt>
                <c:pt idx="1201">
                  <c:v>45589</c:v>
                </c:pt>
                <c:pt idx="1202">
                  <c:v>45590</c:v>
                </c:pt>
                <c:pt idx="1203">
                  <c:v>45593</c:v>
                </c:pt>
                <c:pt idx="1204">
                  <c:v>45594</c:v>
                </c:pt>
                <c:pt idx="1205">
                  <c:v>45595</c:v>
                </c:pt>
                <c:pt idx="1206">
                  <c:v>45596</c:v>
                </c:pt>
                <c:pt idx="1207">
                  <c:v>45597</c:v>
                </c:pt>
                <c:pt idx="1208">
                  <c:v>45600</c:v>
                </c:pt>
                <c:pt idx="1209">
                  <c:v>45601</c:v>
                </c:pt>
                <c:pt idx="1210">
                  <c:v>45602</c:v>
                </c:pt>
                <c:pt idx="1211">
                  <c:v>45603</c:v>
                </c:pt>
                <c:pt idx="1212">
                  <c:v>45604</c:v>
                </c:pt>
                <c:pt idx="1213">
                  <c:v>45607</c:v>
                </c:pt>
                <c:pt idx="1214">
                  <c:v>45608</c:v>
                </c:pt>
                <c:pt idx="1215">
                  <c:v>45609</c:v>
                </c:pt>
                <c:pt idx="1216">
                  <c:v>45610</c:v>
                </c:pt>
                <c:pt idx="1217">
                  <c:v>45611</c:v>
                </c:pt>
                <c:pt idx="1218">
                  <c:v>45614</c:v>
                </c:pt>
                <c:pt idx="1219">
                  <c:v>45615</c:v>
                </c:pt>
                <c:pt idx="1220">
                  <c:v>45616</c:v>
                </c:pt>
                <c:pt idx="1221">
                  <c:v>45617</c:v>
                </c:pt>
                <c:pt idx="1222">
                  <c:v>45618</c:v>
                </c:pt>
                <c:pt idx="1223">
                  <c:v>45621</c:v>
                </c:pt>
                <c:pt idx="1224">
                  <c:v>45622</c:v>
                </c:pt>
                <c:pt idx="1225">
                  <c:v>45623</c:v>
                </c:pt>
                <c:pt idx="1226">
                  <c:v>45624</c:v>
                </c:pt>
                <c:pt idx="1227">
                  <c:v>45625</c:v>
                </c:pt>
                <c:pt idx="1228">
                  <c:v>45628</c:v>
                </c:pt>
                <c:pt idx="1229">
                  <c:v>45629</c:v>
                </c:pt>
                <c:pt idx="1230">
                  <c:v>45630</c:v>
                </c:pt>
                <c:pt idx="1231">
                  <c:v>45631</c:v>
                </c:pt>
                <c:pt idx="1232">
                  <c:v>45632</c:v>
                </c:pt>
                <c:pt idx="1233">
                  <c:v>45635</c:v>
                </c:pt>
                <c:pt idx="1234">
                  <c:v>45636</c:v>
                </c:pt>
                <c:pt idx="1235">
                  <c:v>45637</c:v>
                </c:pt>
                <c:pt idx="1236">
                  <c:v>45638</c:v>
                </c:pt>
                <c:pt idx="1237">
                  <c:v>45639</c:v>
                </c:pt>
                <c:pt idx="1238">
                  <c:v>45642</c:v>
                </c:pt>
                <c:pt idx="1239">
                  <c:v>45643</c:v>
                </c:pt>
                <c:pt idx="1240">
                  <c:v>45644</c:v>
                </c:pt>
                <c:pt idx="1241">
                  <c:v>45645</c:v>
                </c:pt>
                <c:pt idx="1242">
                  <c:v>45646</c:v>
                </c:pt>
                <c:pt idx="1243">
                  <c:v>45649</c:v>
                </c:pt>
                <c:pt idx="1244">
                  <c:v>45650</c:v>
                </c:pt>
                <c:pt idx="1245">
                  <c:v>45652</c:v>
                </c:pt>
                <c:pt idx="1246">
                  <c:v>45653</c:v>
                </c:pt>
                <c:pt idx="1247">
                  <c:v>45656</c:v>
                </c:pt>
                <c:pt idx="1248">
                  <c:v>45657</c:v>
                </c:pt>
                <c:pt idx="1249">
                  <c:v>45659</c:v>
                </c:pt>
                <c:pt idx="1250">
                  <c:v>45660</c:v>
                </c:pt>
                <c:pt idx="1251">
                  <c:v>45663</c:v>
                </c:pt>
                <c:pt idx="1252">
                  <c:v>45664</c:v>
                </c:pt>
                <c:pt idx="1253">
                  <c:v>45665</c:v>
                </c:pt>
                <c:pt idx="1254">
                  <c:v>45666</c:v>
                </c:pt>
                <c:pt idx="1255">
                  <c:v>45667</c:v>
                </c:pt>
                <c:pt idx="1256">
                  <c:v>45670</c:v>
                </c:pt>
                <c:pt idx="1257">
                  <c:v>45671</c:v>
                </c:pt>
                <c:pt idx="1258">
                  <c:v>45672</c:v>
                </c:pt>
                <c:pt idx="1259">
                  <c:v>45673</c:v>
                </c:pt>
                <c:pt idx="1260">
                  <c:v>45674</c:v>
                </c:pt>
                <c:pt idx="1261">
                  <c:v>45677</c:v>
                </c:pt>
                <c:pt idx="1262">
                  <c:v>45678</c:v>
                </c:pt>
                <c:pt idx="1263">
                  <c:v>45679</c:v>
                </c:pt>
                <c:pt idx="1264">
                  <c:v>45680</c:v>
                </c:pt>
                <c:pt idx="1265">
                  <c:v>45681</c:v>
                </c:pt>
                <c:pt idx="1266">
                  <c:v>45684</c:v>
                </c:pt>
                <c:pt idx="1267">
                  <c:v>45685</c:v>
                </c:pt>
                <c:pt idx="1268">
                  <c:v>45686</c:v>
                </c:pt>
                <c:pt idx="1269">
                  <c:v>45687</c:v>
                </c:pt>
                <c:pt idx="1270">
                  <c:v>45688</c:v>
                </c:pt>
                <c:pt idx="1271">
                  <c:v>45691</c:v>
                </c:pt>
                <c:pt idx="1272">
                  <c:v>45692</c:v>
                </c:pt>
                <c:pt idx="1273">
                  <c:v>45693</c:v>
                </c:pt>
                <c:pt idx="1274">
                  <c:v>45694</c:v>
                </c:pt>
                <c:pt idx="1275">
                  <c:v>45695</c:v>
                </c:pt>
                <c:pt idx="1276">
                  <c:v>45698</c:v>
                </c:pt>
                <c:pt idx="1277">
                  <c:v>45699</c:v>
                </c:pt>
                <c:pt idx="1278">
                  <c:v>45700</c:v>
                </c:pt>
                <c:pt idx="1279">
                  <c:v>45701</c:v>
                </c:pt>
                <c:pt idx="1280">
                  <c:v>45702</c:v>
                </c:pt>
                <c:pt idx="1281">
                  <c:v>45706</c:v>
                </c:pt>
                <c:pt idx="1282">
                  <c:v>45707</c:v>
                </c:pt>
              </c:numCache>
            </c:numRef>
          </c:cat>
          <c:val>
            <c:numRef>
              <c:f>Sheet1!$B$93:$B$1375</c:f>
              <c:numCache>
                <c:formatCode>0.00%</c:formatCode>
                <c:ptCount val="1283"/>
                <c:pt idx="0">
                  <c:v>0</c:v>
                </c:pt>
                <c:pt idx="1">
                  <c:v>7.8000000000000005E-3</c:v>
                </c:pt>
                <c:pt idx="2">
                  <c:v>1.1000000000000001E-3</c:v>
                </c:pt>
                <c:pt idx="3">
                  <c:v>-2.23E-2</c:v>
                </c:pt>
                <c:pt idx="4">
                  <c:v>-6.4699999999999994E-2</c:v>
                </c:pt>
                <c:pt idx="5">
                  <c:v>-6.8499999999999991E-2</c:v>
                </c:pt>
                <c:pt idx="6">
                  <c:v>-7.1199999999999999E-2</c:v>
                </c:pt>
                <c:pt idx="7">
                  <c:v>-0.1074</c:v>
                </c:pt>
                <c:pt idx="8">
                  <c:v>-0.11789999999999999</c:v>
                </c:pt>
                <c:pt idx="9">
                  <c:v>-0.152</c:v>
                </c:pt>
                <c:pt idx="10">
                  <c:v>-8.8100000000000012E-2</c:v>
                </c:pt>
                <c:pt idx="11">
                  <c:v>-0.1195</c:v>
                </c:pt>
                <c:pt idx="12">
                  <c:v>-0.1971</c:v>
                </c:pt>
                <c:pt idx="13">
                  <c:v>-0.30099999999999999</c:v>
                </c:pt>
                <c:pt idx="14">
                  <c:v>-0.24760000000000001</c:v>
                </c:pt>
                <c:pt idx="15">
                  <c:v>-0.33729999999999999</c:v>
                </c:pt>
                <c:pt idx="16">
                  <c:v>-0.53139999999999998</c:v>
                </c:pt>
                <c:pt idx="17">
                  <c:v>-0.46289999999999998</c:v>
                </c:pt>
                <c:pt idx="18">
                  <c:v>-0.56689999999999996</c:v>
                </c:pt>
                <c:pt idx="19">
                  <c:v>-0.59130000000000005</c:v>
                </c:pt>
                <c:pt idx="20">
                  <c:v>-0.67779999999999996</c:v>
                </c:pt>
                <c:pt idx="21">
                  <c:v>-0.64469999999999994</c:v>
                </c:pt>
                <c:pt idx="22">
                  <c:v>-0.63749999999999996</c:v>
                </c:pt>
                <c:pt idx="23">
                  <c:v>-0.64900000000000002</c:v>
                </c:pt>
                <c:pt idx="24">
                  <c:v>-0.58109999999999995</c:v>
                </c:pt>
                <c:pt idx="25">
                  <c:v>-0.51659999999999995</c:v>
                </c:pt>
                <c:pt idx="26">
                  <c:v>-0.36219999999999997</c:v>
                </c:pt>
                <c:pt idx="27">
                  <c:v>-0.47070000000000001</c:v>
                </c:pt>
                <c:pt idx="28">
                  <c:v>-0.49249999999999999</c:v>
                </c:pt>
                <c:pt idx="29">
                  <c:v>-0.48869999999999997</c:v>
                </c:pt>
                <c:pt idx="30">
                  <c:v>-0.57679999999999998</c:v>
                </c:pt>
                <c:pt idx="31">
                  <c:v>-0.61729999999999996</c:v>
                </c:pt>
                <c:pt idx="32">
                  <c:v>-0.63290000000000002</c:v>
                </c:pt>
                <c:pt idx="33">
                  <c:v>-0.54810000000000003</c:v>
                </c:pt>
                <c:pt idx="34">
                  <c:v>-0.55320000000000003</c:v>
                </c:pt>
                <c:pt idx="35">
                  <c:v>-0.52010000000000001</c:v>
                </c:pt>
                <c:pt idx="36">
                  <c:v>-0.52950000000000008</c:v>
                </c:pt>
                <c:pt idx="37">
                  <c:v>-0.50380000000000003</c:v>
                </c:pt>
                <c:pt idx="38">
                  <c:v>-0.43450000000000005</c:v>
                </c:pt>
                <c:pt idx="39">
                  <c:v>-0.44950000000000001</c:v>
                </c:pt>
                <c:pt idx="40">
                  <c:v>-0.44979999999999998</c:v>
                </c:pt>
                <c:pt idx="41">
                  <c:v>-0.43609999999999999</c:v>
                </c:pt>
                <c:pt idx="42">
                  <c:v>-0.43450000000000005</c:v>
                </c:pt>
                <c:pt idx="43">
                  <c:v>-0.48659999999999998</c:v>
                </c:pt>
                <c:pt idx="44">
                  <c:v>-0.48520000000000002</c:v>
                </c:pt>
                <c:pt idx="45">
                  <c:v>-0.45779999999999998</c:v>
                </c:pt>
                <c:pt idx="46">
                  <c:v>-0.46049999999999996</c:v>
                </c:pt>
                <c:pt idx="47">
                  <c:v>-0.40920000000000001</c:v>
                </c:pt>
                <c:pt idx="48">
                  <c:v>-0.37</c:v>
                </c:pt>
                <c:pt idx="49">
                  <c:v>-0.27579999999999999</c:v>
                </c:pt>
                <c:pt idx="50">
                  <c:v>-0.29189999999999999</c:v>
                </c:pt>
                <c:pt idx="51">
                  <c:v>-0.32469999999999999</c:v>
                </c:pt>
                <c:pt idx="52">
                  <c:v>-0.31980000000000003</c:v>
                </c:pt>
                <c:pt idx="53">
                  <c:v>-0.29109999999999997</c:v>
                </c:pt>
                <c:pt idx="54">
                  <c:v>-0.29109999999999997</c:v>
                </c:pt>
                <c:pt idx="55">
                  <c:v>-0.2868</c:v>
                </c:pt>
                <c:pt idx="56">
                  <c:v>-0.2223</c:v>
                </c:pt>
                <c:pt idx="57">
                  <c:v>-0.24059999999999998</c:v>
                </c:pt>
                <c:pt idx="58">
                  <c:v>-0.30399999999999999</c:v>
                </c:pt>
                <c:pt idx="59">
                  <c:v>-0.36119999999999997</c:v>
                </c:pt>
                <c:pt idx="60">
                  <c:v>-0.38369999999999999</c:v>
                </c:pt>
                <c:pt idx="61">
                  <c:v>-0.39740000000000003</c:v>
                </c:pt>
                <c:pt idx="62">
                  <c:v>#N/A</c:v>
                </c:pt>
                <c:pt idx="63">
                  <c:v>-0.32630000000000003</c:v>
                </c:pt>
                <c:pt idx="64">
                  <c:v>-0.33399999999999996</c:v>
                </c:pt>
                <c:pt idx="65">
                  <c:v>-8.2200000000000009E-2</c:v>
                </c:pt>
                <c:pt idx="66">
                  <c:v>-0.11359999999999999</c:v>
                </c:pt>
                <c:pt idx="67">
                  <c:v>-8.6999999999999994E-2</c:v>
                </c:pt>
                <c:pt idx="68">
                  <c:v>-6.4399999999999999E-2</c:v>
                </c:pt>
                <c:pt idx="69">
                  <c:v>-0.1066</c:v>
                </c:pt>
                <c:pt idx="70">
                  <c:v>-0.14499999999999999</c:v>
                </c:pt>
                <c:pt idx="71">
                  <c:v>-0.1176</c:v>
                </c:pt>
                <c:pt idx="72">
                  <c:v>-8.1900000000000001E-2</c:v>
                </c:pt>
                <c:pt idx="73">
                  <c:v>-7.2000000000000008E-2</c:v>
                </c:pt>
                <c:pt idx="74">
                  <c:v>-6.2E-2</c:v>
                </c:pt>
                <c:pt idx="75">
                  <c:v>-9.5100000000000004E-2</c:v>
                </c:pt>
                <c:pt idx="76">
                  <c:v>-9.8800000000000013E-2</c:v>
                </c:pt>
                <c:pt idx="77">
                  <c:v>-0.10099999999999999</c:v>
                </c:pt>
                <c:pt idx="78">
                  <c:v>-8.9700000000000002E-2</c:v>
                </c:pt>
                <c:pt idx="79">
                  <c:v>-0.1176</c:v>
                </c:pt>
                <c:pt idx="80">
                  <c:v>-0.19550000000000001</c:v>
                </c:pt>
                <c:pt idx="81">
                  <c:v>-0.14019999999999999</c:v>
                </c:pt>
                <c:pt idx="82">
                  <c:v>-0.12590000000000001</c:v>
                </c:pt>
                <c:pt idx="83">
                  <c:v>-9.8000000000000004E-2</c:v>
                </c:pt>
                <c:pt idx="84">
                  <c:v>-7.5700000000000003E-2</c:v>
                </c:pt>
                <c:pt idx="85">
                  <c:v>-9.1600000000000001E-2</c:v>
                </c:pt>
                <c:pt idx="86">
                  <c:v>-0.1012</c:v>
                </c:pt>
                <c:pt idx="87">
                  <c:v>-6.7699999999999996E-2</c:v>
                </c:pt>
                <c:pt idx="88">
                  <c:v>-5.3399999999999996E-2</c:v>
                </c:pt>
                <c:pt idx="89">
                  <c:v>-0.1002</c:v>
                </c:pt>
                <c:pt idx="90">
                  <c:v>-6.8199999999999997E-2</c:v>
                </c:pt>
                <c:pt idx="91">
                  <c:v>-9.1799999999999993E-2</c:v>
                </c:pt>
                <c:pt idx="92">
                  <c:v>-0.1007</c:v>
                </c:pt>
                <c:pt idx="93">
                  <c:v>-0.12920000000000001</c:v>
                </c:pt>
                <c:pt idx="94">
                  <c:v>#N/A</c:v>
                </c:pt>
                <c:pt idx="95">
                  <c:v>-7.8000000000000005E-3</c:v>
                </c:pt>
                <c:pt idx="96">
                  <c:v>-6.4000000000000003E-3</c:v>
                </c:pt>
                <c:pt idx="97">
                  <c:v>-8.0000000000000004E-4</c:v>
                </c:pt>
                <c:pt idx="98">
                  <c:v>-3.5400000000000001E-2</c:v>
                </c:pt>
                <c:pt idx="99">
                  <c:v>-3.8E-3</c:v>
                </c:pt>
                <c:pt idx="100">
                  <c:v>-1.4499999999999999E-2</c:v>
                </c:pt>
                <c:pt idx="101">
                  <c:v>-4.4299999999999999E-2</c:v>
                </c:pt>
                <c:pt idx="102">
                  <c:v>-9.64E-2</c:v>
                </c:pt>
                <c:pt idx="103">
                  <c:v>-0.1273</c:v>
                </c:pt>
                <c:pt idx="104">
                  <c:v>-7.5499999999999998E-2</c:v>
                </c:pt>
                <c:pt idx="105">
                  <c:v>-8.9700000000000002E-2</c:v>
                </c:pt>
                <c:pt idx="106">
                  <c:v>-9.2600000000000002E-2</c:v>
                </c:pt>
                <c:pt idx="107">
                  <c:v>-6.2800000000000009E-2</c:v>
                </c:pt>
                <c:pt idx="108">
                  <c:v>-4.3799999999999999E-2</c:v>
                </c:pt>
                <c:pt idx="109">
                  <c:v>-7.22E-2</c:v>
                </c:pt>
                <c:pt idx="110">
                  <c:v>-9.0500000000000011E-2</c:v>
                </c:pt>
                <c:pt idx="111">
                  <c:v>-9.3699999999999992E-2</c:v>
                </c:pt>
                <c:pt idx="112">
                  <c:v>-8.0600000000000005E-2</c:v>
                </c:pt>
                <c:pt idx="113">
                  <c:v>-8.8599999999999998E-2</c:v>
                </c:pt>
                <c:pt idx="114">
                  <c:v>-2.0899999999999998E-2</c:v>
                </c:pt>
                <c:pt idx="115">
                  <c:v>3.95E-2</c:v>
                </c:pt>
                <c:pt idx="116">
                  <c:v>1.61E-2</c:v>
                </c:pt>
                <c:pt idx="117">
                  <c:v>#N/A</c:v>
                </c:pt>
                <c:pt idx="118">
                  <c:v>0.11550000000000001</c:v>
                </c:pt>
                <c:pt idx="119">
                  <c:v>0.12330000000000001</c:v>
                </c:pt>
                <c:pt idx="120">
                  <c:v>0.10279999999999999</c:v>
                </c:pt>
                <c:pt idx="121">
                  <c:v>0.10310000000000001</c:v>
                </c:pt>
                <c:pt idx="122">
                  <c:v>7.22E-2</c:v>
                </c:pt>
                <c:pt idx="123">
                  <c:v>6.0999999999999999E-2</c:v>
                </c:pt>
                <c:pt idx="124">
                  <c:v>4.5599999999999995E-2</c:v>
                </c:pt>
                <c:pt idx="125">
                  <c:v>5.8299999999999998E-2</c:v>
                </c:pt>
                <c:pt idx="126">
                  <c:v>5.5E-2</c:v>
                </c:pt>
                <c:pt idx="127">
                  <c:v>6.1500000000000006E-2</c:v>
                </c:pt>
                <c:pt idx="128">
                  <c:v>5.4800000000000001E-2</c:v>
                </c:pt>
                <c:pt idx="129">
                  <c:v>4.3200000000000002E-2</c:v>
                </c:pt>
                <c:pt idx="130">
                  <c:v>9.2899999999999996E-2</c:v>
                </c:pt>
                <c:pt idx="131">
                  <c:v>8.9700000000000002E-2</c:v>
                </c:pt>
                <c:pt idx="132">
                  <c:v>0.1023</c:v>
                </c:pt>
                <c:pt idx="133">
                  <c:v>0.13320000000000001</c:v>
                </c:pt>
                <c:pt idx="134">
                  <c:v>0.1681</c:v>
                </c:pt>
                <c:pt idx="135">
                  <c:v>0.185</c:v>
                </c:pt>
                <c:pt idx="136">
                  <c:v>0.23850000000000002</c:v>
                </c:pt>
                <c:pt idx="137">
                  <c:v>0.21640000000000001</c:v>
                </c:pt>
                <c:pt idx="138">
                  <c:v>0.2782</c:v>
                </c:pt>
                <c:pt idx="139">
                  <c:v>0.2752</c:v>
                </c:pt>
                <c:pt idx="140">
                  <c:v>0.17510000000000001</c:v>
                </c:pt>
                <c:pt idx="141">
                  <c:v>0.1686</c:v>
                </c:pt>
                <c:pt idx="142">
                  <c:v>0.14180000000000001</c:v>
                </c:pt>
                <c:pt idx="143">
                  <c:v>9.5600000000000004E-2</c:v>
                </c:pt>
                <c:pt idx="144">
                  <c:v>0.12429999999999999</c:v>
                </c:pt>
                <c:pt idx="145">
                  <c:v>7.5499999999999998E-2</c:v>
                </c:pt>
                <c:pt idx="146">
                  <c:v>0.1198</c:v>
                </c:pt>
                <c:pt idx="147">
                  <c:v>0.1079</c:v>
                </c:pt>
                <c:pt idx="148">
                  <c:v>0.1045</c:v>
                </c:pt>
                <c:pt idx="149">
                  <c:v>8.0299999999999996E-2</c:v>
                </c:pt>
                <c:pt idx="150">
                  <c:v>4.5100000000000001E-2</c:v>
                </c:pt>
                <c:pt idx="151">
                  <c:v>7.6299999999999993E-2</c:v>
                </c:pt>
                <c:pt idx="152">
                  <c:v>8.6500000000000007E-2</c:v>
                </c:pt>
                <c:pt idx="153">
                  <c:v>6.8699999999999997E-2</c:v>
                </c:pt>
                <c:pt idx="154">
                  <c:v>6.5000000000000002E-2</c:v>
                </c:pt>
                <c:pt idx="155">
                  <c:v>8.2400000000000001E-2</c:v>
                </c:pt>
                <c:pt idx="156">
                  <c:v>0.11199999999999999</c:v>
                </c:pt>
                <c:pt idx="157">
                  <c:v>0.1421</c:v>
                </c:pt>
                <c:pt idx="158">
                  <c:v>0.14550000000000002</c:v>
                </c:pt>
                <c:pt idx="159">
                  <c:v>0.1641</c:v>
                </c:pt>
                <c:pt idx="160">
                  <c:v>0.12859999999999999</c:v>
                </c:pt>
                <c:pt idx="161">
                  <c:v>0.1552</c:v>
                </c:pt>
                <c:pt idx="162">
                  <c:v>0.1893</c:v>
                </c:pt>
                <c:pt idx="163">
                  <c:v>0.26929999999999998</c:v>
                </c:pt>
                <c:pt idx="164">
                  <c:v>0.26500000000000001</c:v>
                </c:pt>
                <c:pt idx="165">
                  <c:v>0.30909999999999999</c:v>
                </c:pt>
                <c:pt idx="166">
                  <c:v>#N/A</c:v>
                </c:pt>
                <c:pt idx="167">
                  <c:v>0.29480000000000001</c:v>
                </c:pt>
                <c:pt idx="168">
                  <c:v>0.2712</c:v>
                </c:pt>
                <c:pt idx="169">
                  <c:v>0.26910000000000001</c:v>
                </c:pt>
                <c:pt idx="170">
                  <c:v>0.26719999999999999</c:v>
                </c:pt>
                <c:pt idx="171">
                  <c:v>0.23499999999999999</c:v>
                </c:pt>
                <c:pt idx="172">
                  <c:v>0.22070000000000001</c:v>
                </c:pt>
                <c:pt idx="173">
                  <c:v>0.18309999999999998</c:v>
                </c:pt>
                <c:pt idx="174">
                  <c:v>0.20809999999999998</c:v>
                </c:pt>
                <c:pt idx="175">
                  <c:v>0.2089</c:v>
                </c:pt>
                <c:pt idx="176">
                  <c:v>0.2084</c:v>
                </c:pt>
                <c:pt idx="177">
                  <c:v>0.2339</c:v>
                </c:pt>
                <c:pt idx="178">
                  <c:v>0.12890000000000001</c:v>
                </c:pt>
                <c:pt idx="179">
                  <c:v>0.13780000000000001</c:v>
                </c:pt>
                <c:pt idx="180">
                  <c:v>0.14449999999999999</c:v>
                </c:pt>
                <c:pt idx="181">
                  <c:v>0.1106</c:v>
                </c:pt>
                <c:pt idx="182">
                  <c:v>0.15490000000000001</c:v>
                </c:pt>
                <c:pt idx="183">
                  <c:v>0.2205</c:v>
                </c:pt>
                <c:pt idx="184">
                  <c:v>0.41920000000000002</c:v>
                </c:pt>
                <c:pt idx="185">
                  <c:v>0.38369999999999999</c:v>
                </c:pt>
                <c:pt idx="186">
                  <c:v>0.36280000000000001</c:v>
                </c:pt>
                <c:pt idx="187">
                  <c:v>0.36310000000000003</c:v>
                </c:pt>
                <c:pt idx="188">
                  <c:v>0.41249999999999998</c:v>
                </c:pt>
                <c:pt idx="189">
                  <c:v>0.37729999999999997</c:v>
                </c:pt>
                <c:pt idx="190">
                  <c:v>0.39340000000000003</c:v>
                </c:pt>
                <c:pt idx="191">
                  <c:v>0.40060000000000001</c:v>
                </c:pt>
                <c:pt idx="192">
                  <c:v>0.46970000000000001</c:v>
                </c:pt>
                <c:pt idx="193">
                  <c:v>0.50970000000000004</c:v>
                </c:pt>
                <c:pt idx="194">
                  <c:v>0.49840000000000001</c:v>
                </c:pt>
                <c:pt idx="195">
                  <c:v>0.59960000000000002</c:v>
                </c:pt>
                <c:pt idx="196">
                  <c:v>0.69469999999999998</c:v>
                </c:pt>
                <c:pt idx="197">
                  <c:v>0.66409999999999991</c:v>
                </c:pt>
                <c:pt idx="198">
                  <c:v>0.78200000000000003</c:v>
                </c:pt>
                <c:pt idx="199">
                  <c:v>0.83939999999999992</c:v>
                </c:pt>
                <c:pt idx="200">
                  <c:v>0.92400000000000004</c:v>
                </c:pt>
                <c:pt idx="201">
                  <c:v>0.81340000000000001</c:v>
                </c:pt>
                <c:pt idx="202">
                  <c:v>0.82599999999999996</c:v>
                </c:pt>
                <c:pt idx="203">
                  <c:v>1.0158</c:v>
                </c:pt>
                <c:pt idx="204">
                  <c:v>1.0983000000000001</c:v>
                </c:pt>
                <c:pt idx="205">
                  <c:v>1.0590999999999999</c:v>
                </c:pt>
                <c:pt idx="206">
                  <c:v>1.0874999999999999</c:v>
                </c:pt>
                <c:pt idx="207">
                  <c:v>1.0483</c:v>
                </c:pt>
                <c:pt idx="208">
                  <c:v>0.99029999999999996</c:v>
                </c:pt>
                <c:pt idx="209">
                  <c:v>0.99650000000000005</c:v>
                </c:pt>
                <c:pt idx="210">
                  <c:v>1.0286999999999999</c:v>
                </c:pt>
                <c:pt idx="211">
                  <c:v>0.98419999999999996</c:v>
                </c:pt>
                <c:pt idx="212">
                  <c:v>0.97450000000000003</c:v>
                </c:pt>
                <c:pt idx="213">
                  <c:v>0.99109999999999998</c:v>
                </c:pt>
                <c:pt idx="214">
                  <c:v>1.018</c:v>
                </c:pt>
                <c:pt idx="215">
                  <c:v>0.98439999999999994</c:v>
                </c:pt>
                <c:pt idx="216">
                  <c:v>1.087</c:v>
                </c:pt>
                <c:pt idx="217">
                  <c:v>1.3268</c:v>
                </c:pt>
                <c:pt idx="218">
                  <c:v>1.3194999999999999</c:v>
                </c:pt>
                <c:pt idx="219">
                  <c:v>1.3596000000000001</c:v>
                </c:pt>
                <c:pt idx="220">
                  <c:v>#N/A</c:v>
                </c:pt>
                <c:pt idx="221">
                  <c:v>1.3588</c:v>
                </c:pt>
                <c:pt idx="222">
                  <c:v>1.3941999999999999</c:v>
                </c:pt>
                <c:pt idx="223">
                  <c:v>1.4125000000000001</c:v>
                </c:pt>
                <c:pt idx="224">
                  <c:v>1.2953999999999999</c:v>
                </c:pt>
                <c:pt idx="225">
                  <c:v>1.2653000000000001</c:v>
                </c:pt>
                <c:pt idx="226">
                  <c:v>1.2137</c:v>
                </c:pt>
                <c:pt idx="227">
                  <c:v>1.2934999999999999</c:v>
                </c:pt>
                <c:pt idx="228">
                  <c:v>1.3126</c:v>
                </c:pt>
                <c:pt idx="229">
                  <c:v>1.3049999999999999</c:v>
                </c:pt>
                <c:pt idx="230">
                  <c:v>1.3640999999999999</c:v>
                </c:pt>
                <c:pt idx="231">
                  <c:v>1.5534000000000001</c:v>
                </c:pt>
                <c:pt idx="232">
                  <c:v>1.5388999999999999</c:v>
                </c:pt>
                <c:pt idx="233">
                  <c:v>1.399</c:v>
                </c:pt>
                <c:pt idx="234">
                  <c:v>1.4666999999999999</c:v>
                </c:pt>
                <c:pt idx="235">
                  <c:v>1.4799</c:v>
                </c:pt>
                <c:pt idx="236">
                  <c:v>1.4509000000000001</c:v>
                </c:pt>
                <c:pt idx="237">
                  <c:v>1.3851</c:v>
                </c:pt>
                <c:pt idx="238">
                  <c:v>1.3597999999999999</c:v>
                </c:pt>
                <c:pt idx="239">
                  <c:v>1.3673</c:v>
                </c:pt>
                <c:pt idx="240">
                  <c:v>1.4154</c:v>
                </c:pt>
                <c:pt idx="241">
                  <c:v>1.2512999999999999</c:v>
                </c:pt>
                <c:pt idx="242">
                  <c:v>1.3337999999999999</c:v>
                </c:pt>
                <c:pt idx="243">
                  <c:v>1.2323</c:v>
                </c:pt>
                <c:pt idx="244">
                  <c:v>1.4494999999999998</c:v>
                </c:pt>
                <c:pt idx="245">
                  <c:v>1.4705000000000001</c:v>
                </c:pt>
                <c:pt idx="246">
                  <c:v>1.5658000000000001</c:v>
                </c:pt>
                <c:pt idx="247">
                  <c:v>1.5043</c:v>
                </c:pt>
                <c:pt idx="248">
                  <c:v>1.4834000000000001</c:v>
                </c:pt>
                <c:pt idx="249">
                  <c:v>1.4637</c:v>
                </c:pt>
                <c:pt idx="250">
                  <c:v>1.4874000000000001</c:v>
                </c:pt>
                <c:pt idx="251">
                  <c:v>1.4363999999999999</c:v>
                </c:pt>
                <c:pt idx="252">
                  <c:v>1.5090999999999999</c:v>
                </c:pt>
                <c:pt idx="253">
                  <c:v>1.4944</c:v>
                </c:pt>
                <c:pt idx="254">
                  <c:v>1.4299000000000002</c:v>
                </c:pt>
                <c:pt idx="255">
                  <c:v>1.4177999999999999</c:v>
                </c:pt>
                <c:pt idx="256">
                  <c:v>1.5056</c:v>
                </c:pt>
                <c:pt idx="257">
                  <c:v>1.6292</c:v>
                </c:pt>
                <c:pt idx="258">
                  <c:v>1.7508000000000001</c:v>
                </c:pt>
                <c:pt idx="259">
                  <c:v>1.5378999999999998</c:v>
                </c:pt>
                <c:pt idx="260">
                  <c:v>1.4621000000000002</c:v>
                </c:pt>
                <c:pt idx="261">
                  <c:v>1.3751</c:v>
                </c:pt>
                <c:pt idx="262">
                  <c:v>1.34</c:v>
                </c:pt>
                <c:pt idx="263">
                  <c:v>1.4490000000000001</c:v>
                </c:pt>
                <c:pt idx="264">
                  <c:v>1.4216</c:v>
                </c:pt>
                <c:pt idx="265">
                  <c:v>1.2969999999999999</c:v>
                </c:pt>
                <c:pt idx="266">
                  <c:v>1.0872999999999999</c:v>
                </c:pt>
                <c:pt idx="267">
                  <c:v>0.98629999999999995</c:v>
                </c:pt>
                <c:pt idx="268">
                  <c:v>0.84260000000000002</c:v>
                </c:pt>
                <c:pt idx="269">
                  <c:v>1.0158</c:v>
                </c:pt>
                <c:pt idx="270">
                  <c:v>0.96989999999999998</c:v>
                </c:pt>
                <c:pt idx="271">
                  <c:v>1.1654</c:v>
                </c:pt>
                <c:pt idx="272">
                  <c:v>1.3141999999999998</c:v>
                </c:pt>
                <c:pt idx="273">
                  <c:v>1.4213</c:v>
                </c:pt>
                <c:pt idx="274">
                  <c:v>1.3563000000000001</c:v>
                </c:pt>
                <c:pt idx="275">
                  <c:v>1.2852000000000001</c:v>
                </c:pt>
                <c:pt idx="276">
                  <c:v>1.1369</c:v>
                </c:pt>
                <c:pt idx="277">
                  <c:v>1.1391</c:v>
                </c:pt>
                <c:pt idx="278">
                  <c:v>1.2085999999999999</c:v>
                </c:pt>
                <c:pt idx="279">
                  <c:v>1.1627000000000001</c:v>
                </c:pt>
                <c:pt idx="280">
                  <c:v>1.0332999999999999</c:v>
                </c:pt>
                <c:pt idx="281">
                  <c:v>1.0559000000000001</c:v>
                </c:pt>
                <c:pt idx="282">
                  <c:v>1.0381</c:v>
                </c:pt>
                <c:pt idx="283">
                  <c:v>0.98819999999999997</c:v>
                </c:pt>
                <c:pt idx="284">
                  <c:v>1.026</c:v>
                </c:pt>
                <c:pt idx="285">
                  <c:v>1.1222000000000001</c:v>
                </c:pt>
                <c:pt idx="286">
                  <c:v>1.1701999999999999</c:v>
                </c:pt>
                <c:pt idx="287">
                  <c:v>1.1711</c:v>
                </c:pt>
                <c:pt idx="288">
                  <c:v>1.2983000000000002</c:v>
                </c:pt>
                <c:pt idx="289">
                  <c:v>1.3134000000000001</c:v>
                </c:pt>
                <c:pt idx="290">
                  <c:v>1.4358000000000002</c:v>
                </c:pt>
                <c:pt idx="291">
                  <c:v>1.431</c:v>
                </c:pt>
                <c:pt idx="292">
                  <c:v>1.4280000000000002</c:v>
                </c:pt>
                <c:pt idx="293">
                  <c:v>1.4694</c:v>
                </c:pt>
                <c:pt idx="294">
                  <c:v>1.3931</c:v>
                </c:pt>
                <c:pt idx="295">
                  <c:v>1.3877999999999999</c:v>
                </c:pt>
                <c:pt idx="296">
                  <c:v>1.2473000000000001</c:v>
                </c:pt>
                <c:pt idx="297">
                  <c:v>1.1662000000000001</c:v>
                </c:pt>
                <c:pt idx="298">
                  <c:v>1.1677999999999999</c:v>
                </c:pt>
                <c:pt idx="299">
                  <c:v>1.2849000000000002</c:v>
                </c:pt>
                <c:pt idx="300">
                  <c:v>1.2438</c:v>
                </c:pt>
                <c:pt idx="301">
                  <c:v>1.3346</c:v>
                </c:pt>
                <c:pt idx="302">
                  <c:v>1.3647</c:v>
                </c:pt>
                <c:pt idx="303">
                  <c:v>1.3182</c:v>
                </c:pt>
                <c:pt idx="304">
                  <c:v>1.3647</c:v>
                </c:pt>
                <c:pt idx="305">
                  <c:v>1.3012999999999999</c:v>
                </c:pt>
                <c:pt idx="306">
                  <c:v>1.3048</c:v>
                </c:pt>
                <c:pt idx="307">
                  <c:v>1.2334000000000001</c:v>
                </c:pt>
                <c:pt idx="308">
                  <c:v>1.1562999999999999</c:v>
                </c:pt>
                <c:pt idx="309">
                  <c:v>1.1262000000000001</c:v>
                </c:pt>
                <c:pt idx="310">
                  <c:v>1.0168999999999999</c:v>
                </c:pt>
                <c:pt idx="311">
                  <c:v>1.0456000000000001</c:v>
                </c:pt>
                <c:pt idx="312">
                  <c:v>0.91249999999999998</c:v>
                </c:pt>
                <c:pt idx="313">
                  <c:v>0.94920000000000004</c:v>
                </c:pt>
                <c:pt idx="314">
                  <c:v>0.88209999999999988</c:v>
                </c:pt>
                <c:pt idx="315">
                  <c:v>0.8173999999999999</c:v>
                </c:pt>
                <c:pt idx="316">
                  <c:v>0.91220000000000001</c:v>
                </c:pt>
                <c:pt idx="317">
                  <c:v>0.88749999999999996</c:v>
                </c:pt>
                <c:pt idx="318">
                  <c:v>0.90469999999999995</c:v>
                </c:pt>
                <c:pt idx="319">
                  <c:v>0.86919999999999997</c:v>
                </c:pt>
                <c:pt idx="320">
                  <c:v>1.1512</c:v>
                </c:pt>
                <c:pt idx="321">
                  <c:v>1.2816999999999998</c:v>
                </c:pt>
                <c:pt idx="322">
                  <c:v>#N/A</c:v>
                </c:pt>
                <c:pt idx="323">
                  <c:v>1.3563000000000001</c:v>
                </c:pt>
                <c:pt idx="324">
                  <c:v>1.3837000000000002</c:v>
                </c:pt>
                <c:pt idx="325">
                  <c:v>1.3718999999999999</c:v>
                </c:pt>
                <c:pt idx="326">
                  <c:v>1.3381000000000001</c:v>
                </c:pt>
                <c:pt idx="327">
                  <c:v>1.3558000000000001</c:v>
                </c:pt>
                <c:pt idx="328">
                  <c:v>1.2524</c:v>
                </c:pt>
                <c:pt idx="329">
                  <c:v>1.2763</c:v>
                </c:pt>
                <c:pt idx="330">
                  <c:v>1.2529999999999999</c:v>
                </c:pt>
                <c:pt idx="331">
                  <c:v>1.3287</c:v>
                </c:pt>
                <c:pt idx="332">
                  <c:v>1.3418000000000001</c:v>
                </c:pt>
                <c:pt idx="333">
                  <c:v>1.4022999999999999</c:v>
                </c:pt>
                <c:pt idx="334">
                  <c:v>1.3024</c:v>
                </c:pt>
                <c:pt idx="335">
                  <c:v>1.3085</c:v>
                </c:pt>
                <c:pt idx="336">
                  <c:v>1.3561000000000001</c:v>
                </c:pt>
                <c:pt idx="337">
                  <c:v>1.4774</c:v>
                </c:pt>
                <c:pt idx="338">
                  <c:v>1.4022999999999999</c:v>
                </c:pt>
                <c:pt idx="339">
                  <c:v>1.3903999999999999</c:v>
                </c:pt>
                <c:pt idx="340">
                  <c:v>1.5706</c:v>
                </c:pt>
                <c:pt idx="341">
                  <c:v>1.6727000000000001</c:v>
                </c:pt>
                <c:pt idx="342">
                  <c:v>1.7331000000000001</c:v>
                </c:pt>
                <c:pt idx="343">
                  <c:v>1.7127000000000001</c:v>
                </c:pt>
                <c:pt idx="344">
                  <c:v>1.7312000000000001</c:v>
                </c:pt>
                <c:pt idx="345">
                  <c:v>1.8031999999999999</c:v>
                </c:pt>
                <c:pt idx="346">
                  <c:v>1.7894999999999999</c:v>
                </c:pt>
                <c:pt idx="347">
                  <c:v>1.8552999999999999</c:v>
                </c:pt>
                <c:pt idx="348">
                  <c:v>1.8418000000000001</c:v>
                </c:pt>
                <c:pt idx="349">
                  <c:v>1.786</c:v>
                </c:pt>
                <c:pt idx="350">
                  <c:v>#N/A</c:v>
                </c:pt>
                <c:pt idx="351">
                  <c:v>1.8730000000000002</c:v>
                </c:pt>
                <c:pt idx="352">
                  <c:v>1.909</c:v>
                </c:pt>
                <c:pt idx="353">
                  <c:v>1.8547</c:v>
                </c:pt>
                <c:pt idx="354">
                  <c:v>1.7908000000000002</c:v>
                </c:pt>
                <c:pt idx="355">
                  <c:v>1.7566999999999999</c:v>
                </c:pt>
                <c:pt idx="356">
                  <c:v>1.8469</c:v>
                </c:pt>
                <c:pt idx="357">
                  <c:v>1.8171000000000002</c:v>
                </c:pt>
                <c:pt idx="358">
                  <c:v>1.7706999999999999</c:v>
                </c:pt>
                <c:pt idx="359">
                  <c:v>1.7277</c:v>
                </c:pt>
                <c:pt idx="360">
                  <c:v>1.6732</c:v>
                </c:pt>
                <c:pt idx="361">
                  <c:v>1.6555000000000002</c:v>
                </c:pt>
                <c:pt idx="362">
                  <c:v>1.6562999999999999</c:v>
                </c:pt>
                <c:pt idx="363">
                  <c:v>1.7841</c:v>
                </c:pt>
                <c:pt idx="364">
                  <c:v>1.7967</c:v>
                </c:pt>
                <c:pt idx="365">
                  <c:v>1.8256999999999999</c:v>
                </c:pt>
                <c:pt idx="366">
                  <c:v>1.9009</c:v>
                </c:pt>
                <c:pt idx="367">
                  <c:v>1.9663999999999999</c:v>
                </c:pt>
                <c:pt idx="368">
                  <c:v>1.964</c:v>
                </c:pt>
                <c:pt idx="369">
                  <c:v>2.0091000000000001</c:v>
                </c:pt>
                <c:pt idx="370">
                  <c:v>1.9552</c:v>
                </c:pt>
                <c:pt idx="371">
                  <c:v>1.8687</c:v>
                </c:pt>
                <c:pt idx="372">
                  <c:v>#N/A</c:v>
                </c:pt>
                <c:pt idx="373">
                  <c:v>1.9415</c:v>
                </c:pt>
                <c:pt idx="374">
                  <c:v>2.0051000000000001</c:v>
                </c:pt>
                <c:pt idx="375">
                  <c:v>2.2193999999999998</c:v>
                </c:pt>
                <c:pt idx="376">
                  <c:v>2.2793000000000001</c:v>
                </c:pt>
                <c:pt idx="377">
                  <c:v>2.1302000000000003</c:v>
                </c:pt>
                <c:pt idx="378">
                  <c:v>2.1383000000000001</c:v>
                </c:pt>
                <c:pt idx="379">
                  <c:v>2.2086000000000001</c:v>
                </c:pt>
                <c:pt idx="380">
                  <c:v>2.1991999999999998</c:v>
                </c:pt>
                <c:pt idx="381">
                  <c:v>2.1941000000000002</c:v>
                </c:pt>
                <c:pt idx="382">
                  <c:v>2.2002999999999999</c:v>
                </c:pt>
                <c:pt idx="383">
                  <c:v>2.0886</c:v>
                </c:pt>
                <c:pt idx="384">
                  <c:v>2.1654</c:v>
                </c:pt>
                <c:pt idx="385">
                  <c:v>2.1063000000000001</c:v>
                </c:pt>
                <c:pt idx="386">
                  <c:v>2.2193999999999998</c:v>
                </c:pt>
                <c:pt idx="387">
                  <c:v>2.2808999999999999</c:v>
                </c:pt>
                <c:pt idx="388">
                  <c:v>2.3203999999999998</c:v>
                </c:pt>
                <c:pt idx="389">
                  <c:v>2.3917999999999999</c:v>
                </c:pt>
                <c:pt idx="390">
                  <c:v>2.3647</c:v>
                </c:pt>
                <c:pt idx="391">
                  <c:v>2.5403000000000002</c:v>
                </c:pt>
                <c:pt idx="392">
                  <c:v>2.6555</c:v>
                </c:pt>
                <c:pt idx="393">
                  <c:v>2.7610000000000001</c:v>
                </c:pt>
                <c:pt idx="394">
                  <c:v>2.9024999999999999</c:v>
                </c:pt>
                <c:pt idx="395">
                  <c:v>2.9954000000000001</c:v>
                </c:pt>
                <c:pt idx="396">
                  <c:v>3.0329999999999999</c:v>
                </c:pt>
                <c:pt idx="397">
                  <c:v>3.0430000000000001</c:v>
                </c:pt>
                <c:pt idx="398">
                  <c:v>2.9691000000000001</c:v>
                </c:pt>
                <c:pt idx="399">
                  <c:v>3.2162000000000002</c:v>
                </c:pt>
                <c:pt idx="400">
                  <c:v>3.2317</c:v>
                </c:pt>
                <c:pt idx="401">
                  <c:v>3.0336000000000003</c:v>
                </c:pt>
                <c:pt idx="402">
                  <c:v>3.0669</c:v>
                </c:pt>
                <c:pt idx="403">
                  <c:v>3.1638000000000002</c:v>
                </c:pt>
                <c:pt idx="404">
                  <c:v>3.2056999999999998</c:v>
                </c:pt>
                <c:pt idx="405">
                  <c:v>3.2652999999999999</c:v>
                </c:pt>
                <c:pt idx="406">
                  <c:v>3.1694</c:v>
                </c:pt>
                <c:pt idx="407">
                  <c:v>3.2077999999999998</c:v>
                </c:pt>
                <c:pt idx="408">
                  <c:v>3.2676999999999996</c:v>
                </c:pt>
                <c:pt idx="409">
                  <c:v>3.2119</c:v>
                </c:pt>
                <c:pt idx="410">
                  <c:v>3.1181999999999999</c:v>
                </c:pt>
                <c:pt idx="411">
                  <c:v>3.0185000000000004</c:v>
                </c:pt>
                <c:pt idx="412">
                  <c:v>2.8335000000000004</c:v>
                </c:pt>
                <c:pt idx="413">
                  <c:v>2.3834999999999997</c:v>
                </c:pt>
                <c:pt idx="414">
                  <c:v>2.282</c:v>
                </c:pt>
                <c:pt idx="415">
                  <c:v>2.3369999999999997</c:v>
                </c:pt>
                <c:pt idx="416">
                  <c:v>2.0528999999999997</c:v>
                </c:pt>
                <c:pt idx="417">
                  <c:v>2.1036999999999999</c:v>
                </c:pt>
                <c:pt idx="418">
                  <c:v>1.9799</c:v>
                </c:pt>
                <c:pt idx="419">
                  <c:v>2.1240999999999999</c:v>
                </c:pt>
                <c:pt idx="420">
                  <c:v>1.9038999999999999</c:v>
                </c:pt>
                <c:pt idx="421">
                  <c:v>#N/A</c:v>
                </c:pt>
                <c:pt idx="422">
                  <c:v>1.9772000000000001</c:v>
                </c:pt>
                <c:pt idx="423">
                  <c:v>2.0880999999999998</c:v>
                </c:pt>
                <c:pt idx="424">
                  <c:v>2.246</c:v>
                </c:pt>
                <c:pt idx="425">
                  <c:v>2.2801</c:v>
                </c:pt>
                <c:pt idx="426">
                  <c:v>2.17</c:v>
                </c:pt>
                <c:pt idx="427">
                  <c:v>2.2274000000000003</c:v>
                </c:pt>
                <c:pt idx="428">
                  <c:v>2.1812999999999998</c:v>
                </c:pt>
                <c:pt idx="429">
                  <c:v>2.3161</c:v>
                </c:pt>
                <c:pt idx="430">
                  <c:v>2.1852999999999998</c:v>
                </c:pt>
                <c:pt idx="431">
                  <c:v>2.2374000000000001</c:v>
                </c:pt>
                <c:pt idx="432">
                  <c:v>2.1659999999999999</c:v>
                </c:pt>
                <c:pt idx="433">
                  <c:v>2.0493999999999999</c:v>
                </c:pt>
                <c:pt idx="434">
                  <c:v>2.2532000000000001</c:v>
                </c:pt>
                <c:pt idx="435">
                  <c:v>2.2393000000000001</c:v>
                </c:pt>
                <c:pt idx="436">
                  <c:v>2.3622000000000001</c:v>
                </c:pt>
                <c:pt idx="437">
                  <c:v>2.2505000000000002</c:v>
                </c:pt>
                <c:pt idx="438">
                  <c:v>2.2965</c:v>
                </c:pt>
                <c:pt idx="439">
                  <c:v>1.3880000000000001</c:v>
                </c:pt>
                <c:pt idx="440">
                  <c:v>1.4415</c:v>
                </c:pt>
                <c:pt idx="441">
                  <c:v>1.4240000000000002</c:v>
                </c:pt>
                <c:pt idx="442">
                  <c:v>1.3813</c:v>
                </c:pt>
                <c:pt idx="443">
                  <c:v>1.2795000000000001</c:v>
                </c:pt>
                <c:pt idx="444">
                  <c:v>1.2599</c:v>
                </c:pt>
                <c:pt idx="445">
                  <c:v>1.3469</c:v>
                </c:pt>
                <c:pt idx="446">
                  <c:v>1.3343</c:v>
                </c:pt>
                <c:pt idx="447">
                  <c:v>1.3228</c:v>
                </c:pt>
                <c:pt idx="448">
                  <c:v>1.2903</c:v>
                </c:pt>
                <c:pt idx="449">
                  <c:v>1.1332</c:v>
                </c:pt>
                <c:pt idx="450">
                  <c:v>0.97609999999999997</c:v>
                </c:pt>
                <c:pt idx="451">
                  <c:v>0.97209999999999996</c:v>
                </c:pt>
                <c:pt idx="452">
                  <c:v>0.81709999999999994</c:v>
                </c:pt>
                <c:pt idx="453">
                  <c:v>0.88129999999999997</c:v>
                </c:pt>
                <c:pt idx="454">
                  <c:v>0.93959999999999999</c:v>
                </c:pt>
                <c:pt idx="455">
                  <c:v>0.86170000000000002</c:v>
                </c:pt>
                <c:pt idx="456">
                  <c:v>0.83030000000000004</c:v>
                </c:pt>
                <c:pt idx="457">
                  <c:v>0.73519999999999996</c:v>
                </c:pt>
                <c:pt idx="458">
                  <c:v>0.61140000000000005</c:v>
                </c:pt>
                <c:pt idx="459">
                  <c:v>0.65569999999999995</c:v>
                </c:pt>
                <c:pt idx="460">
                  <c:v>0.52900000000000003</c:v>
                </c:pt>
                <c:pt idx="461">
                  <c:v>0.59179999999999999</c:v>
                </c:pt>
                <c:pt idx="462">
                  <c:v>0.67480000000000007</c:v>
                </c:pt>
                <c:pt idx="463">
                  <c:v>0.64900000000000002</c:v>
                </c:pt>
                <c:pt idx="464">
                  <c:v>0.56469999999999998</c:v>
                </c:pt>
                <c:pt idx="465">
                  <c:v>0.50319999999999998</c:v>
                </c:pt>
                <c:pt idx="466">
                  <c:v>0.47499999999999998</c:v>
                </c:pt>
                <c:pt idx="467">
                  <c:v>0.43450000000000005</c:v>
                </c:pt>
                <c:pt idx="468">
                  <c:v>0.46210000000000001</c:v>
                </c:pt>
                <c:pt idx="469">
                  <c:v>0.36680000000000001</c:v>
                </c:pt>
                <c:pt idx="470">
                  <c:v>0.39799999999999996</c:v>
                </c:pt>
                <c:pt idx="471">
                  <c:v>0.35229999999999995</c:v>
                </c:pt>
                <c:pt idx="472">
                  <c:v>0.44950000000000001</c:v>
                </c:pt>
                <c:pt idx="473">
                  <c:v>0.40869999999999995</c:v>
                </c:pt>
                <c:pt idx="474">
                  <c:v>0.40389999999999998</c:v>
                </c:pt>
                <c:pt idx="475">
                  <c:v>0.42270000000000002</c:v>
                </c:pt>
                <c:pt idx="476">
                  <c:v>#N/A</c:v>
                </c:pt>
                <c:pt idx="477">
                  <c:v>#N/A</c:v>
                </c:pt>
                <c:pt idx="478">
                  <c:v>0.38290000000000002</c:v>
                </c:pt>
                <c:pt idx="479">
                  <c:v>0.44040000000000001</c:v>
                </c:pt>
                <c:pt idx="480">
                  <c:v>0.37159999999999999</c:v>
                </c:pt>
                <c:pt idx="481">
                  <c:v>#N/A</c:v>
                </c:pt>
                <c:pt idx="482">
                  <c:v>0.34939999999999999</c:v>
                </c:pt>
                <c:pt idx="483">
                  <c:v>0.26640000000000003</c:v>
                </c:pt>
                <c:pt idx="484">
                  <c:v>0.2495</c:v>
                </c:pt>
                <c:pt idx="485">
                  <c:v>0.23600000000000002</c:v>
                </c:pt>
                <c:pt idx="486">
                  <c:v>0.22739999999999999</c:v>
                </c:pt>
                <c:pt idx="487">
                  <c:v>0.29430000000000001</c:v>
                </c:pt>
                <c:pt idx="488">
                  <c:v>0.32280000000000003</c:v>
                </c:pt>
                <c:pt idx="489">
                  <c:v>0.26239999999999997</c:v>
                </c:pt>
                <c:pt idx="490">
                  <c:v>0.23309999999999997</c:v>
                </c:pt>
                <c:pt idx="491">
                  <c:v>0.2296</c:v>
                </c:pt>
                <c:pt idx="492">
                  <c:v>0.1305</c:v>
                </c:pt>
                <c:pt idx="493">
                  <c:v>9.0800000000000006E-2</c:v>
                </c:pt>
                <c:pt idx="494">
                  <c:v>7.4900000000000008E-2</c:v>
                </c:pt>
                <c:pt idx="495">
                  <c:v>1.37E-2</c:v>
                </c:pt>
                <c:pt idx="496">
                  <c:v>2.7099999999999999E-2</c:v>
                </c:pt>
                <c:pt idx="497">
                  <c:v>-1.37E-2</c:v>
                </c:pt>
                <c:pt idx="498">
                  <c:v>-1.0500000000000001E-2</c:v>
                </c:pt>
                <c:pt idx="499">
                  <c:v>-7.1199999999999999E-2</c:v>
                </c:pt>
                <c:pt idx="500">
                  <c:v>-9.1000000000000004E-3</c:v>
                </c:pt>
                <c:pt idx="501">
                  <c:v>0.1079</c:v>
                </c:pt>
                <c:pt idx="502">
                  <c:v>0.1802</c:v>
                </c:pt>
                <c:pt idx="503">
                  <c:v>9.4499999999999987E-2</c:v>
                </c:pt>
                <c:pt idx="504">
                  <c:v>5.0499999999999996E-2</c:v>
                </c:pt>
                <c:pt idx="505">
                  <c:v>7.8700000000000006E-2</c:v>
                </c:pt>
                <c:pt idx="506">
                  <c:v>5.3200000000000004E-2</c:v>
                </c:pt>
                <c:pt idx="507">
                  <c:v>3.2799999999999996E-2</c:v>
                </c:pt>
                <c:pt idx="508">
                  <c:v>9.7500000000000003E-2</c:v>
                </c:pt>
                <c:pt idx="509">
                  <c:v>0.1026</c:v>
                </c:pt>
                <c:pt idx="510">
                  <c:v>1.8799999999999997E-2</c:v>
                </c:pt>
                <c:pt idx="511">
                  <c:v>-1.66E-2</c:v>
                </c:pt>
                <c:pt idx="512">
                  <c:v>8.539999999999999E-2</c:v>
                </c:pt>
                <c:pt idx="513">
                  <c:v>4.4800000000000006E-2</c:v>
                </c:pt>
                <c:pt idx="514">
                  <c:v>-4.4600000000000001E-2</c:v>
                </c:pt>
                <c:pt idx="515">
                  <c:v>-8.8900000000000007E-2</c:v>
                </c:pt>
                <c:pt idx="516">
                  <c:v>-0.1182</c:v>
                </c:pt>
                <c:pt idx="517">
                  <c:v>-0.16170000000000001</c:v>
                </c:pt>
                <c:pt idx="518">
                  <c:v>-0.1069</c:v>
                </c:pt>
                <c:pt idx="519">
                  <c:v>-0.10039999999999999</c:v>
                </c:pt>
                <c:pt idx="520">
                  <c:v>-0.10580000000000001</c:v>
                </c:pt>
                <c:pt idx="521">
                  <c:v>-0.1241</c:v>
                </c:pt>
                <c:pt idx="522">
                  <c:v>-0.12269999999999999</c:v>
                </c:pt>
                <c:pt idx="523">
                  <c:v>-0.16350000000000001</c:v>
                </c:pt>
                <c:pt idx="524">
                  <c:v>-0.23250000000000001</c:v>
                </c:pt>
                <c:pt idx="525">
                  <c:v>-0.28110000000000002</c:v>
                </c:pt>
                <c:pt idx="526">
                  <c:v>-0.254</c:v>
                </c:pt>
                <c:pt idx="527">
                  <c:v>-0.19550000000000001</c:v>
                </c:pt>
                <c:pt idx="528">
                  <c:v>-0.22260000000000002</c:v>
                </c:pt>
                <c:pt idx="529">
                  <c:v>-0.27850000000000003</c:v>
                </c:pt>
                <c:pt idx="530">
                  <c:v>-0.31659999999999999</c:v>
                </c:pt>
                <c:pt idx="531">
                  <c:v>-0.25829999999999997</c:v>
                </c:pt>
                <c:pt idx="532">
                  <c:v>-0.19010000000000002</c:v>
                </c:pt>
                <c:pt idx="533">
                  <c:v>-6.1799999999999994E-2</c:v>
                </c:pt>
                <c:pt idx="534">
                  <c:v>-1.7500000000000002E-2</c:v>
                </c:pt>
                <c:pt idx="535">
                  <c:v>-8.1000000000000013E-3</c:v>
                </c:pt>
                <c:pt idx="536">
                  <c:v>7.0400000000000004E-2</c:v>
                </c:pt>
                <c:pt idx="537">
                  <c:v>3.0600000000000002E-2</c:v>
                </c:pt>
                <c:pt idx="538">
                  <c:v>1.1299999999999999E-2</c:v>
                </c:pt>
                <c:pt idx="539">
                  <c:v>-2.8500000000000001E-2</c:v>
                </c:pt>
                <c:pt idx="540">
                  <c:v>-2.07E-2</c:v>
                </c:pt>
                <c:pt idx="541">
                  <c:v>6.0400000000000002E-2</c:v>
                </c:pt>
                <c:pt idx="542">
                  <c:v>4.4000000000000004E-2</c:v>
                </c:pt>
                <c:pt idx="543">
                  <c:v>2.3900000000000001E-2</c:v>
                </c:pt>
                <c:pt idx="544">
                  <c:v>4.9400000000000006E-2</c:v>
                </c:pt>
                <c:pt idx="545">
                  <c:v>9.8800000000000013E-2</c:v>
                </c:pt>
                <c:pt idx="546">
                  <c:v>6.6100000000000006E-2</c:v>
                </c:pt>
                <c:pt idx="547">
                  <c:v>-1.34E-2</c:v>
                </c:pt>
                <c:pt idx="548">
                  <c:v>-4.99E-2</c:v>
                </c:pt>
                <c:pt idx="549">
                  <c:v>-0.10390000000000001</c:v>
                </c:pt>
                <c:pt idx="550">
                  <c:v>-0.1343</c:v>
                </c:pt>
                <c:pt idx="551">
                  <c:v>-0.1668</c:v>
                </c:pt>
                <c:pt idx="552">
                  <c:v>-0.12809999999999999</c:v>
                </c:pt>
                <c:pt idx="553">
                  <c:v>-0.13689999999999999</c:v>
                </c:pt>
                <c:pt idx="554">
                  <c:v>-0.15740000000000001</c:v>
                </c:pt>
                <c:pt idx="555">
                  <c:v>-0.1394</c:v>
                </c:pt>
                <c:pt idx="556">
                  <c:v>-0.19309999999999999</c:v>
                </c:pt>
                <c:pt idx="557">
                  <c:v>-0.23250000000000001</c:v>
                </c:pt>
                <c:pt idx="558">
                  <c:v>-0.24379999999999999</c:v>
                </c:pt>
                <c:pt idx="559">
                  <c:v>-0.20379999999999998</c:v>
                </c:pt>
                <c:pt idx="560">
                  <c:v>-0.2581</c:v>
                </c:pt>
                <c:pt idx="561">
                  <c:v>-0.26100000000000001</c:v>
                </c:pt>
                <c:pt idx="562">
                  <c:v>-0.1966</c:v>
                </c:pt>
                <c:pt idx="563">
                  <c:v>-0.2291</c:v>
                </c:pt>
                <c:pt idx="564">
                  <c:v>-0.218</c:v>
                </c:pt>
                <c:pt idx="565">
                  <c:v>-0.25509999999999999</c:v>
                </c:pt>
                <c:pt idx="566">
                  <c:v>-0.2339</c:v>
                </c:pt>
                <c:pt idx="567">
                  <c:v>-0.29299999999999998</c:v>
                </c:pt>
                <c:pt idx="568">
                  <c:v>-0.31950000000000001</c:v>
                </c:pt>
                <c:pt idx="569">
                  <c:v>-0.36869999999999997</c:v>
                </c:pt>
                <c:pt idx="570">
                  <c:v>-0.39229999999999998</c:v>
                </c:pt>
                <c:pt idx="571">
                  <c:v>-0.44900000000000001</c:v>
                </c:pt>
                <c:pt idx="572">
                  <c:v>-0.43469999999999998</c:v>
                </c:pt>
                <c:pt idx="573">
                  <c:v>-0.25780000000000003</c:v>
                </c:pt>
                <c:pt idx="574">
                  <c:v>-0.31629999999999997</c:v>
                </c:pt>
                <c:pt idx="575">
                  <c:v>-0.27600000000000002</c:v>
                </c:pt>
                <c:pt idx="576">
                  <c:v>-0.30130000000000001</c:v>
                </c:pt>
                <c:pt idx="577">
                  <c:v>-0.23070000000000002</c:v>
                </c:pt>
                <c:pt idx="578">
                  <c:v>-0.20760000000000001</c:v>
                </c:pt>
                <c:pt idx="579">
                  <c:v>#N/A</c:v>
                </c:pt>
                <c:pt idx="580">
                  <c:v>-0.26019999999999999</c:v>
                </c:pt>
                <c:pt idx="581">
                  <c:v>-0.22739999999999999</c:v>
                </c:pt>
                <c:pt idx="582">
                  <c:v>-0.1447</c:v>
                </c:pt>
                <c:pt idx="583">
                  <c:v>-0.1149</c:v>
                </c:pt>
                <c:pt idx="584">
                  <c:v>-8.0299999999999996E-2</c:v>
                </c:pt>
                <c:pt idx="585">
                  <c:v>-0.1168</c:v>
                </c:pt>
                <c:pt idx="586">
                  <c:v>-0.14929999999999999</c:v>
                </c:pt>
                <c:pt idx="587">
                  <c:v>-5.9299999999999999E-2</c:v>
                </c:pt>
                <c:pt idx="588">
                  <c:v>-7.8700000000000006E-2</c:v>
                </c:pt>
                <c:pt idx="589">
                  <c:v>-7.22E-2</c:v>
                </c:pt>
                <c:pt idx="590">
                  <c:v>-7.5199999999999989E-2</c:v>
                </c:pt>
                <c:pt idx="591">
                  <c:v>-0.10039999999999999</c:v>
                </c:pt>
                <c:pt idx="592">
                  <c:v>-0.1404</c:v>
                </c:pt>
                <c:pt idx="593">
                  <c:v>-0.18659999999999999</c:v>
                </c:pt>
                <c:pt idx="594">
                  <c:v>-0.30370000000000003</c:v>
                </c:pt>
                <c:pt idx="595">
                  <c:v>-0.29350000000000004</c:v>
                </c:pt>
                <c:pt idx="596">
                  <c:v>-0.253</c:v>
                </c:pt>
                <c:pt idx="597">
                  <c:v>-0.30719999999999997</c:v>
                </c:pt>
                <c:pt idx="598">
                  <c:v>-0.25829999999999997</c:v>
                </c:pt>
                <c:pt idx="599">
                  <c:v>-0.24410000000000001</c:v>
                </c:pt>
                <c:pt idx="600">
                  <c:v>-0.2261</c:v>
                </c:pt>
                <c:pt idx="601">
                  <c:v>-0.2213</c:v>
                </c:pt>
                <c:pt idx="602">
                  <c:v>-0.1603</c:v>
                </c:pt>
                <c:pt idx="603">
                  <c:v>-0.11869999999999999</c:v>
                </c:pt>
                <c:pt idx="604">
                  <c:v>-0.156</c:v>
                </c:pt>
                <c:pt idx="605">
                  <c:v>-0.21479999999999999</c:v>
                </c:pt>
                <c:pt idx="606">
                  <c:v>-0.22800000000000001</c:v>
                </c:pt>
                <c:pt idx="607">
                  <c:v>-0.2293</c:v>
                </c:pt>
                <c:pt idx="608">
                  <c:v>#N/A</c:v>
                </c:pt>
                <c:pt idx="609">
                  <c:v>-0.21969999999999998</c:v>
                </c:pt>
                <c:pt idx="610">
                  <c:v>-0.19409999999999999</c:v>
                </c:pt>
                <c:pt idx="611">
                  <c:v>-0.24359999999999998</c:v>
                </c:pt>
                <c:pt idx="612">
                  <c:v>-0.24460000000000001</c:v>
                </c:pt>
                <c:pt idx="613">
                  <c:v>-0.26319999999999999</c:v>
                </c:pt>
                <c:pt idx="614">
                  <c:v>-0.31579999999999997</c:v>
                </c:pt>
                <c:pt idx="615">
                  <c:v>-0.33460000000000001</c:v>
                </c:pt>
                <c:pt idx="616">
                  <c:v>-0.35369999999999996</c:v>
                </c:pt>
                <c:pt idx="617">
                  <c:v>-0.3569</c:v>
                </c:pt>
                <c:pt idx="618">
                  <c:v>-0.35450000000000004</c:v>
                </c:pt>
                <c:pt idx="619">
                  <c:v>-0.35039999999999999</c:v>
                </c:pt>
                <c:pt idx="620">
                  <c:v>-0.3271</c:v>
                </c:pt>
                <c:pt idx="621">
                  <c:v>-0.2747</c:v>
                </c:pt>
                <c:pt idx="622">
                  <c:v>-0.25969999999999999</c:v>
                </c:pt>
                <c:pt idx="623">
                  <c:v>-0.29670000000000002</c:v>
                </c:pt>
                <c:pt idx="624">
                  <c:v>-0.34240000000000004</c:v>
                </c:pt>
                <c:pt idx="625">
                  <c:v>-0.38079999999999997</c:v>
                </c:pt>
                <c:pt idx="626">
                  <c:v>-0.33380000000000004</c:v>
                </c:pt>
                <c:pt idx="627">
                  <c:v>-0.28249999999999997</c:v>
                </c:pt>
                <c:pt idx="628">
                  <c:v>-0.2621</c:v>
                </c:pt>
                <c:pt idx="629">
                  <c:v>#N/A</c:v>
                </c:pt>
                <c:pt idx="630">
                  <c:v>-0.21909999999999999</c:v>
                </c:pt>
                <c:pt idx="631">
                  <c:v>-0.15570000000000001</c:v>
                </c:pt>
                <c:pt idx="632">
                  <c:v>-0.25590000000000002</c:v>
                </c:pt>
                <c:pt idx="633">
                  <c:v>-0.24329999999999999</c:v>
                </c:pt>
                <c:pt idx="634">
                  <c:v>-0.19359999999999999</c:v>
                </c:pt>
                <c:pt idx="635">
                  <c:v>-0.24170000000000003</c:v>
                </c:pt>
                <c:pt idx="636">
                  <c:v>-0.1711</c:v>
                </c:pt>
                <c:pt idx="637">
                  <c:v>-0.19010000000000002</c:v>
                </c:pt>
                <c:pt idx="638">
                  <c:v>-0.1925</c:v>
                </c:pt>
                <c:pt idx="639">
                  <c:v>-0.22260000000000002</c:v>
                </c:pt>
                <c:pt idx="640">
                  <c:v>-0.22339999999999999</c:v>
                </c:pt>
                <c:pt idx="641">
                  <c:v>-0.28010000000000002</c:v>
                </c:pt>
                <c:pt idx="642">
                  <c:v>-0.28010000000000002</c:v>
                </c:pt>
                <c:pt idx="643">
                  <c:v>-0.29699999999999999</c:v>
                </c:pt>
                <c:pt idx="644">
                  <c:v>-0.32380000000000003</c:v>
                </c:pt>
                <c:pt idx="645">
                  <c:v>-0.3276</c:v>
                </c:pt>
                <c:pt idx="646">
                  <c:v>-0.30990000000000001</c:v>
                </c:pt>
                <c:pt idx="647">
                  <c:v>-0.28600000000000003</c:v>
                </c:pt>
                <c:pt idx="648">
                  <c:v>-0.31929999999999997</c:v>
                </c:pt>
                <c:pt idx="649">
                  <c:v>-0.32650000000000001</c:v>
                </c:pt>
                <c:pt idx="650">
                  <c:v>-0.32439999999999997</c:v>
                </c:pt>
                <c:pt idx="651">
                  <c:v>-0.32520000000000004</c:v>
                </c:pt>
                <c:pt idx="652">
                  <c:v>-0.3569</c:v>
                </c:pt>
                <c:pt idx="653">
                  <c:v>-0.37240000000000001</c:v>
                </c:pt>
                <c:pt idx="654">
                  <c:v>-0.37729999999999997</c:v>
                </c:pt>
                <c:pt idx="655">
                  <c:v>-0.37459999999999999</c:v>
                </c:pt>
                <c:pt idx="656">
                  <c:v>-0.34509999999999996</c:v>
                </c:pt>
                <c:pt idx="657">
                  <c:v>-0.29730000000000001</c:v>
                </c:pt>
                <c:pt idx="658">
                  <c:v>-0.27949999999999997</c:v>
                </c:pt>
                <c:pt idx="659">
                  <c:v>-0.33729999999999999</c:v>
                </c:pt>
                <c:pt idx="660">
                  <c:v>-0.32250000000000001</c:v>
                </c:pt>
                <c:pt idx="661">
                  <c:v>-0.31950000000000001</c:v>
                </c:pt>
                <c:pt idx="662">
                  <c:v>-0.34749999999999998</c:v>
                </c:pt>
                <c:pt idx="663">
                  <c:v>-0.36170000000000002</c:v>
                </c:pt>
                <c:pt idx="664">
                  <c:v>-0.35930000000000001</c:v>
                </c:pt>
                <c:pt idx="665">
                  <c:v>-0.34509999999999996</c:v>
                </c:pt>
                <c:pt idx="666">
                  <c:v>-0.38100000000000001</c:v>
                </c:pt>
                <c:pt idx="667">
                  <c:v>-0.38670000000000004</c:v>
                </c:pt>
                <c:pt idx="668">
                  <c:v>-0.40009999999999996</c:v>
                </c:pt>
                <c:pt idx="669">
                  <c:v>-0.36950000000000005</c:v>
                </c:pt>
                <c:pt idx="670">
                  <c:v>-0.31819999999999998</c:v>
                </c:pt>
                <c:pt idx="671">
                  <c:v>-0.3367</c:v>
                </c:pt>
                <c:pt idx="672">
                  <c:v>-0.34720000000000001</c:v>
                </c:pt>
                <c:pt idx="673">
                  <c:v>-0.3322</c:v>
                </c:pt>
                <c:pt idx="674">
                  <c:v>-0.27390000000000003</c:v>
                </c:pt>
                <c:pt idx="675">
                  <c:v>-0.2868</c:v>
                </c:pt>
                <c:pt idx="676">
                  <c:v>-0.27279999999999999</c:v>
                </c:pt>
                <c:pt idx="677">
                  <c:v>-0.34079999999999999</c:v>
                </c:pt>
                <c:pt idx="678">
                  <c:v>#N/A</c:v>
                </c:pt>
                <c:pt idx="679">
                  <c:v>-0.35609999999999997</c:v>
                </c:pt>
                <c:pt idx="680">
                  <c:v>-0.36759999999999998</c:v>
                </c:pt>
                <c:pt idx="681">
                  <c:v>-0.36630000000000001</c:v>
                </c:pt>
                <c:pt idx="682">
                  <c:v>-0.37</c:v>
                </c:pt>
                <c:pt idx="683">
                  <c:v>-0.32250000000000001</c:v>
                </c:pt>
                <c:pt idx="684">
                  <c:v>-0.32170000000000004</c:v>
                </c:pt>
                <c:pt idx="685">
                  <c:v>-0.35960000000000003</c:v>
                </c:pt>
                <c:pt idx="686">
                  <c:v>-0.33860000000000001</c:v>
                </c:pt>
                <c:pt idx="687">
                  <c:v>-0.33860000000000001</c:v>
                </c:pt>
                <c:pt idx="688">
                  <c:v>-0.33399999999999996</c:v>
                </c:pt>
                <c:pt idx="689">
                  <c:v>-0.32250000000000001</c:v>
                </c:pt>
                <c:pt idx="690">
                  <c:v>-0.31609999999999999</c:v>
                </c:pt>
                <c:pt idx="691">
                  <c:v>-0.31950000000000001</c:v>
                </c:pt>
                <c:pt idx="692">
                  <c:v>-0.29460000000000003</c:v>
                </c:pt>
                <c:pt idx="693">
                  <c:v>-0.2989</c:v>
                </c:pt>
                <c:pt idx="694">
                  <c:v>-0.30320000000000003</c:v>
                </c:pt>
                <c:pt idx="695">
                  <c:v>-0.33889999999999998</c:v>
                </c:pt>
                <c:pt idx="696">
                  <c:v>-0.46189999999999998</c:v>
                </c:pt>
                <c:pt idx="697">
                  <c:v>-0.4597</c:v>
                </c:pt>
                <c:pt idx="698">
                  <c:v>-0.45439999999999997</c:v>
                </c:pt>
                <c:pt idx="699">
                  <c:v>-0.4546</c:v>
                </c:pt>
                <c:pt idx="700">
                  <c:v>-0.48580000000000001</c:v>
                </c:pt>
                <c:pt idx="701">
                  <c:v>-0.41859999999999997</c:v>
                </c:pt>
                <c:pt idx="702">
                  <c:v>-0.36840000000000006</c:v>
                </c:pt>
                <c:pt idx="703">
                  <c:v>-0.39149999999999996</c:v>
                </c:pt>
                <c:pt idx="704">
                  <c:v>-0.3821</c:v>
                </c:pt>
                <c:pt idx="705">
                  <c:v>-0.41619999999999996</c:v>
                </c:pt>
                <c:pt idx="706">
                  <c:v>-0.44170000000000004</c:v>
                </c:pt>
                <c:pt idx="707">
                  <c:v>-0.45890000000000003</c:v>
                </c:pt>
                <c:pt idx="708">
                  <c:v>-0.46399999999999997</c:v>
                </c:pt>
                <c:pt idx="709">
                  <c:v>-0.46639999999999998</c:v>
                </c:pt>
                <c:pt idx="710">
                  <c:v>-0.44679999999999997</c:v>
                </c:pt>
                <c:pt idx="711">
                  <c:v>-0.43369999999999997</c:v>
                </c:pt>
                <c:pt idx="712">
                  <c:v>-0.43259999999999998</c:v>
                </c:pt>
                <c:pt idx="713">
                  <c:v>-0.45539999999999997</c:v>
                </c:pt>
                <c:pt idx="714">
                  <c:v>-0.44170000000000004</c:v>
                </c:pt>
                <c:pt idx="715">
                  <c:v>-0.40740000000000004</c:v>
                </c:pt>
                <c:pt idx="716">
                  <c:v>-0.37759999999999999</c:v>
                </c:pt>
                <c:pt idx="717">
                  <c:v>-0.3765</c:v>
                </c:pt>
                <c:pt idx="718">
                  <c:v>-0.4143</c:v>
                </c:pt>
                <c:pt idx="719">
                  <c:v>-0.439</c:v>
                </c:pt>
                <c:pt idx="720">
                  <c:v>-0.442</c:v>
                </c:pt>
                <c:pt idx="721">
                  <c:v>-0.44469999999999998</c:v>
                </c:pt>
                <c:pt idx="722">
                  <c:v>-0.45250000000000001</c:v>
                </c:pt>
                <c:pt idx="723">
                  <c:v>-0.44520000000000004</c:v>
                </c:pt>
                <c:pt idx="724">
                  <c:v>-0.44329999999999997</c:v>
                </c:pt>
                <c:pt idx="725">
                  <c:v>-0.43880000000000002</c:v>
                </c:pt>
                <c:pt idx="726">
                  <c:v>-0.46429999999999999</c:v>
                </c:pt>
                <c:pt idx="727">
                  <c:v>-0.46779999999999999</c:v>
                </c:pt>
                <c:pt idx="728">
                  <c:v>-0.49219999999999997</c:v>
                </c:pt>
                <c:pt idx="729">
                  <c:v>-0.49409999999999998</c:v>
                </c:pt>
                <c:pt idx="730">
                  <c:v>-0.49170000000000003</c:v>
                </c:pt>
                <c:pt idx="731">
                  <c:v>-0.50619999999999998</c:v>
                </c:pt>
                <c:pt idx="732">
                  <c:v>-0.50829999999999997</c:v>
                </c:pt>
                <c:pt idx="733">
                  <c:v>#N/A</c:v>
                </c:pt>
                <c:pt idx="734">
                  <c:v>-0.53410000000000002</c:v>
                </c:pt>
                <c:pt idx="735">
                  <c:v>-0.47740000000000005</c:v>
                </c:pt>
                <c:pt idx="736">
                  <c:v>-0.48039999999999999</c:v>
                </c:pt>
                <c:pt idx="737">
                  <c:v>-0.47820000000000001</c:v>
                </c:pt>
                <c:pt idx="738">
                  <c:v>-0.45890000000000003</c:v>
                </c:pt>
                <c:pt idx="739">
                  <c:v>-0.4667</c:v>
                </c:pt>
                <c:pt idx="740">
                  <c:v>-0.46240000000000003</c:v>
                </c:pt>
                <c:pt idx="741">
                  <c:v>-0.4511</c:v>
                </c:pt>
                <c:pt idx="742">
                  <c:v>-0.44520000000000004</c:v>
                </c:pt>
                <c:pt idx="743">
                  <c:v>-0.43659999999999999</c:v>
                </c:pt>
                <c:pt idx="744">
                  <c:v>-0.43149999999999999</c:v>
                </c:pt>
                <c:pt idx="745">
                  <c:v>-0.4264</c:v>
                </c:pt>
                <c:pt idx="746">
                  <c:v>-0.4103</c:v>
                </c:pt>
                <c:pt idx="747">
                  <c:v>-0.40389999999999998</c:v>
                </c:pt>
                <c:pt idx="748">
                  <c:v>-0.41060000000000002</c:v>
                </c:pt>
                <c:pt idx="749">
                  <c:v>-0.41840000000000005</c:v>
                </c:pt>
                <c:pt idx="750">
                  <c:v>-0.40659999999999996</c:v>
                </c:pt>
                <c:pt idx="751">
                  <c:v>-0.36869999999999997</c:v>
                </c:pt>
                <c:pt idx="752">
                  <c:v>-0.38590000000000002</c:v>
                </c:pt>
                <c:pt idx="753">
                  <c:v>-0.38670000000000004</c:v>
                </c:pt>
                <c:pt idx="754">
                  <c:v>-0.38590000000000002</c:v>
                </c:pt>
                <c:pt idx="755">
                  <c:v>-0.34369999999999995</c:v>
                </c:pt>
                <c:pt idx="756">
                  <c:v>-0.3765</c:v>
                </c:pt>
                <c:pt idx="757">
                  <c:v>-0.35369999999999996</c:v>
                </c:pt>
                <c:pt idx="758">
                  <c:v>-0.33189999999999997</c:v>
                </c:pt>
                <c:pt idx="759">
                  <c:v>-0.37240000000000001</c:v>
                </c:pt>
                <c:pt idx="760">
                  <c:v>-0.40279999999999999</c:v>
                </c:pt>
                <c:pt idx="761">
                  <c:v>-0.38880000000000003</c:v>
                </c:pt>
                <c:pt idx="762">
                  <c:v>-0.3579</c:v>
                </c:pt>
                <c:pt idx="763">
                  <c:v>-0.35229999999999995</c:v>
                </c:pt>
                <c:pt idx="764">
                  <c:v>-0.38049999999999995</c:v>
                </c:pt>
                <c:pt idx="765">
                  <c:v>-0.40360000000000001</c:v>
                </c:pt>
                <c:pt idx="766">
                  <c:v>-0.39630000000000004</c:v>
                </c:pt>
                <c:pt idx="767">
                  <c:v>-0.3861</c:v>
                </c:pt>
                <c:pt idx="768">
                  <c:v>-0.34939999999999999</c:v>
                </c:pt>
                <c:pt idx="769">
                  <c:v>-0.37810000000000005</c:v>
                </c:pt>
                <c:pt idx="770">
                  <c:v>-0.40759999999999996</c:v>
                </c:pt>
                <c:pt idx="771">
                  <c:v>-0.43560000000000004</c:v>
                </c:pt>
                <c:pt idx="772">
                  <c:v>-0.43420000000000003</c:v>
                </c:pt>
                <c:pt idx="773">
                  <c:v>-0.43659999999999999</c:v>
                </c:pt>
                <c:pt idx="774">
                  <c:v>-0.45090000000000002</c:v>
                </c:pt>
                <c:pt idx="775">
                  <c:v>-0.45380000000000004</c:v>
                </c:pt>
                <c:pt idx="776">
                  <c:v>-0.43979999999999997</c:v>
                </c:pt>
                <c:pt idx="777">
                  <c:v>-0.44579999999999997</c:v>
                </c:pt>
                <c:pt idx="778">
                  <c:v>-0.442</c:v>
                </c:pt>
                <c:pt idx="779">
                  <c:v>-0.42909999999999998</c:v>
                </c:pt>
                <c:pt idx="780">
                  <c:v>-0.43740000000000001</c:v>
                </c:pt>
                <c:pt idx="781">
                  <c:v>-0.4546</c:v>
                </c:pt>
                <c:pt idx="782">
                  <c:v>-0.44920000000000004</c:v>
                </c:pt>
                <c:pt idx="783">
                  <c:v>-0.45409999999999995</c:v>
                </c:pt>
                <c:pt idx="784">
                  <c:v>-0.47740000000000005</c:v>
                </c:pt>
                <c:pt idx="785">
                  <c:v>-0.48119999999999996</c:v>
                </c:pt>
                <c:pt idx="786">
                  <c:v>-0.45569999999999999</c:v>
                </c:pt>
                <c:pt idx="787">
                  <c:v>-0.4637</c:v>
                </c:pt>
                <c:pt idx="788">
                  <c:v>-0.45409999999999995</c:v>
                </c:pt>
                <c:pt idx="789">
                  <c:v>-0.45439999999999997</c:v>
                </c:pt>
                <c:pt idx="790">
                  <c:v>-0.46270000000000006</c:v>
                </c:pt>
                <c:pt idx="791">
                  <c:v>-0.43259999999999998</c:v>
                </c:pt>
                <c:pt idx="792">
                  <c:v>-0.44819999999999999</c:v>
                </c:pt>
                <c:pt idx="793">
                  <c:v>-0.43420000000000003</c:v>
                </c:pt>
                <c:pt idx="794">
                  <c:v>-0.45270000000000005</c:v>
                </c:pt>
                <c:pt idx="795">
                  <c:v>-0.45649999999999996</c:v>
                </c:pt>
                <c:pt idx="796">
                  <c:v>-0.47960000000000003</c:v>
                </c:pt>
                <c:pt idx="797">
                  <c:v>-0.4672</c:v>
                </c:pt>
                <c:pt idx="798">
                  <c:v>-0.48039999999999999</c:v>
                </c:pt>
                <c:pt idx="799">
                  <c:v>-0.44819999999999999</c:v>
                </c:pt>
                <c:pt idx="800">
                  <c:v>-0.45600000000000002</c:v>
                </c:pt>
                <c:pt idx="801">
                  <c:v>-0.46539999999999998</c:v>
                </c:pt>
                <c:pt idx="802">
                  <c:v>-0.49249999999999999</c:v>
                </c:pt>
                <c:pt idx="803">
                  <c:v>-0.49680000000000002</c:v>
                </c:pt>
                <c:pt idx="804">
                  <c:v>-0.49680000000000002</c:v>
                </c:pt>
                <c:pt idx="805">
                  <c:v>-0.49380000000000002</c:v>
                </c:pt>
                <c:pt idx="806">
                  <c:v>-0.49170000000000003</c:v>
                </c:pt>
                <c:pt idx="807">
                  <c:v>-0.48200000000000004</c:v>
                </c:pt>
                <c:pt idx="808">
                  <c:v>-0.49299999999999999</c:v>
                </c:pt>
                <c:pt idx="809">
                  <c:v>-0.48759999999999998</c:v>
                </c:pt>
                <c:pt idx="810">
                  <c:v>-0.48849999999999999</c:v>
                </c:pt>
                <c:pt idx="811">
                  <c:v>-0.49890000000000001</c:v>
                </c:pt>
                <c:pt idx="812">
                  <c:v>-0.51100000000000001</c:v>
                </c:pt>
                <c:pt idx="813">
                  <c:v>-0.50670000000000004</c:v>
                </c:pt>
                <c:pt idx="814">
                  <c:v>-0.50939999999999996</c:v>
                </c:pt>
                <c:pt idx="815">
                  <c:v>-0.52950000000000008</c:v>
                </c:pt>
                <c:pt idx="816">
                  <c:v>-0.5373</c:v>
                </c:pt>
                <c:pt idx="817">
                  <c:v>-0.5212</c:v>
                </c:pt>
                <c:pt idx="818">
                  <c:v>-0.52180000000000004</c:v>
                </c:pt>
                <c:pt idx="819">
                  <c:v>-0.52849999999999997</c:v>
                </c:pt>
                <c:pt idx="820">
                  <c:v>-0.5403</c:v>
                </c:pt>
                <c:pt idx="821">
                  <c:v>-0.53139999999999998</c:v>
                </c:pt>
                <c:pt idx="822">
                  <c:v>-0.51929999999999998</c:v>
                </c:pt>
                <c:pt idx="823">
                  <c:v>-0.49299999999999999</c:v>
                </c:pt>
                <c:pt idx="824">
                  <c:v>-0.47609999999999997</c:v>
                </c:pt>
                <c:pt idx="825">
                  <c:v>-0.4844</c:v>
                </c:pt>
                <c:pt idx="826">
                  <c:v>-0.47310000000000002</c:v>
                </c:pt>
                <c:pt idx="827">
                  <c:v>-0.46990000000000004</c:v>
                </c:pt>
                <c:pt idx="828">
                  <c:v>-0.47020000000000001</c:v>
                </c:pt>
                <c:pt idx="829">
                  <c:v>-0.48249999999999998</c:v>
                </c:pt>
                <c:pt idx="830">
                  <c:v>-0.49950000000000006</c:v>
                </c:pt>
                <c:pt idx="831">
                  <c:v>-0.46289999999999998</c:v>
                </c:pt>
                <c:pt idx="832">
                  <c:v>-0.53010000000000002</c:v>
                </c:pt>
                <c:pt idx="833">
                  <c:v>-0.51829999999999998</c:v>
                </c:pt>
                <c:pt idx="834">
                  <c:v>#N/A</c:v>
                </c:pt>
                <c:pt idx="835">
                  <c:v>-0.51319999999999999</c:v>
                </c:pt>
                <c:pt idx="836">
                  <c:v>-0.51910000000000001</c:v>
                </c:pt>
                <c:pt idx="837">
                  <c:v>-0.53679999999999994</c:v>
                </c:pt>
                <c:pt idx="838">
                  <c:v>-0.53170000000000006</c:v>
                </c:pt>
                <c:pt idx="839">
                  <c:v>-0.52200000000000002</c:v>
                </c:pt>
                <c:pt idx="840">
                  <c:v>-0.51290000000000002</c:v>
                </c:pt>
                <c:pt idx="841">
                  <c:v>-0.5081</c:v>
                </c:pt>
                <c:pt idx="842">
                  <c:v>-0.46539999999999998</c:v>
                </c:pt>
                <c:pt idx="843">
                  <c:v>-0.45950000000000002</c:v>
                </c:pt>
                <c:pt idx="844">
                  <c:v>-0.4672</c:v>
                </c:pt>
                <c:pt idx="845">
                  <c:v>-0.45270000000000005</c:v>
                </c:pt>
                <c:pt idx="846">
                  <c:v>-0.45860000000000001</c:v>
                </c:pt>
                <c:pt idx="847">
                  <c:v>-0.47229999999999994</c:v>
                </c:pt>
                <c:pt idx="848">
                  <c:v>-0.46110000000000001</c:v>
                </c:pt>
                <c:pt idx="849">
                  <c:v>-0.42080000000000001</c:v>
                </c:pt>
                <c:pt idx="850">
                  <c:v>-0.41350000000000003</c:v>
                </c:pt>
                <c:pt idx="851">
                  <c:v>-0.42210000000000003</c:v>
                </c:pt>
                <c:pt idx="852">
                  <c:v>-0.42590000000000006</c:v>
                </c:pt>
                <c:pt idx="853">
                  <c:v>-0.42049999999999998</c:v>
                </c:pt>
                <c:pt idx="854">
                  <c:v>-0.41810000000000003</c:v>
                </c:pt>
                <c:pt idx="855">
                  <c:v>-0.43579999999999997</c:v>
                </c:pt>
                <c:pt idx="856">
                  <c:v>-0.4501</c:v>
                </c:pt>
                <c:pt idx="857">
                  <c:v>-0.46189999999999998</c:v>
                </c:pt>
                <c:pt idx="858">
                  <c:v>-0.46860000000000002</c:v>
                </c:pt>
                <c:pt idx="859">
                  <c:v>-0.47820000000000001</c:v>
                </c:pt>
                <c:pt idx="860">
                  <c:v>-0.44819999999999999</c:v>
                </c:pt>
                <c:pt idx="861">
                  <c:v>-0.42450000000000004</c:v>
                </c:pt>
                <c:pt idx="862">
                  <c:v>-0.41299999999999998</c:v>
                </c:pt>
                <c:pt idx="863">
                  <c:v>-0.3982</c:v>
                </c:pt>
                <c:pt idx="864">
                  <c:v>#N/A</c:v>
                </c:pt>
                <c:pt idx="865">
                  <c:v>-0.39770000000000005</c:v>
                </c:pt>
                <c:pt idx="866">
                  <c:v>-0.3886</c:v>
                </c:pt>
                <c:pt idx="867">
                  <c:v>-0.41539999999999999</c:v>
                </c:pt>
                <c:pt idx="868">
                  <c:v>-0.4047</c:v>
                </c:pt>
                <c:pt idx="869">
                  <c:v>-0.3896</c:v>
                </c:pt>
                <c:pt idx="870">
                  <c:v>-0.37619999999999998</c:v>
                </c:pt>
                <c:pt idx="871">
                  <c:v>-0.36950000000000005</c:v>
                </c:pt>
                <c:pt idx="872">
                  <c:v>-0.35070000000000001</c:v>
                </c:pt>
                <c:pt idx="873">
                  <c:v>-0.36899999999999999</c:v>
                </c:pt>
                <c:pt idx="874">
                  <c:v>-0.3604</c:v>
                </c:pt>
                <c:pt idx="875">
                  <c:v>-0.3528</c:v>
                </c:pt>
                <c:pt idx="876">
                  <c:v>-0.35710000000000003</c:v>
                </c:pt>
                <c:pt idx="877">
                  <c:v>-0.37490000000000001</c:v>
                </c:pt>
                <c:pt idx="878">
                  <c:v>-0.37759999999999999</c:v>
                </c:pt>
                <c:pt idx="879">
                  <c:v>-0.3921</c:v>
                </c:pt>
                <c:pt idx="880">
                  <c:v>-0.39579999999999999</c:v>
                </c:pt>
                <c:pt idx="881">
                  <c:v>-0.39450000000000002</c:v>
                </c:pt>
                <c:pt idx="882">
                  <c:v>-0.40310000000000001</c:v>
                </c:pt>
                <c:pt idx="883">
                  <c:v>-0.38909999999999995</c:v>
                </c:pt>
                <c:pt idx="884">
                  <c:v>-0.37780000000000002</c:v>
                </c:pt>
                <c:pt idx="885">
                  <c:v>-0.38450000000000001</c:v>
                </c:pt>
                <c:pt idx="886">
                  <c:v>-0.4194</c:v>
                </c:pt>
                <c:pt idx="887">
                  <c:v>-0.37459999999999999</c:v>
                </c:pt>
                <c:pt idx="888">
                  <c:v>-0.36009999999999998</c:v>
                </c:pt>
                <c:pt idx="889">
                  <c:v>#N/A</c:v>
                </c:pt>
                <c:pt idx="890">
                  <c:v>-0.39039999999999997</c:v>
                </c:pt>
                <c:pt idx="891">
                  <c:v>-0.39770000000000005</c:v>
                </c:pt>
                <c:pt idx="892">
                  <c:v>-0.42270000000000002</c:v>
                </c:pt>
                <c:pt idx="893">
                  <c:v>-0.42719999999999997</c:v>
                </c:pt>
                <c:pt idx="894">
                  <c:v>-0.41619999999999996</c:v>
                </c:pt>
                <c:pt idx="895">
                  <c:v>-0.4299</c:v>
                </c:pt>
                <c:pt idx="896">
                  <c:v>-0.43530000000000002</c:v>
                </c:pt>
                <c:pt idx="897">
                  <c:v>-0.45270000000000005</c:v>
                </c:pt>
                <c:pt idx="898">
                  <c:v>-0.43340000000000001</c:v>
                </c:pt>
                <c:pt idx="899">
                  <c:v>-0.43259999999999998</c:v>
                </c:pt>
                <c:pt idx="900">
                  <c:v>-0.45350000000000001</c:v>
                </c:pt>
                <c:pt idx="901">
                  <c:v>-0.4415</c:v>
                </c:pt>
                <c:pt idx="902">
                  <c:v>-0.46240000000000003</c:v>
                </c:pt>
                <c:pt idx="903">
                  <c:v>-0.45860000000000001</c:v>
                </c:pt>
                <c:pt idx="904">
                  <c:v>-0.45490000000000003</c:v>
                </c:pt>
                <c:pt idx="905">
                  <c:v>-0.42909999999999998</c:v>
                </c:pt>
                <c:pt idx="906">
                  <c:v>-0.42619999999999997</c:v>
                </c:pt>
                <c:pt idx="907">
                  <c:v>-0.40759999999999996</c:v>
                </c:pt>
                <c:pt idx="908">
                  <c:v>-0.4017</c:v>
                </c:pt>
                <c:pt idx="909">
                  <c:v>-0.40329999999999999</c:v>
                </c:pt>
                <c:pt idx="910">
                  <c:v>-0.40840000000000004</c:v>
                </c:pt>
                <c:pt idx="911">
                  <c:v>-0.40789999999999998</c:v>
                </c:pt>
                <c:pt idx="912">
                  <c:v>-0.42130000000000001</c:v>
                </c:pt>
                <c:pt idx="913">
                  <c:v>-0.40920000000000001</c:v>
                </c:pt>
                <c:pt idx="914">
                  <c:v>-0.4229</c:v>
                </c:pt>
                <c:pt idx="915">
                  <c:v>-0.43880000000000002</c:v>
                </c:pt>
                <c:pt idx="916">
                  <c:v>-0.42749999999999999</c:v>
                </c:pt>
                <c:pt idx="917">
                  <c:v>-0.44119999999999998</c:v>
                </c:pt>
                <c:pt idx="918">
                  <c:v>-0.45729999999999998</c:v>
                </c:pt>
                <c:pt idx="919">
                  <c:v>-0.46509999999999996</c:v>
                </c:pt>
                <c:pt idx="920">
                  <c:v>-0.46970000000000001</c:v>
                </c:pt>
                <c:pt idx="921">
                  <c:v>-0.48280000000000001</c:v>
                </c:pt>
                <c:pt idx="922">
                  <c:v>-0.48899999999999999</c:v>
                </c:pt>
                <c:pt idx="923">
                  <c:v>-0.4788</c:v>
                </c:pt>
                <c:pt idx="924">
                  <c:v>-0.4919</c:v>
                </c:pt>
                <c:pt idx="925">
                  <c:v>-0.49680000000000002</c:v>
                </c:pt>
                <c:pt idx="926">
                  <c:v>-0.49790000000000001</c:v>
                </c:pt>
                <c:pt idx="927">
                  <c:v>-0.48759999999999998</c:v>
                </c:pt>
                <c:pt idx="928">
                  <c:v>-0.4914</c:v>
                </c:pt>
                <c:pt idx="929">
                  <c:v>-0.50939999999999996</c:v>
                </c:pt>
                <c:pt idx="930">
                  <c:v>-0.49170000000000003</c:v>
                </c:pt>
                <c:pt idx="931">
                  <c:v>-0.49700000000000005</c:v>
                </c:pt>
                <c:pt idx="932">
                  <c:v>-0.47609999999999997</c:v>
                </c:pt>
                <c:pt idx="933">
                  <c:v>#N/A</c:v>
                </c:pt>
                <c:pt idx="934">
                  <c:v>-0.46799999999999997</c:v>
                </c:pt>
                <c:pt idx="935">
                  <c:v>-0.47369999999999995</c:v>
                </c:pt>
                <c:pt idx="936">
                  <c:v>-0.4879</c:v>
                </c:pt>
                <c:pt idx="937">
                  <c:v>-0.49869999999999998</c:v>
                </c:pt>
                <c:pt idx="938">
                  <c:v>-0.48580000000000001</c:v>
                </c:pt>
                <c:pt idx="939">
                  <c:v>-0.4753</c:v>
                </c:pt>
                <c:pt idx="940">
                  <c:v>-0.49030000000000001</c:v>
                </c:pt>
                <c:pt idx="941">
                  <c:v>-0.49219999999999997</c:v>
                </c:pt>
                <c:pt idx="942">
                  <c:v>-0.50460000000000005</c:v>
                </c:pt>
                <c:pt idx="943">
                  <c:v>-0.50380000000000003</c:v>
                </c:pt>
                <c:pt idx="944">
                  <c:v>-0.48249999999999998</c:v>
                </c:pt>
                <c:pt idx="945">
                  <c:v>-0.52070000000000005</c:v>
                </c:pt>
                <c:pt idx="946">
                  <c:v>-0.53200000000000003</c:v>
                </c:pt>
                <c:pt idx="947">
                  <c:v>-0.53920000000000001</c:v>
                </c:pt>
                <c:pt idx="948">
                  <c:v>-0.53010000000000002</c:v>
                </c:pt>
                <c:pt idx="949">
                  <c:v>-0.53520000000000001</c:v>
                </c:pt>
                <c:pt idx="950">
                  <c:v>-0.53539999999999999</c:v>
                </c:pt>
                <c:pt idx="951">
                  <c:v>-0.46700000000000003</c:v>
                </c:pt>
                <c:pt idx="952">
                  <c:v>-0.45169999999999999</c:v>
                </c:pt>
                <c:pt idx="953">
                  <c:v>-0.44950000000000001</c:v>
                </c:pt>
                <c:pt idx="954">
                  <c:v>-0.43740000000000001</c:v>
                </c:pt>
                <c:pt idx="955">
                  <c:v>-0.4299</c:v>
                </c:pt>
                <c:pt idx="956">
                  <c:v>-0.44090000000000001</c:v>
                </c:pt>
                <c:pt idx="957">
                  <c:v>-0.42399999999999999</c:v>
                </c:pt>
                <c:pt idx="958">
                  <c:v>-0.42719999999999997</c:v>
                </c:pt>
                <c:pt idx="959">
                  <c:v>-0.40659999999999996</c:v>
                </c:pt>
                <c:pt idx="960">
                  <c:v>-0.39020000000000005</c:v>
                </c:pt>
                <c:pt idx="961">
                  <c:v>-0.40950000000000003</c:v>
                </c:pt>
                <c:pt idx="962">
                  <c:v>-0.39100000000000001</c:v>
                </c:pt>
                <c:pt idx="963">
                  <c:v>-0.3861</c:v>
                </c:pt>
                <c:pt idx="964">
                  <c:v>-0.39549999999999996</c:v>
                </c:pt>
                <c:pt idx="965">
                  <c:v>-0.39689999999999998</c:v>
                </c:pt>
                <c:pt idx="966">
                  <c:v>-0.39770000000000005</c:v>
                </c:pt>
                <c:pt idx="967">
                  <c:v>-0.39799999999999996</c:v>
                </c:pt>
                <c:pt idx="968">
                  <c:v>-0.39549999999999996</c:v>
                </c:pt>
                <c:pt idx="969">
                  <c:v>-0.39229999999999998</c:v>
                </c:pt>
                <c:pt idx="970">
                  <c:v>-0.38719999999999999</c:v>
                </c:pt>
                <c:pt idx="971">
                  <c:v>-0.41460000000000002</c:v>
                </c:pt>
                <c:pt idx="972">
                  <c:v>-0.38689999999999997</c:v>
                </c:pt>
                <c:pt idx="973">
                  <c:v>-0.39369999999999999</c:v>
                </c:pt>
                <c:pt idx="974">
                  <c:v>-0.39229999999999998</c:v>
                </c:pt>
                <c:pt idx="975">
                  <c:v>-0.3947</c:v>
                </c:pt>
                <c:pt idx="976">
                  <c:v>-0.40060000000000001</c:v>
                </c:pt>
                <c:pt idx="977">
                  <c:v>-0.37859999999999999</c:v>
                </c:pt>
                <c:pt idx="978">
                  <c:v>-0.38719999999999999</c:v>
                </c:pt>
                <c:pt idx="979">
                  <c:v>-0.40920000000000001</c:v>
                </c:pt>
                <c:pt idx="980">
                  <c:v>-0.38290000000000002</c:v>
                </c:pt>
                <c:pt idx="981">
                  <c:v>-0.35070000000000001</c:v>
                </c:pt>
                <c:pt idx="982">
                  <c:v>-0.35580000000000001</c:v>
                </c:pt>
                <c:pt idx="983">
                  <c:v>-0.33429999999999999</c:v>
                </c:pt>
                <c:pt idx="984">
                  <c:v>-0.30609999999999998</c:v>
                </c:pt>
                <c:pt idx="985">
                  <c:v>-0.32119999999999999</c:v>
                </c:pt>
                <c:pt idx="986">
                  <c:v>-0.29139999999999999</c:v>
                </c:pt>
                <c:pt idx="987">
                  <c:v>-0.28439999999999999</c:v>
                </c:pt>
                <c:pt idx="988">
                  <c:v>#N/A</c:v>
                </c:pt>
                <c:pt idx="989">
                  <c:v>-0.26690000000000003</c:v>
                </c:pt>
                <c:pt idx="990">
                  <c:v>-0.25129999999999997</c:v>
                </c:pt>
                <c:pt idx="991">
                  <c:v>-0.253</c:v>
                </c:pt>
                <c:pt idx="992">
                  <c:v>-0.3034</c:v>
                </c:pt>
                <c:pt idx="993">
                  <c:v>-0.33299999999999996</c:v>
                </c:pt>
                <c:pt idx="994">
                  <c:v>-0.33110000000000001</c:v>
                </c:pt>
                <c:pt idx="995">
                  <c:v>-0.33779999999999999</c:v>
                </c:pt>
                <c:pt idx="996">
                  <c:v>-0.31609999999999999</c:v>
                </c:pt>
                <c:pt idx="997">
                  <c:v>-0.31530000000000002</c:v>
                </c:pt>
                <c:pt idx="998">
                  <c:v>-0.311</c:v>
                </c:pt>
                <c:pt idx="999">
                  <c:v>-0.31469999999999998</c:v>
                </c:pt>
                <c:pt idx="1000">
                  <c:v>-0.31629999999999997</c:v>
                </c:pt>
                <c:pt idx="1001">
                  <c:v>-0.31440000000000001</c:v>
                </c:pt>
                <c:pt idx="1002">
                  <c:v>-0.31390000000000001</c:v>
                </c:pt>
                <c:pt idx="1003">
                  <c:v>-0.3306</c:v>
                </c:pt>
                <c:pt idx="1004">
                  <c:v>-0.33299999999999996</c:v>
                </c:pt>
                <c:pt idx="1005">
                  <c:v>-0.3281</c:v>
                </c:pt>
                <c:pt idx="1006">
                  <c:v>-0.32679999999999998</c:v>
                </c:pt>
                <c:pt idx="1007">
                  <c:v>-0.3362</c:v>
                </c:pt>
                <c:pt idx="1008">
                  <c:v>-0.34960000000000002</c:v>
                </c:pt>
                <c:pt idx="1009">
                  <c:v>-0.34429999999999999</c:v>
                </c:pt>
                <c:pt idx="1010">
                  <c:v>-0.32200000000000001</c:v>
                </c:pt>
                <c:pt idx="1011">
                  <c:v>-0.30559999999999998</c:v>
                </c:pt>
                <c:pt idx="1012">
                  <c:v>-0.31900000000000001</c:v>
                </c:pt>
                <c:pt idx="1013">
                  <c:v>-0.33380000000000004</c:v>
                </c:pt>
                <c:pt idx="1014">
                  <c:v>-0.33399999999999996</c:v>
                </c:pt>
                <c:pt idx="1015">
                  <c:v>-0.31359999999999999</c:v>
                </c:pt>
                <c:pt idx="1016">
                  <c:v>-0.30769999999999997</c:v>
                </c:pt>
                <c:pt idx="1017">
                  <c:v>-0.2863</c:v>
                </c:pt>
                <c:pt idx="1018">
                  <c:v>-0.29299999999999998</c:v>
                </c:pt>
                <c:pt idx="1019">
                  <c:v>-0.46560000000000001</c:v>
                </c:pt>
                <c:pt idx="1020">
                  <c:v>-0.4914</c:v>
                </c:pt>
                <c:pt idx="1021">
                  <c:v>-0.50029999999999997</c:v>
                </c:pt>
                <c:pt idx="1022">
                  <c:v>-0.51049999999999995</c:v>
                </c:pt>
                <c:pt idx="1023">
                  <c:v>-0.50700000000000001</c:v>
                </c:pt>
                <c:pt idx="1024">
                  <c:v>-0.47100000000000003</c:v>
                </c:pt>
                <c:pt idx="1025">
                  <c:v>-0.48119999999999996</c:v>
                </c:pt>
                <c:pt idx="1026">
                  <c:v>-0.50670000000000004</c:v>
                </c:pt>
                <c:pt idx="1027">
                  <c:v>-0.5212</c:v>
                </c:pt>
                <c:pt idx="1028">
                  <c:v>-0.52790000000000004</c:v>
                </c:pt>
                <c:pt idx="1029">
                  <c:v>-0.50859999999999994</c:v>
                </c:pt>
                <c:pt idx="1030">
                  <c:v>-0.50939999999999996</c:v>
                </c:pt>
                <c:pt idx="1031">
                  <c:v>-0.50350000000000006</c:v>
                </c:pt>
                <c:pt idx="1032">
                  <c:v>-0.50429999999999997</c:v>
                </c:pt>
                <c:pt idx="1033">
                  <c:v>-0.48849999999999999</c:v>
                </c:pt>
                <c:pt idx="1034">
                  <c:v>-0.48039999999999999</c:v>
                </c:pt>
                <c:pt idx="1035">
                  <c:v>-0.48280000000000001</c:v>
                </c:pt>
                <c:pt idx="1036">
                  <c:v>-0.49920000000000003</c:v>
                </c:pt>
                <c:pt idx="1037">
                  <c:v>-0.50749999999999995</c:v>
                </c:pt>
                <c:pt idx="1038">
                  <c:v>-0.50460000000000005</c:v>
                </c:pt>
                <c:pt idx="1039">
                  <c:v>-0.50829999999999997</c:v>
                </c:pt>
                <c:pt idx="1040">
                  <c:v>-0.51340000000000008</c:v>
                </c:pt>
                <c:pt idx="1041">
                  <c:v>-0.51239999999999997</c:v>
                </c:pt>
                <c:pt idx="1042">
                  <c:v>-0.51560000000000006</c:v>
                </c:pt>
                <c:pt idx="1043">
                  <c:v>-0.52689999999999992</c:v>
                </c:pt>
                <c:pt idx="1044">
                  <c:v>-0.53439999999999999</c:v>
                </c:pt>
                <c:pt idx="1045">
                  <c:v>-0.51829999999999998</c:v>
                </c:pt>
                <c:pt idx="1046">
                  <c:v>-0.52070000000000005</c:v>
                </c:pt>
                <c:pt idx="1047">
                  <c:v>-0.504</c:v>
                </c:pt>
                <c:pt idx="1048">
                  <c:v>-0.50539999999999996</c:v>
                </c:pt>
                <c:pt idx="1049">
                  <c:v>-0.51369999999999993</c:v>
                </c:pt>
                <c:pt idx="1050">
                  <c:v>-0.49700000000000005</c:v>
                </c:pt>
                <c:pt idx="1051">
                  <c:v>-0.49540000000000001</c:v>
                </c:pt>
                <c:pt idx="1052">
                  <c:v>-0.49109999999999998</c:v>
                </c:pt>
                <c:pt idx="1053">
                  <c:v>-0.48849999999999999</c:v>
                </c:pt>
                <c:pt idx="1054">
                  <c:v>-0.48310000000000003</c:v>
                </c:pt>
                <c:pt idx="1055">
                  <c:v>-0.49359999999999998</c:v>
                </c:pt>
                <c:pt idx="1056">
                  <c:v>-0.46590000000000004</c:v>
                </c:pt>
                <c:pt idx="1057">
                  <c:v>-0.49700000000000005</c:v>
                </c:pt>
                <c:pt idx="1058">
                  <c:v>-0.48420000000000002</c:v>
                </c:pt>
                <c:pt idx="1059">
                  <c:v>-0.48520000000000002</c:v>
                </c:pt>
                <c:pt idx="1060">
                  <c:v>-0.48149999999999998</c:v>
                </c:pt>
                <c:pt idx="1061">
                  <c:v>-0.48950000000000005</c:v>
                </c:pt>
                <c:pt idx="1062">
                  <c:v>-0.48549999999999999</c:v>
                </c:pt>
                <c:pt idx="1063">
                  <c:v>-0.50429999999999997</c:v>
                </c:pt>
                <c:pt idx="1064">
                  <c:v>-0.5212</c:v>
                </c:pt>
                <c:pt idx="1065">
                  <c:v>-0.52340000000000009</c:v>
                </c:pt>
                <c:pt idx="1066">
                  <c:v>-0.51560000000000006</c:v>
                </c:pt>
                <c:pt idx="1067">
                  <c:v>-0.51929999999999998</c:v>
                </c:pt>
                <c:pt idx="1068">
                  <c:v>-0.52259999999999995</c:v>
                </c:pt>
                <c:pt idx="1069">
                  <c:v>-0.51659999999999995</c:v>
                </c:pt>
                <c:pt idx="1070">
                  <c:v>-0.50460000000000005</c:v>
                </c:pt>
                <c:pt idx="1071">
                  <c:v>-0.5</c:v>
                </c:pt>
                <c:pt idx="1072">
                  <c:v>-0.51450000000000007</c:v>
                </c:pt>
                <c:pt idx="1073">
                  <c:v>-0.50829999999999997</c:v>
                </c:pt>
                <c:pt idx="1074">
                  <c:v>-0.50670000000000004</c:v>
                </c:pt>
                <c:pt idx="1075">
                  <c:v>-0.51580000000000004</c:v>
                </c:pt>
                <c:pt idx="1076">
                  <c:v>-0.51180000000000003</c:v>
                </c:pt>
                <c:pt idx="1077">
                  <c:v>-0.51129999999999998</c:v>
                </c:pt>
                <c:pt idx="1078">
                  <c:v>-0.50509999999999999</c:v>
                </c:pt>
                <c:pt idx="1079">
                  <c:v>-0.48420000000000002</c:v>
                </c:pt>
                <c:pt idx="1080">
                  <c:v>-0.48950000000000005</c:v>
                </c:pt>
                <c:pt idx="1081">
                  <c:v>-0.49840000000000001</c:v>
                </c:pt>
                <c:pt idx="1082">
                  <c:v>-0.50670000000000004</c:v>
                </c:pt>
                <c:pt idx="1083">
                  <c:v>-0.51659999999999995</c:v>
                </c:pt>
                <c:pt idx="1084">
                  <c:v>-0.51880000000000004</c:v>
                </c:pt>
                <c:pt idx="1085">
                  <c:v>-0.53600000000000003</c:v>
                </c:pt>
                <c:pt idx="1086">
                  <c:v>-0.53359999999999996</c:v>
                </c:pt>
                <c:pt idx="1087">
                  <c:v>-0.44819999999999999</c:v>
                </c:pt>
                <c:pt idx="1088">
                  <c:v>-0.43640000000000001</c:v>
                </c:pt>
                <c:pt idx="1089">
                  <c:v>#N/A</c:v>
                </c:pt>
                <c:pt idx="1090">
                  <c:v>-0.46460000000000001</c:v>
                </c:pt>
                <c:pt idx="1091">
                  <c:v>-0.46779999999999999</c:v>
                </c:pt>
                <c:pt idx="1092">
                  <c:v>-0.46429999999999999</c:v>
                </c:pt>
                <c:pt idx="1093">
                  <c:v>-0.44439999999999996</c:v>
                </c:pt>
                <c:pt idx="1094">
                  <c:v>-0.442</c:v>
                </c:pt>
                <c:pt idx="1095">
                  <c:v>-0.44040000000000001</c:v>
                </c:pt>
                <c:pt idx="1096">
                  <c:v>-0.43640000000000001</c:v>
                </c:pt>
                <c:pt idx="1097">
                  <c:v>-0.45219999999999999</c:v>
                </c:pt>
                <c:pt idx="1098">
                  <c:v>-0.46939999999999998</c:v>
                </c:pt>
                <c:pt idx="1099">
                  <c:v>-0.46429999999999999</c:v>
                </c:pt>
                <c:pt idx="1100">
                  <c:v>-0.46509999999999996</c:v>
                </c:pt>
                <c:pt idx="1101">
                  <c:v>-0.45219999999999999</c:v>
                </c:pt>
                <c:pt idx="1102">
                  <c:v>-0.45950000000000002</c:v>
                </c:pt>
                <c:pt idx="1103">
                  <c:v>-0.45569999999999999</c:v>
                </c:pt>
                <c:pt idx="1104">
                  <c:v>-0.4425</c:v>
                </c:pt>
                <c:pt idx="1105">
                  <c:v>-0.44549999999999995</c:v>
                </c:pt>
                <c:pt idx="1106">
                  <c:v>-0.4385</c:v>
                </c:pt>
                <c:pt idx="1107">
                  <c:v>-0.45189999999999997</c:v>
                </c:pt>
                <c:pt idx="1108">
                  <c:v>-0.45840000000000003</c:v>
                </c:pt>
                <c:pt idx="1109">
                  <c:v>-0.46970000000000001</c:v>
                </c:pt>
                <c:pt idx="1110">
                  <c:v>-0.49869999999999998</c:v>
                </c:pt>
                <c:pt idx="1111">
                  <c:v>-0.4965</c:v>
                </c:pt>
                <c:pt idx="1112">
                  <c:v>-0.51019999999999999</c:v>
                </c:pt>
                <c:pt idx="1113">
                  <c:v>-0.49490000000000001</c:v>
                </c:pt>
                <c:pt idx="1114">
                  <c:v>-0.4965</c:v>
                </c:pt>
                <c:pt idx="1115">
                  <c:v>-0.49570000000000003</c:v>
                </c:pt>
                <c:pt idx="1116">
                  <c:v>-0.50350000000000006</c:v>
                </c:pt>
                <c:pt idx="1117">
                  <c:v>-0.49439999999999995</c:v>
                </c:pt>
                <c:pt idx="1118">
                  <c:v>-0.49790000000000001</c:v>
                </c:pt>
                <c:pt idx="1119">
                  <c:v>#N/A</c:v>
                </c:pt>
                <c:pt idx="1120">
                  <c:v>-0.49540000000000001</c:v>
                </c:pt>
                <c:pt idx="1121">
                  <c:v>-0.50029999999999997</c:v>
                </c:pt>
                <c:pt idx="1122">
                  <c:v>-0.49409999999999998</c:v>
                </c:pt>
                <c:pt idx="1123">
                  <c:v>-0.50080000000000002</c:v>
                </c:pt>
                <c:pt idx="1124">
                  <c:v>-0.49109999999999998</c:v>
                </c:pt>
                <c:pt idx="1125">
                  <c:v>-0.49520000000000003</c:v>
                </c:pt>
                <c:pt idx="1126">
                  <c:v>-0.50859999999999994</c:v>
                </c:pt>
                <c:pt idx="1127">
                  <c:v>-0.49810000000000004</c:v>
                </c:pt>
                <c:pt idx="1128">
                  <c:v>-0.4919</c:v>
                </c:pt>
                <c:pt idx="1129">
                  <c:v>-0.48820000000000002</c:v>
                </c:pt>
                <c:pt idx="1130">
                  <c:v>-0.47659999999999997</c:v>
                </c:pt>
                <c:pt idx="1131">
                  <c:v>-0.4874</c:v>
                </c:pt>
                <c:pt idx="1132">
                  <c:v>-0.50190000000000001</c:v>
                </c:pt>
                <c:pt idx="1133">
                  <c:v>-0.49969999999999998</c:v>
                </c:pt>
                <c:pt idx="1134">
                  <c:v>-0.49009999999999998</c:v>
                </c:pt>
                <c:pt idx="1135">
                  <c:v>-0.49170000000000003</c:v>
                </c:pt>
                <c:pt idx="1136">
                  <c:v>-0.51319999999999999</c:v>
                </c:pt>
                <c:pt idx="1137">
                  <c:v>-0.51529999999999998</c:v>
                </c:pt>
                <c:pt idx="1138">
                  <c:v>-0.50479999999999992</c:v>
                </c:pt>
                <c:pt idx="1139">
                  <c:v>-0.49890000000000001</c:v>
                </c:pt>
                <c:pt idx="1140">
                  <c:v>-0.50080000000000002</c:v>
                </c:pt>
                <c:pt idx="1141">
                  <c:v>-0.50350000000000006</c:v>
                </c:pt>
                <c:pt idx="1142">
                  <c:v>-0.5091</c:v>
                </c:pt>
                <c:pt idx="1143">
                  <c:v>-0.55530000000000002</c:v>
                </c:pt>
                <c:pt idx="1144">
                  <c:v>#N/A</c:v>
                </c:pt>
                <c:pt idx="1145">
                  <c:v>-0.55320000000000003</c:v>
                </c:pt>
                <c:pt idx="1146">
                  <c:v>-0.55770000000000008</c:v>
                </c:pt>
                <c:pt idx="1147">
                  <c:v>-0.53439999999999999</c:v>
                </c:pt>
                <c:pt idx="1148">
                  <c:v>-0.54139999999999999</c:v>
                </c:pt>
                <c:pt idx="1149">
                  <c:v>-0.53679999999999994</c:v>
                </c:pt>
                <c:pt idx="1150">
                  <c:v>-0.52200000000000002</c:v>
                </c:pt>
                <c:pt idx="1151">
                  <c:v>-0.52229999999999999</c:v>
                </c:pt>
                <c:pt idx="1152">
                  <c:v>-0.50829999999999997</c:v>
                </c:pt>
                <c:pt idx="1153">
                  <c:v>-0.5091</c:v>
                </c:pt>
                <c:pt idx="1154">
                  <c:v>-0.50240000000000007</c:v>
                </c:pt>
                <c:pt idx="1155">
                  <c:v>-0.51479999999999992</c:v>
                </c:pt>
                <c:pt idx="1156">
                  <c:v>-0.51479999999999992</c:v>
                </c:pt>
                <c:pt idx="1157">
                  <c:v>-0.52039999999999997</c:v>
                </c:pt>
                <c:pt idx="1158">
                  <c:v>-0.52039999999999997</c:v>
                </c:pt>
                <c:pt idx="1159">
                  <c:v>-0.52039999999999997</c:v>
                </c:pt>
                <c:pt idx="1160">
                  <c:v>-0.52739999999999998</c:v>
                </c:pt>
                <c:pt idx="1161">
                  <c:v>-0.54510000000000003</c:v>
                </c:pt>
                <c:pt idx="1162">
                  <c:v>-0.53869999999999996</c:v>
                </c:pt>
                <c:pt idx="1163">
                  <c:v>-0.5333</c:v>
                </c:pt>
                <c:pt idx="1164">
                  <c:v>-0.53010000000000002</c:v>
                </c:pt>
                <c:pt idx="1165">
                  <c:v>-0.54049999999999998</c:v>
                </c:pt>
                <c:pt idx="1166">
                  <c:v>-0.54299999999999993</c:v>
                </c:pt>
                <c:pt idx="1167">
                  <c:v>-0.56119999999999992</c:v>
                </c:pt>
                <c:pt idx="1168">
                  <c:v>-0.55259999999999998</c:v>
                </c:pt>
                <c:pt idx="1169">
                  <c:v>-0.55130000000000001</c:v>
                </c:pt>
                <c:pt idx="1170">
                  <c:v>-0.5403</c:v>
                </c:pt>
                <c:pt idx="1171">
                  <c:v>-0.53969999999999996</c:v>
                </c:pt>
                <c:pt idx="1172">
                  <c:v>-0.53920000000000001</c:v>
                </c:pt>
                <c:pt idx="1173">
                  <c:v>-0.53110000000000002</c:v>
                </c:pt>
                <c:pt idx="1174">
                  <c:v>-0.51990000000000003</c:v>
                </c:pt>
                <c:pt idx="1175">
                  <c:v>-0.5121</c:v>
                </c:pt>
                <c:pt idx="1176">
                  <c:v>-0.49030000000000001</c:v>
                </c:pt>
                <c:pt idx="1177">
                  <c:v>-0.49680000000000002</c:v>
                </c:pt>
                <c:pt idx="1178">
                  <c:v>-0.50429999999999997</c:v>
                </c:pt>
                <c:pt idx="1179">
                  <c:v>-0.49869999999999998</c:v>
                </c:pt>
                <c:pt idx="1180">
                  <c:v>-0.43209999999999998</c:v>
                </c:pt>
                <c:pt idx="1181">
                  <c:v>-0.40630000000000005</c:v>
                </c:pt>
                <c:pt idx="1182">
                  <c:v>-0.39340000000000003</c:v>
                </c:pt>
                <c:pt idx="1183">
                  <c:v>-0.4012</c:v>
                </c:pt>
                <c:pt idx="1184">
                  <c:v>-0.40439999999999998</c:v>
                </c:pt>
                <c:pt idx="1185">
                  <c:v>-0.40920000000000001</c:v>
                </c:pt>
                <c:pt idx="1186">
                  <c:v>-0.41460000000000002</c:v>
                </c:pt>
                <c:pt idx="1187">
                  <c:v>-0.41299999999999998</c:v>
                </c:pt>
                <c:pt idx="1188">
                  <c:v>-0.41969999999999996</c:v>
                </c:pt>
                <c:pt idx="1189">
                  <c:v>-0.41350000000000003</c:v>
                </c:pt>
                <c:pt idx="1190">
                  <c:v>-0.41139999999999999</c:v>
                </c:pt>
                <c:pt idx="1191">
                  <c:v>-0.41189999999999999</c:v>
                </c:pt>
                <c:pt idx="1192">
                  <c:v>-0.41270000000000001</c:v>
                </c:pt>
                <c:pt idx="1193">
                  <c:v>#N/A</c:v>
                </c:pt>
                <c:pt idx="1194">
                  <c:v>-0.4133</c:v>
                </c:pt>
                <c:pt idx="1195">
                  <c:v>-0.41110000000000002</c:v>
                </c:pt>
                <c:pt idx="1196">
                  <c:v>-0.4178</c:v>
                </c:pt>
                <c:pt idx="1197">
                  <c:v>-0.41509999999999997</c:v>
                </c:pt>
                <c:pt idx="1198">
                  <c:v>-0.4138</c:v>
                </c:pt>
                <c:pt idx="1199">
                  <c:v>-0.42670000000000002</c:v>
                </c:pt>
                <c:pt idx="1200">
                  <c:v>-0.43740000000000001</c:v>
                </c:pt>
                <c:pt idx="1201">
                  <c:v>-0.43959999999999999</c:v>
                </c:pt>
                <c:pt idx="1202">
                  <c:v>-0.44789999999999996</c:v>
                </c:pt>
                <c:pt idx="1203">
                  <c:v>-0.44280000000000003</c:v>
                </c:pt>
                <c:pt idx="1204">
                  <c:v>-0.44119999999999998</c:v>
                </c:pt>
                <c:pt idx="1205">
                  <c:v>-0.4385</c:v>
                </c:pt>
                <c:pt idx="1206">
                  <c:v>-0.43469999999999998</c:v>
                </c:pt>
                <c:pt idx="1207">
                  <c:v>-0.44229999999999997</c:v>
                </c:pt>
                <c:pt idx="1208">
                  <c:v>-0.43579999999999997</c:v>
                </c:pt>
                <c:pt idx="1209">
                  <c:v>-0.4229</c:v>
                </c:pt>
                <c:pt idx="1210">
                  <c:v>-0.4103</c:v>
                </c:pt>
                <c:pt idx="1211">
                  <c:v>-0.36899999999999999</c:v>
                </c:pt>
                <c:pt idx="1212">
                  <c:v>-0.36249999999999999</c:v>
                </c:pt>
                <c:pt idx="1213">
                  <c:v>-0.33649999999999997</c:v>
                </c:pt>
                <c:pt idx="1214">
                  <c:v>-0.3115</c:v>
                </c:pt>
                <c:pt idx="1215">
                  <c:v>-0.30879999999999996</c:v>
                </c:pt>
                <c:pt idx="1216">
                  <c:v>-0.33539999999999998</c:v>
                </c:pt>
                <c:pt idx="1217">
                  <c:v>-0.34610000000000002</c:v>
                </c:pt>
                <c:pt idx="1218">
                  <c:v>-0.3397</c:v>
                </c:pt>
                <c:pt idx="1219">
                  <c:v>-0.33779999999999999</c:v>
                </c:pt>
                <c:pt idx="1220">
                  <c:v>-0.3392</c:v>
                </c:pt>
                <c:pt idx="1221">
                  <c:v>-0.3362</c:v>
                </c:pt>
                <c:pt idx="1222">
                  <c:v>-0.33399999999999996</c:v>
                </c:pt>
                <c:pt idx="1223">
                  <c:v>-0.32869999999999999</c:v>
                </c:pt>
                <c:pt idx="1224">
                  <c:v>-0.311</c:v>
                </c:pt>
                <c:pt idx="1225">
                  <c:v>-0.29299999999999998</c:v>
                </c:pt>
                <c:pt idx="1226">
                  <c:v>-0.3034</c:v>
                </c:pt>
                <c:pt idx="1227">
                  <c:v>-0.29510000000000003</c:v>
                </c:pt>
                <c:pt idx="1228">
                  <c:v>-0.35310000000000002</c:v>
                </c:pt>
                <c:pt idx="1229">
                  <c:v>-0.34399999999999997</c:v>
                </c:pt>
                <c:pt idx="1230">
                  <c:v>-0.3483</c:v>
                </c:pt>
                <c:pt idx="1231">
                  <c:v>-0.35609999999999997</c:v>
                </c:pt>
                <c:pt idx="1232">
                  <c:v>-0.34240000000000004</c:v>
                </c:pt>
                <c:pt idx="1233">
                  <c:v>-0.34909999999999997</c:v>
                </c:pt>
                <c:pt idx="1234">
                  <c:v>-0.36060000000000003</c:v>
                </c:pt>
                <c:pt idx="1235">
                  <c:v>-0.36709999999999998</c:v>
                </c:pt>
                <c:pt idx="1236">
                  <c:v>-0.36899999999999999</c:v>
                </c:pt>
                <c:pt idx="1237">
                  <c:v>-0.37939999999999996</c:v>
                </c:pt>
                <c:pt idx="1238">
                  <c:v>-0.38</c:v>
                </c:pt>
                <c:pt idx="1239">
                  <c:v>-0.36599999999999999</c:v>
                </c:pt>
                <c:pt idx="1240">
                  <c:v>-0.3972</c:v>
                </c:pt>
                <c:pt idx="1241">
                  <c:v>-0.40409999999999996</c:v>
                </c:pt>
                <c:pt idx="1242">
                  <c:v>-0.38020000000000004</c:v>
                </c:pt>
                <c:pt idx="1243">
                  <c:v>-0.38640000000000002</c:v>
                </c:pt>
                <c:pt idx="1244">
                  <c:v>-0.39340000000000003</c:v>
                </c:pt>
                <c:pt idx="1245">
                  <c:v>#N/A</c:v>
                </c:pt>
                <c:pt idx="1246">
                  <c:v>-0.39529999999999998</c:v>
                </c:pt>
                <c:pt idx="1247">
                  <c:v>-0.41170000000000001</c:v>
                </c:pt>
                <c:pt idx="1248">
                  <c:v>-0.41139999999999999</c:v>
                </c:pt>
                <c:pt idx="1249">
                  <c:v>-0.39179999999999998</c:v>
                </c:pt>
                <c:pt idx="1250">
                  <c:v>-0.3896</c:v>
                </c:pt>
                <c:pt idx="1251">
                  <c:v>-0.37670000000000003</c:v>
                </c:pt>
                <c:pt idx="1252">
                  <c:v>-0.39899999999999997</c:v>
                </c:pt>
                <c:pt idx="1253">
                  <c:v>-0.4052</c:v>
                </c:pt>
                <c:pt idx="1254">
                  <c:v>-0.40899999999999997</c:v>
                </c:pt>
                <c:pt idx="1255">
                  <c:v>-0.42619999999999997</c:v>
                </c:pt>
                <c:pt idx="1256">
                  <c:v>-0.44040000000000001</c:v>
                </c:pt>
                <c:pt idx="1257">
                  <c:v>-0.43130000000000002</c:v>
                </c:pt>
                <c:pt idx="1258">
                  <c:v>-0.4294</c:v>
                </c:pt>
                <c:pt idx="1259">
                  <c:v>-0.42210000000000003</c:v>
                </c:pt>
                <c:pt idx="1260">
                  <c:v>-0.43259999999999998</c:v>
                </c:pt>
                <c:pt idx="1261">
                  <c:v>-0.43560000000000004</c:v>
                </c:pt>
                <c:pt idx="1262">
                  <c:v>-0.4294</c:v>
                </c:pt>
                <c:pt idx="1263">
                  <c:v>-0.42799999999999999</c:v>
                </c:pt>
                <c:pt idx="1264">
                  <c:v>-0.43259999999999998</c:v>
                </c:pt>
                <c:pt idx="1265">
                  <c:v>-0.43390000000000001</c:v>
                </c:pt>
                <c:pt idx="1266">
                  <c:v>-0.44840000000000002</c:v>
                </c:pt>
                <c:pt idx="1267">
                  <c:v>-0.43659999999999999</c:v>
                </c:pt>
                <c:pt idx="1268">
                  <c:v>-0.43979999999999997</c:v>
                </c:pt>
                <c:pt idx="1269">
                  <c:v>-0.42799999999999999</c:v>
                </c:pt>
                <c:pt idx="1270">
                  <c:v>-0.43740000000000001</c:v>
                </c:pt>
                <c:pt idx="1271">
                  <c:v>-0.45890000000000003</c:v>
                </c:pt>
                <c:pt idx="1272">
                  <c:v>-0.44469999999999998</c:v>
                </c:pt>
                <c:pt idx="1273">
                  <c:v>-0.44390000000000002</c:v>
                </c:pt>
                <c:pt idx="1274">
                  <c:v>-0.51560000000000006</c:v>
                </c:pt>
                <c:pt idx="1275">
                  <c:v>-0.49619999999999997</c:v>
                </c:pt>
                <c:pt idx="1276">
                  <c:v>-0.48869999999999997</c:v>
                </c:pt>
                <c:pt idx="1277">
                  <c:v>-0.496</c:v>
                </c:pt>
                <c:pt idx="1278">
                  <c:v>-0.49270000000000003</c:v>
                </c:pt>
                <c:pt idx="1279">
                  <c:v>-0.48979999999999996</c:v>
                </c:pt>
                <c:pt idx="1280">
                  <c:v>-0.48520000000000002</c:v>
                </c:pt>
                <c:pt idx="1281">
                  <c:v>-0.47720000000000001</c:v>
                </c:pt>
                <c:pt idx="1282">
                  <c:v>-0.4793</c:v>
                </c:pt>
              </c:numCache>
            </c:numRef>
          </c:val>
          <c:smooth val="0"/>
          <c:extLst>
            <c:ext xmlns:c16="http://schemas.microsoft.com/office/drawing/2014/chart" uri="{C3380CC4-5D6E-409C-BE32-E72D297353CC}">
              <c16:uniqueId val="{00000000-38E9-3A47-88E1-C12090EB7153}"/>
            </c:ext>
          </c:extLst>
        </c:ser>
        <c:ser>
          <c:idx val="1"/>
          <c:order val="1"/>
          <c:tx>
            <c:strRef>
              <c:f>Sheet1!$C$92</c:f>
              <c:strCache>
                <c:ptCount val="1"/>
                <c:pt idx="0">
                  <c:v>S&amp;P Technology Select</c:v>
                </c:pt>
              </c:strCache>
            </c:strRef>
          </c:tx>
          <c:spPr>
            <a:ln w="28575" cap="rnd">
              <a:solidFill>
                <a:srgbClr val="2E89DB"/>
              </a:solidFill>
              <a:round/>
            </a:ln>
            <a:effectLst/>
          </c:spPr>
          <c:marker>
            <c:symbol val="none"/>
          </c:marker>
          <c:cat>
            <c:numRef>
              <c:f>Sheet1!$A$93:$A$1375</c:f>
              <c:numCache>
                <c:formatCode>[$-409]mmm\-dd\-yyyy;@</c:formatCode>
                <c:ptCount val="1283"/>
                <c:pt idx="0">
                  <c:v>43880</c:v>
                </c:pt>
                <c:pt idx="1">
                  <c:v>43881</c:v>
                </c:pt>
                <c:pt idx="2">
                  <c:v>43882</c:v>
                </c:pt>
                <c:pt idx="3">
                  <c:v>43885</c:v>
                </c:pt>
                <c:pt idx="4">
                  <c:v>43886</c:v>
                </c:pt>
                <c:pt idx="5">
                  <c:v>43887</c:v>
                </c:pt>
                <c:pt idx="6">
                  <c:v>43888</c:v>
                </c:pt>
                <c:pt idx="7">
                  <c:v>43889</c:v>
                </c:pt>
                <c:pt idx="8">
                  <c:v>43892</c:v>
                </c:pt>
                <c:pt idx="9">
                  <c:v>43893</c:v>
                </c:pt>
                <c:pt idx="10">
                  <c:v>43894</c:v>
                </c:pt>
                <c:pt idx="11">
                  <c:v>43895</c:v>
                </c:pt>
                <c:pt idx="12">
                  <c:v>43896</c:v>
                </c:pt>
                <c:pt idx="13">
                  <c:v>43899</c:v>
                </c:pt>
                <c:pt idx="14">
                  <c:v>43900</c:v>
                </c:pt>
                <c:pt idx="15">
                  <c:v>43901</c:v>
                </c:pt>
                <c:pt idx="16">
                  <c:v>43902</c:v>
                </c:pt>
                <c:pt idx="17">
                  <c:v>43903</c:v>
                </c:pt>
                <c:pt idx="18">
                  <c:v>43906</c:v>
                </c:pt>
                <c:pt idx="19">
                  <c:v>43907</c:v>
                </c:pt>
                <c:pt idx="20">
                  <c:v>43908</c:v>
                </c:pt>
                <c:pt idx="21">
                  <c:v>43909</c:v>
                </c:pt>
                <c:pt idx="22">
                  <c:v>43910</c:v>
                </c:pt>
                <c:pt idx="23">
                  <c:v>43913</c:v>
                </c:pt>
                <c:pt idx="24">
                  <c:v>43914</c:v>
                </c:pt>
                <c:pt idx="25">
                  <c:v>43915</c:v>
                </c:pt>
                <c:pt idx="26">
                  <c:v>43916</c:v>
                </c:pt>
                <c:pt idx="27">
                  <c:v>43917</c:v>
                </c:pt>
                <c:pt idx="28">
                  <c:v>43920</c:v>
                </c:pt>
                <c:pt idx="29">
                  <c:v>43921</c:v>
                </c:pt>
                <c:pt idx="30">
                  <c:v>43922</c:v>
                </c:pt>
                <c:pt idx="31">
                  <c:v>43923</c:v>
                </c:pt>
                <c:pt idx="32">
                  <c:v>43924</c:v>
                </c:pt>
                <c:pt idx="33">
                  <c:v>43927</c:v>
                </c:pt>
                <c:pt idx="34">
                  <c:v>43928</c:v>
                </c:pt>
                <c:pt idx="35">
                  <c:v>43929</c:v>
                </c:pt>
                <c:pt idx="36">
                  <c:v>43930</c:v>
                </c:pt>
                <c:pt idx="37">
                  <c:v>43934</c:v>
                </c:pt>
                <c:pt idx="38">
                  <c:v>43935</c:v>
                </c:pt>
                <c:pt idx="39">
                  <c:v>43936</c:v>
                </c:pt>
                <c:pt idx="40">
                  <c:v>43937</c:v>
                </c:pt>
                <c:pt idx="41">
                  <c:v>43938</c:v>
                </c:pt>
                <c:pt idx="42">
                  <c:v>43941</c:v>
                </c:pt>
                <c:pt idx="43">
                  <c:v>43942</c:v>
                </c:pt>
                <c:pt idx="44">
                  <c:v>43943</c:v>
                </c:pt>
                <c:pt idx="45">
                  <c:v>43944</c:v>
                </c:pt>
                <c:pt idx="46">
                  <c:v>43945</c:v>
                </c:pt>
                <c:pt idx="47">
                  <c:v>43948</c:v>
                </c:pt>
                <c:pt idx="48">
                  <c:v>43949</c:v>
                </c:pt>
                <c:pt idx="49">
                  <c:v>43950</c:v>
                </c:pt>
                <c:pt idx="50">
                  <c:v>43951</c:v>
                </c:pt>
                <c:pt idx="51">
                  <c:v>43952</c:v>
                </c:pt>
                <c:pt idx="52">
                  <c:v>43955</c:v>
                </c:pt>
                <c:pt idx="53">
                  <c:v>43956</c:v>
                </c:pt>
                <c:pt idx="54">
                  <c:v>43957</c:v>
                </c:pt>
                <c:pt idx="55">
                  <c:v>43958</c:v>
                </c:pt>
                <c:pt idx="56">
                  <c:v>43959</c:v>
                </c:pt>
                <c:pt idx="57">
                  <c:v>43962</c:v>
                </c:pt>
                <c:pt idx="58">
                  <c:v>43963</c:v>
                </c:pt>
                <c:pt idx="59">
                  <c:v>43964</c:v>
                </c:pt>
                <c:pt idx="60">
                  <c:v>43965</c:v>
                </c:pt>
                <c:pt idx="61">
                  <c:v>43966</c:v>
                </c:pt>
                <c:pt idx="62">
                  <c:v>43969</c:v>
                </c:pt>
                <c:pt idx="63">
                  <c:v>43970</c:v>
                </c:pt>
                <c:pt idx="64">
                  <c:v>43971</c:v>
                </c:pt>
                <c:pt idx="65">
                  <c:v>43972</c:v>
                </c:pt>
                <c:pt idx="66">
                  <c:v>43973</c:v>
                </c:pt>
                <c:pt idx="67">
                  <c:v>43976</c:v>
                </c:pt>
                <c:pt idx="68">
                  <c:v>43977</c:v>
                </c:pt>
                <c:pt idx="69">
                  <c:v>43978</c:v>
                </c:pt>
                <c:pt idx="70">
                  <c:v>43979</c:v>
                </c:pt>
                <c:pt idx="71">
                  <c:v>43980</c:v>
                </c:pt>
                <c:pt idx="72">
                  <c:v>43983</c:v>
                </c:pt>
                <c:pt idx="73">
                  <c:v>43984</c:v>
                </c:pt>
                <c:pt idx="74">
                  <c:v>43985</c:v>
                </c:pt>
                <c:pt idx="75">
                  <c:v>43986</c:v>
                </c:pt>
                <c:pt idx="76">
                  <c:v>43987</c:v>
                </c:pt>
                <c:pt idx="77">
                  <c:v>43990</c:v>
                </c:pt>
                <c:pt idx="78">
                  <c:v>43991</c:v>
                </c:pt>
                <c:pt idx="79">
                  <c:v>43992</c:v>
                </c:pt>
                <c:pt idx="80">
                  <c:v>43993</c:v>
                </c:pt>
                <c:pt idx="81">
                  <c:v>43994</c:v>
                </c:pt>
                <c:pt idx="82">
                  <c:v>43997</c:v>
                </c:pt>
                <c:pt idx="83">
                  <c:v>43998</c:v>
                </c:pt>
                <c:pt idx="84">
                  <c:v>43999</c:v>
                </c:pt>
                <c:pt idx="85">
                  <c:v>44000</c:v>
                </c:pt>
                <c:pt idx="86">
                  <c:v>44001</c:v>
                </c:pt>
                <c:pt idx="87">
                  <c:v>44004</c:v>
                </c:pt>
                <c:pt idx="88">
                  <c:v>44005</c:v>
                </c:pt>
                <c:pt idx="89">
                  <c:v>44006</c:v>
                </c:pt>
                <c:pt idx="90">
                  <c:v>44007</c:v>
                </c:pt>
                <c:pt idx="91">
                  <c:v>44008</c:v>
                </c:pt>
                <c:pt idx="92">
                  <c:v>44011</c:v>
                </c:pt>
                <c:pt idx="93">
                  <c:v>44012</c:v>
                </c:pt>
                <c:pt idx="94">
                  <c:v>44013</c:v>
                </c:pt>
                <c:pt idx="95">
                  <c:v>44014</c:v>
                </c:pt>
                <c:pt idx="96">
                  <c:v>44015</c:v>
                </c:pt>
                <c:pt idx="97">
                  <c:v>44018</c:v>
                </c:pt>
                <c:pt idx="98">
                  <c:v>44019</c:v>
                </c:pt>
                <c:pt idx="99">
                  <c:v>44020</c:v>
                </c:pt>
                <c:pt idx="100">
                  <c:v>44021</c:v>
                </c:pt>
                <c:pt idx="101">
                  <c:v>44022</c:v>
                </c:pt>
                <c:pt idx="102">
                  <c:v>44025</c:v>
                </c:pt>
                <c:pt idx="103">
                  <c:v>44026</c:v>
                </c:pt>
                <c:pt idx="104">
                  <c:v>44027</c:v>
                </c:pt>
                <c:pt idx="105">
                  <c:v>44028</c:v>
                </c:pt>
                <c:pt idx="106">
                  <c:v>44029</c:v>
                </c:pt>
                <c:pt idx="107">
                  <c:v>44032</c:v>
                </c:pt>
                <c:pt idx="108">
                  <c:v>44033</c:v>
                </c:pt>
                <c:pt idx="109">
                  <c:v>44034</c:v>
                </c:pt>
                <c:pt idx="110">
                  <c:v>44035</c:v>
                </c:pt>
                <c:pt idx="111">
                  <c:v>44036</c:v>
                </c:pt>
                <c:pt idx="112">
                  <c:v>44039</c:v>
                </c:pt>
                <c:pt idx="113">
                  <c:v>44040</c:v>
                </c:pt>
                <c:pt idx="114">
                  <c:v>44041</c:v>
                </c:pt>
                <c:pt idx="115">
                  <c:v>44042</c:v>
                </c:pt>
                <c:pt idx="116">
                  <c:v>44043</c:v>
                </c:pt>
                <c:pt idx="117">
                  <c:v>44046</c:v>
                </c:pt>
                <c:pt idx="118">
                  <c:v>44047</c:v>
                </c:pt>
                <c:pt idx="119">
                  <c:v>44048</c:v>
                </c:pt>
                <c:pt idx="120">
                  <c:v>44049</c:v>
                </c:pt>
                <c:pt idx="121">
                  <c:v>44050</c:v>
                </c:pt>
                <c:pt idx="122">
                  <c:v>44053</c:v>
                </c:pt>
                <c:pt idx="123">
                  <c:v>44054</c:v>
                </c:pt>
                <c:pt idx="124">
                  <c:v>44055</c:v>
                </c:pt>
                <c:pt idx="125">
                  <c:v>44056</c:v>
                </c:pt>
                <c:pt idx="126">
                  <c:v>44057</c:v>
                </c:pt>
                <c:pt idx="127">
                  <c:v>44060</c:v>
                </c:pt>
                <c:pt idx="128">
                  <c:v>44061</c:v>
                </c:pt>
                <c:pt idx="129">
                  <c:v>44062</c:v>
                </c:pt>
                <c:pt idx="130">
                  <c:v>44063</c:v>
                </c:pt>
                <c:pt idx="131">
                  <c:v>44064</c:v>
                </c:pt>
                <c:pt idx="132">
                  <c:v>44067</c:v>
                </c:pt>
                <c:pt idx="133">
                  <c:v>44068</c:v>
                </c:pt>
                <c:pt idx="134">
                  <c:v>44069</c:v>
                </c:pt>
                <c:pt idx="135">
                  <c:v>44070</c:v>
                </c:pt>
                <c:pt idx="136">
                  <c:v>44071</c:v>
                </c:pt>
                <c:pt idx="137">
                  <c:v>44074</c:v>
                </c:pt>
                <c:pt idx="138">
                  <c:v>44075</c:v>
                </c:pt>
                <c:pt idx="139">
                  <c:v>44076</c:v>
                </c:pt>
                <c:pt idx="140">
                  <c:v>44077</c:v>
                </c:pt>
                <c:pt idx="141">
                  <c:v>44078</c:v>
                </c:pt>
                <c:pt idx="142">
                  <c:v>44082</c:v>
                </c:pt>
                <c:pt idx="143">
                  <c:v>44083</c:v>
                </c:pt>
                <c:pt idx="144">
                  <c:v>44084</c:v>
                </c:pt>
                <c:pt idx="145">
                  <c:v>44085</c:v>
                </c:pt>
                <c:pt idx="146">
                  <c:v>44088</c:v>
                </c:pt>
                <c:pt idx="147">
                  <c:v>44089</c:v>
                </c:pt>
                <c:pt idx="148">
                  <c:v>44090</c:v>
                </c:pt>
                <c:pt idx="149">
                  <c:v>44091</c:v>
                </c:pt>
                <c:pt idx="150">
                  <c:v>44092</c:v>
                </c:pt>
                <c:pt idx="151">
                  <c:v>44095</c:v>
                </c:pt>
                <c:pt idx="152">
                  <c:v>44096</c:v>
                </c:pt>
                <c:pt idx="153">
                  <c:v>44097</c:v>
                </c:pt>
                <c:pt idx="154">
                  <c:v>44098</c:v>
                </c:pt>
                <c:pt idx="155">
                  <c:v>44099</c:v>
                </c:pt>
                <c:pt idx="156">
                  <c:v>44102</c:v>
                </c:pt>
                <c:pt idx="157">
                  <c:v>44103</c:v>
                </c:pt>
                <c:pt idx="158">
                  <c:v>44104</c:v>
                </c:pt>
                <c:pt idx="159">
                  <c:v>44105</c:v>
                </c:pt>
                <c:pt idx="160">
                  <c:v>44106</c:v>
                </c:pt>
                <c:pt idx="161">
                  <c:v>44109</c:v>
                </c:pt>
                <c:pt idx="162">
                  <c:v>44110</c:v>
                </c:pt>
                <c:pt idx="163">
                  <c:v>44111</c:v>
                </c:pt>
                <c:pt idx="164">
                  <c:v>44112</c:v>
                </c:pt>
                <c:pt idx="165">
                  <c:v>44113</c:v>
                </c:pt>
                <c:pt idx="166">
                  <c:v>44116</c:v>
                </c:pt>
                <c:pt idx="167">
                  <c:v>44117</c:v>
                </c:pt>
                <c:pt idx="168">
                  <c:v>44118</c:v>
                </c:pt>
                <c:pt idx="169">
                  <c:v>44119</c:v>
                </c:pt>
                <c:pt idx="170">
                  <c:v>44120</c:v>
                </c:pt>
                <c:pt idx="171">
                  <c:v>44123</c:v>
                </c:pt>
                <c:pt idx="172">
                  <c:v>44124</c:v>
                </c:pt>
                <c:pt idx="173">
                  <c:v>44125</c:v>
                </c:pt>
                <c:pt idx="174">
                  <c:v>44126</c:v>
                </c:pt>
                <c:pt idx="175">
                  <c:v>44127</c:v>
                </c:pt>
                <c:pt idx="176">
                  <c:v>44130</c:v>
                </c:pt>
                <c:pt idx="177">
                  <c:v>44131</c:v>
                </c:pt>
                <c:pt idx="178">
                  <c:v>44132</c:v>
                </c:pt>
                <c:pt idx="179">
                  <c:v>44133</c:v>
                </c:pt>
                <c:pt idx="180">
                  <c:v>44134</c:v>
                </c:pt>
                <c:pt idx="181">
                  <c:v>44137</c:v>
                </c:pt>
                <c:pt idx="182">
                  <c:v>44138</c:v>
                </c:pt>
                <c:pt idx="183">
                  <c:v>44139</c:v>
                </c:pt>
                <c:pt idx="184">
                  <c:v>44140</c:v>
                </c:pt>
                <c:pt idx="185">
                  <c:v>44141</c:v>
                </c:pt>
                <c:pt idx="186">
                  <c:v>44144</c:v>
                </c:pt>
                <c:pt idx="187">
                  <c:v>44145</c:v>
                </c:pt>
                <c:pt idx="188">
                  <c:v>44146</c:v>
                </c:pt>
                <c:pt idx="189">
                  <c:v>44147</c:v>
                </c:pt>
                <c:pt idx="190">
                  <c:v>44148</c:v>
                </c:pt>
                <c:pt idx="191">
                  <c:v>44151</c:v>
                </c:pt>
                <c:pt idx="192">
                  <c:v>44152</c:v>
                </c:pt>
                <c:pt idx="193">
                  <c:v>44153</c:v>
                </c:pt>
                <c:pt idx="194">
                  <c:v>44154</c:v>
                </c:pt>
                <c:pt idx="195">
                  <c:v>44155</c:v>
                </c:pt>
                <c:pt idx="196">
                  <c:v>44158</c:v>
                </c:pt>
                <c:pt idx="197">
                  <c:v>44159</c:v>
                </c:pt>
                <c:pt idx="198">
                  <c:v>44160</c:v>
                </c:pt>
                <c:pt idx="199">
                  <c:v>44161</c:v>
                </c:pt>
                <c:pt idx="200">
                  <c:v>44162</c:v>
                </c:pt>
                <c:pt idx="201">
                  <c:v>44165</c:v>
                </c:pt>
                <c:pt idx="202">
                  <c:v>44166</c:v>
                </c:pt>
                <c:pt idx="203">
                  <c:v>44167</c:v>
                </c:pt>
                <c:pt idx="204">
                  <c:v>44168</c:v>
                </c:pt>
                <c:pt idx="205">
                  <c:v>44169</c:v>
                </c:pt>
                <c:pt idx="206">
                  <c:v>44172</c:v>
                </c:pt>
                <c:pt idx="207">
                  <c:v>44173</c:v>
                </c:pt>
                <c:pt idx="208">
                  <c:v>44174</c:v>
                </c:pt>
                <c:pt idx="209">
                  <c:v>44175</c:v>
                </c:pt>
                <c:pt idx="210">
                  <c:v>44176</c:v>
                </c:pt>
                <c:pt idx="211">
                  <c:v>44179</c:v>
                </c:pt>
                <c:pt idx="212">
                  <c:v>44180</c:v>
                </c:pt>
                <c:pt idx="213">
                  <c:v>44181</c:v>
                </c:pt>
                <c:pt idx="214">
                  <c:v>44182</c:v>
                </c:pt>
                <c:pt idx="215">
                  <c:v>44183</c:v>
                </c:pt>
                <c:pt idx="216">
                  <c:v>44186</c:v>
                </c:pt>
                <c:pt idx="217">
                  <c:v>44187</c:v>
                </c:pt>
                <c:pt idx="218">
                  <c:v>44188</c:v>
                </c:pt>
                <c:pt idx="219">
                  <c:v>44189</c:v>
                </c:pt>
                <c:pt idx="220">
                  <c:v>44193</c:v>
                </c:pt>
                <c:pt idx="221">
                  <c:v>44194</c:v>
                </c:pt>
                <c:pt idx="222">
                  <c:v>44195</c:v>
                </c:pt>
                <c:pt idx="223">
                  <c:v>44196</c:v>
                </c:pt>
                <c:pt idx="224">
                  <c:v>44200</c:v>
                </c:pt>
                <c:pt idx="225">
                  <c:v>44201</c:v>
                </c:pt>
                <c:pt idx="226">
                  <c:v>44202</c:v>
                </c:pt>
                <c:pt idx="227">
                  <c:v>44203</c:v>
                </c:pt>
                <c:pt idx="228">
                  <c:v>44204</c:v>
                </c:pt>
                <c:pt idx="229">
                  <c:v>44207</c:v>
                </c:pt>
                <c:pt idx="230">
                  <c:v>44208</c:v>
                </c:pt>
                <c:pt idx="231">
                  <c:v>44209</c:v>
                </c:pt>
                <c:pt idx="232">
                  <c:v>44210</c:v>
                </c:pt>
                <c:pt idx="233">
                  <c:v>44211</c:v>
                </c:pt>
                <c:pt idx="234">
                  <c:v>44214</c:v>
                </c:pt>
                <c:pt idx="235">
                  <c:v>44215</c:v>
                </c:pt>
                <c:pt idx="236">
                  <c:v>44216</c:v>
                </c:pt>
                <c:pt idx="237">
                  <c:v>44217</c:v>
                </c:pt>
                <c:pt idx="238">
                  <c:v>44218</c:v>
                </c:pt>
                <c:pt idx="239">
                  <c:v>44221</c:v>
                </c:pt>
                <c:pt idx="240">
                  <c:v>44222</c:v>
                </c:pt>
                <c:pt idx="241">
                  <c:v>44223</c:v>
                </c:pt>
                <c:pt idx="242">
                  <c:v>44224</c:v>
                </c:pt>
                <c:pt idx="243">
                  <c:v>44225</c:v>
                </c:pt>
                <c:pt idx="244">
                  <c:v>44228</c:v>
                </c:pt>
                <c:pt idx="245">
                  <c:v>44229</c:v>
                </c:pt>
                <c:pt idx="246">
                  <c:v>44230</c:v>
                </c:pt>
                <c:pt idx="247">
                  <c:v>44231</c:v>
                </c:pt>
                <c:pt idx="248">
                  <c:v>44232</c:v>
                </c:pt>
                <c:pt idx="249">
                  <c:v>44235</c:v>
                </c:pt>
                <c:pt idx="250">
                  <c:v>44236</c:v>
                </c:pt>
                <c:pt idx="251">
                  <c:v>44237</c:v>
                </c:pt>
                <c:pt idx="252">
                  <c:v>44238</c:v>
                </c:pt>
                <c:pt idx="253">
                  <c:v>44239</c:v>
                </c:pt>
                <c:pt idx="254">
                  <c:v>44243</c:v>
                </c:pt>
                <c:pt idx="255">
                  <c:v>44244</c:v>
                </c:pt>
                <c:pt idx="256">
                  <c:v>44245</c:v>
                </c:pt>
                <c:pt idx="257">
                  <c:v>44246</c:v>
                </c:pt>
                <c:pt idx="258">
                  <c:v>44249</c:v>
                </c:pt>
                <c:pt idx="259">
                  <c:v>44250</c:v>
                </c:pt>
                <c:pt idx="260">
                  <c:v>44251</c:v>
                </c:pt>
                <c:pt idx="261">
                  <c:v>44252</c:v>
                </c:pt>
                <c:pt idx="262">
                  <c:v>44253</c:v>
                </c:pt>
                <c:pt idx="263">
                  <c:v>44256</c:v>
                </c:pt>
                <c:pt idx="264">
                  <c:v>44257</c:v>
                </c:pt>
                <c:pt idx="265">
                  <c:v>44258</c:v>
                </c:pt>
                <c:pt idx="266">
                  <c:v>44259</c:v>
                </c:pt>
                <c:pt idx="267">
                  <c:v>44260</c:v>
                </c:pt>
                <c:pt idx="268">
                  <c:v>44263</c:v>
                </c:pt>
                <c:pt idx="269">
                  <c:v>44264</c:v>
                </c:pt>
                <c:pt idx="270">
                  <c:v>44265</c:v>
                </c:pt>
                <c:pt idx="271">
                  <c:v>44266</c:v>
                </c:pt>
                <c:pt idx="272">
                  <c:v>44267</c:v>
                </c:pt>
                <c:pt idx="273">
                  <c:v>44270</c:v>
                </c:pt>
                <c:pt idx="274">
                  <c:v>44271</c:v>
                </c:pt>
                <c:pt idx="275">
                  <c:v>44272</c:v>
                </c:pt>
                <c:pt idx="276">
                  <c:v>44273</c:v>
                </c:pt>
                <c:pt idx="277">
                  <c:v>44274</c:v>
                </c:pt>
                <c:pt idx="278">
                  <c:v>44277</c:v>
                </c:pt>
                <c:pt idx="279">
                  <c:v>44278</c:v>
                </c:pt>
                <c:pt idx="280">
                  <c:v>44279</c:v>
                </c:pt>
                <c:pt idx="281">
                  <c:v>44280</c:v>
                </c:pt>
                <c:pt idx="282">
                  <c:v>44281</c:v>
                </c:pt>
                <c:pt idx="283">
                  <c:v>44284</c:v>
                </c:pt>
                <c:pt idx="284">
                  <c:v>44285</c:v>
                </c:pt>
                <c:pt idx="285">
                  <c:v>44286</c:v>
                </c:pt>
                <c:pt idx="286">
                  <c:v>44287</c:v>
                </c:pt>
                <c:pt idx="287">
                  <c:v>44291</c:v>
                </c:pt>
                <c:pt idx="288">
                  <c:v>44292</c:v>
                </c:pt>
                <c:pt idx="289">
                  <c:v>44293</c:v>
                </c:pt>
                <c:pt idx="290">
                  <c:v>44294</c:v>
                </c:pt>
                <c:pt idx="291">
                  <c:v>44295</c:v>
                </c:pt>
                <c:pt idx="292">
                  <c:v>44298</c:v>
                </c:pt>
                <c:pt idx="293">
                  <c:v>44299</c:v>
                </c:pt>
                <c:pt idx="294">
                  <c:v>44300</c:v>
                </c:pt>
                <c:pt idx="295">
                  <c:v>44301</c:v>
                </c:pt>
                <c:pt idx="296">
                  <c:v>44302</c:v>
                </c:pt>
                <c:pt idx="297">
                  <c:v>44305</c:v>
                </c:pt>
                <c:pt idx="298">
                  <c:v>44306</c:v>
                </c:pt>
                <c:pt idx="299">
                  <c:v>44307</c:v>
                </c:pt>
                <c:pt idx="300">
                  <c:v>44308</c:v>
                </c:pt>
                <c:pt idx="301">
                  <c:v>44309</c:v>
                </c:pt>
                <c:pt idx="302">
                  <c:v>44312</c:v>
                </c:pt>
                <c:pt idx="303">
                  <c:v>44313</c:v>
                </c:pt>
                <c:pt idx="304">
                  <c:v>44314</c:v>
                </c:pt>
                <c:pt idx="305">
                  <c:v>44315</c:v>
                </c:pt>
                <c:pt idx="306">
                  <c:v>44316</c:v>
                </c:pt>
                <c:pt idx="307">
                  <c:v>44319</c:v>
                </c:pt>
                <c:pt idx="308">
                  <c:v>44320</c:v>
                </c:pt>
                <c:pt idx="309">
                  <c:v>44321</c:v>
                </c:pt>
                <c:pt idx="310">
                  <c:v>44322</c:v>
                </c:pt>
                <c:pt idx="311">
                  <c:v>44323</c:v>
                </c:pt>
                <c:pt idx="312">
                  <c:v>44326</c:v>
                </c:pt>
                <c:pt idx="313">
                  <c:v>44327</c:v>
                </c:pt>
                <c:pt idx="314">
                  <c:v>44328</c:v>
                </c:pt>
                <c:pt idx="315">
                  <c:v>44329</c:v>
                </c:pt>
                <c:pt idx="316">
                  <c:v>44330</c:v>
                </c:pt>
                <c:pt idx="317">
                  <c:v>44333</c:v>
                </c:pt>
                <c:pt idx="318">
                  <c:v>44334</c:v>
                </c:pt>
                <c:pt idx="319">
                  <c:v>44335</c:v>
                </c:pt>
                <c:pt idx="320">
                  <c:v>44336</c:v>
                </c:pt>
                <c:pt idx="321">
                  <c:v>44337</c:v>
                </c:pt>
                <c:pt idx="322">
                  <c:v>44340</c:v>
                </c:pt>
                <c:pt idx="323">
                  <c:v>44341</c:v>
                </c:pt>
                <c:pt idx="324">
                  <c:v>44342</c:v>
                </c:pt>
                <c:pt idx="325">
                  <c:v>44343</c:v>
                </c:pt>
                <c:pt idx="326">
                  <c:v>44344</c:v>
                </c:pt>
                <c:pt idx="327">
                  <c:v>44347</c:v>
                </c:pt>
                <c:pt idx="328">
                  <c:v>44348</c:v>
                </c:pt>
                <c:pt idx="329">
                  <c:v>44349</c:v>
                </c:pt>
                <c:pt idx="330">
                  <c:v>44350</c:v>
                </c:pt>
                <c:pt idx="331">
                  <c:v>44351</c:v>
                </c:pt>
                <c:pt idx="332">
                  <c:v>44354</c:v>
                </c:pt>
                <c:pt idx="333">
                  <c:v>44355</c:v>
                </c:pt>
                <c:pt idx="334">
                  <c:v>44356</c:v>
                </c:pt>
                <c:pt idx="335">
                  <c:v>44357</c:v>
                </c:pt>
                <c:pt idx="336">
                  <c:v>44358</c:v>
                </c:pt>
                <c:pt idx="337">
                  <c:v>44361</c:v>
                </c:pt>
                <c:pt idx="338">
                  <c:v>44362</c:v>
                </c:pt>
                <c:pt idx="339">
                  <c:v>44363</c:v>
                </c:pt>
                <c:pt idx="340">
                  <c:v>44364</c:v>
                </c:pt>
                <c:pt idx="341">
                  <c:v>44365</c:v>
                </c:pt>
                <c:pt idx="342">
                  <c:v>44368</c:v>
                </c:pt>
                <c:pt idx="343">
                  <c:v>44369</c:v>
                </c:pt>
                <c:pt idx="344">
                  <c:v>44370</c:v>
                </c:pt>
                <c:pt idx="345">
                  <c:v>44371</c:v>
                </c:pt>
                <c:pt idx="346">
                  <c:v>44372</c:v>
                </c:pt>
                <c:pt idx="347">
                  <c:v>44375</c:v>
                </c:pt>
                <c:pt idx="348">
                  <c:v>44376</c:v>
                </c:pt>
                <c:pt idx="349">
                  <c:v>44377</c:v>
                </c:pt>
                <c:pt idx="350">
                  <c:v>44378</c:v>
                </c:pt>
                <c:pt idx="351">
                  <c:v>44379</c:v>
                </c:pt>
                <c:pt idx="352">
                  <c:v>44382</c:v>
                </c:pt>
                <c:pt idx="353">
                  <c:v>44383</c:v>
                </c:pt>
                <c:pt idx="354">
                  <c:v>44384</c:v>
                </c:pt>
                <c:pt idx="355">
                  <c:v>44385</c:v>
                </c:pt>
                <c:pt idx="356">
                  <c:v>44386</c:v>
                </c:pt>
                <c:pt idx="357">
                  <c:v>44389</c:v>
                </c:pt>
                <c:pt idx="358">
                  <c:v>44390</c:v>
                </c:pt>
                <c:pt idx="359">
                  <c:v>44391</c:v>
                </c:pt>
                <c:pt idx="360">
                  <c:v>44392</c:v>
                </c:pt>
                <c:pt idx="361">
                  <c:v>44393</c:v>
                </c:pt>
                <c:pt idx="362">
                  <c:v>44396</c:v>
                </c:pt>
                <c:pt idx="363">
                  <c:v>44397</c:v>
                </c:pt>
                <c:pt idx="364">
                  <c:v>44398</c:v>
                </c:pt>
                <c:pt idx="365">
                  <c:v>44399</c:v>
                </c:pt>
                <c:pt idx="366">
                  <c:v>44400</c:v>
                </c:pt>
                <c:pt idx="367">
                  <c:v>44403</c:v>
                </c:pt>
                <c:pt idx="368">
                  <c:v>44404</c:v>
                </c:pt>
                <c:pt idx="369">
                  <c:v>44405</c:v>
                </c:pt>
                <c:pt idx="370">
                  <c:v>44406</c:v>
                </c:pt>
                <c:pt idx="371">
                  <c:v>44407</c:v>
                </c:pt>
                <c:pt idx="372">
                  <c:v>44410</c:v>
                </c:pt>
                <c:pt idx="373">
                  <c:v>44411</c:v>
                </c:pt>
                <c:pt idx="374">
                  <c:v>44412</c:v>
                </c:pt>
                <c:pt idx="375">
                  <c:v>44413</c:v>
                </c:pt>
                <c:pt idx="376">
                  <c:v>44414</c:v>
                </c:pt>
                <c:pt idx="377">
                  <c:v>44417</c:v>
                </c:pt>
                <c:pt idx="378">
                  <c:v>44418</c:v>
                </c:pt>
                <c:pt idx="379">
                  <c:v>44419</c:v>
                </c:pt>
                <c:pt idx="380">
                  <c:v>44420</c:v>
                </c:pt>
                <c:pt idx="381">
                  <c:v>44421</c:v>
                </c:pt>
                <c:pt idx="382">
                  <c:v>44424</c:v>
                </c:pt>
                <c:pt idx="383">
                  <c:v>44425</c:v>
                </c:pt>
                <c:pt idx="384">
                  <c:v>44426</c:v>
                </c:pt>
                <c:pt idx="385">
                  <c:v>44427</c:v>
                </c:pt>
                <c:pt idx="386">
                  <c:v>44428</c:v>
                </c:pt>
                <c:pt idx="387">
                  <c:v>44431</c:v>
                </c:pt>
                <c:pt idx="388">
                  <c:v>44432</c:v>
                </c:pt>
                <c:pt idx="389">
                  <c:v>44433</c:v>
                </c:pt>
                <c:pt idx="390">
                  <c:v>44434</c:v>
                </c:pt>
                <c:pt idx="391">
                  <c:v>44435</c:v>
                </c:pt>
                <c:pt idx="392">
                  <c:v>44438</c:v>
                </c:pt>
                <c:pt idx="393">
                  <c:v>44439</c:v>
                </c:pt>
                <c:pt idx="394">
                  <c:v>44440</c:v>
                </c:pt>
                <c:pt idx="395">
                  <c:v>44441</c:v>
                </c:pt>
                <c:pt idx="396">
                  <c:v>44442</c:v>
                </c:pt>
                <c:pt idx="397">
                  <c:v>44446</c:v>
                </c:pt>
                <c:pt idx="398">
                  <c:v>44447</c:v>
                </c:pt>
                <c:pt idx="399">
                  <c:v>44448</c:v>
                </c:pt>
                <c:pt idx="400">
                  <c:v>44449</c:v>
                </c:pt>
                <c:pt idx="401">
                  <c:v>44452</c:v>
                </c:pt>
                <c:pt idx="402">
                  <c:v>44453</c:v>
                </c:pt>
                <c:pt idx="403">
                  <c:v>44454</c:v>
                </c:pt>
                <c:pt idx="404">
                  <c:v>44455</c:v>
                </c:pt>
                <c:pt idx="405">
                  <c:v>44456</c:v>
                </c:pt>
                <c:pt idx="406">
                  <c:v>44459</c:v>
                </c:pt>
                <c:pt idx="407">
                  <c:v>44460</c:v>
                </c:pt>
                <c:pt idx="408">
                  <c:v>44461</c:v>
                </c:pt>
                <c:pt idx="409">
                  <c:v>44462</c:v>
                </c:pt>
                <c:pt idx="410">
                  <c:v>44463</c:v>
                </c:pt>
                <c:pt idx="411">
                  <c:v>44466</c:v>
                </c:pt>
                <c:pt idx="412">
                  <c:v>44467</c:v>
                </c:pt>
                <c:pt idx="413">
                  <c:v>44468</c:v>
                </c:pt>
                <c:pt idx="414">
                  <c:v>44469</c:v>
                </c:pt>
                <c:pt idx="415">
                  <c:v>44470</c:v>
                </c:pt>
                <c:pt idx="416">
                  <c:v>44473</c:v>
                </c:pt>
                <c:pt idx="417">
                  <c:v>44474</c:v>
                </c:pt>
                <c:pt idx="418">
                  <c:v>44475</c:v>
                </c:pt>
                <c:pt idx="419">
                  <c:v>44476</c:v>
                </c:pt>
                <c:pt idx="420">
                  <c:v>44477</c:v>
                </c:pt>
                <c:pt idx="421">
                  <c:v>44480</c:v>
                </c:pt>
                <c:pt idx="422">
                  <c:v>44481</c:v>
                </c:pt>
                <c:pt idx="423">
                  <c:v>44482</c:v>
                </c:pt>
                <c:pt idx="424">
                  <c:v>44483</c:v>
                </c:pt>
                <c:pt idx="425">
                  <c:v>44484</c:v>
                </c:pt>
                <c:pt idx="426">
                  <c:v>44487</c:v>
                </c:pt>
                <c:pt idx="427">
                  <c:v>44488</c:v>
                </c:pt>
                <c:pt idx="428">
                  <c:v>44489</c:v>
                </c:pt>
                <c:pt idx="429">
                  <c:v>44490</c:v>
                </c:pt>
                <c:pt idx="430">
                  <c:v>44491</c:v>
                </c:pt>
                <c:pt idx="431">
                  <c:v>44494</c:v>
                </c:pt>
                <c:pt idx="432">
                  <c:v>44495</c:v>
                </c:pt>
                <c:pt idx="433">
                  <c:v>44496</c:v>
                </c:pt>
                <c:pt idx="434">
                  <c:v>44497</c:v>
                </c:pt>
                <c:pt idx="435">
                  <c:v>44498</c:v>
                </c:pt>
                <c:pt idx="436">
                  <c:v>44501</c:v>
                </c:pt>
                <c:pt idx="437">
                  <c:v>44502</c:v>
                </c:pt>
                <c:pt idx="438">
                  <c:v>44503</c:v>
                </c:pt>
                <c:pt idx="439">
                  <c:v>44504</c:v>
                </c:pt>
                <c:pt idx="440">
                  <c:v>44505</c:v>
                </c:pt>
                <c:pt idx="441">
                  <c:v>44508</c:v>
                </c:pt>
                <c:pt idx="442">
                  <c:v>44509</c:v>
                </c:pt>
                <c:pt idx="443">
                  <c:v>44510</c:v>
                </c:pt>
                <c:pt idx="444">
                  <c:v>44511</c:v>
                </c:pt>
                <c:pt idx="445">
                  <c:v>44512</c:v>
                </c:pt>
                <c:pt idx="446">
                  <c:v>44515</c:v>
                </c:pt>
                <c:pt idx="447">
                  <c:v>44516</c:v>
                </c:pt>
                <c:pt idx="448">
                  <c:v>44517</c:v>
                </c:pt>
                <c:pt idx="449">
                  <c:v>44518</c:v>
                </c:pt>
                <c:pt idx="450">
                  <c:v>44519</c:v>
                </c:pt>
                <c:pt idx="451">
                  <c:v>44522</c:v>
                </c:pt>
                <c:pt idx="452">
                  <c:v>44523</c:v>
                </c:pt>
                <c:pt idx="453">
                  <c:v>44524</c:v>
                </c:pt>
                <c:pt idx="454">
                  <c:v>44525</c:v>
                </c:pt>
                <c:pt idx="455">
                  <c:v>44526</c:v>
                </c:pt>
                <c:pt idx="456">
                  <c:v>44529</c:v>
                </c:pt>
                <c:pt idx="457">
                  <c:v>44530</c:v>
                </c:pt>
                <c:pt idx="458">
                  <c:v>44531</c:v>
                </c:pt>
                <c:pt idx="459">
                  <c:v>44532</c:v>
                </c:pt>
                <c:pt idx="460">
                  <c:v>44533</c:v>
                </c:pt>
                <c:pt idx="461">
                  <c:v>44536</c:v>
                </c:pt>
                <c:pt idx="462">
                  <c:v>44537</c:v>
                </c:pt>
                <c:pt idx="463">
                  <c:v>44538</c:v>
                </c:pt>
                <c:pt idx="464">
                  <c:v>44539</c:v>
                </c:pt>
                <c:pt idx="465">
                  <c:v>44540</c:v>
                </c:pt>
                <c:pt idx="466">
                  <c:v>44543</c:v>
                </c:pt>
                <c:pt idx="467">
                  <c:v>44544</c:v>
                </c:pt>
                <c:pt idx="468">
                  <c:v>44545</c:v>
                </c:pt>
                <c:pt idx="469">
                  <c:v>44546</c:v>
                </c:pt>
                <c:pt idx="470">
                  <c:v>44547</c:v>
                </c:pt>
                <c:pt idx="471">
                  <c:v>44550</c:v>
                </c:pt>
                <c:pt idx="472">
                  <c:v>44551</c:v>
                </c:pt>
                <c:pt idx="473">
                  <c:v>44552</c:v>
                </c:pt>
                <c:pt idx="474">
                  <c:v>44553</c:v>
                </c:pt>
                <c:pt idx="475">
                  <c:v>44554</c:v>
                </c:pt>
                <c:pt idx="476">
                  <c:v>44557</c:v>
                </c:pt>
                <c:pt idx="477">
                  <c:v>44558</c:v>
                </c:pt>
                <c:pt idx="478">
                  <c:v>44559</c:v>
                </c:pt>
                <c:pt idx="479">
                  <c:v>44560</c:v>
                </c:pt>
                <c:pt idx="480">
                  <c:v>44561</c:v>
                </c:pt>
                <c:pt idx="481">
                  <c:v>44564</c:v>
                </c:pt>
                <c:pt idx="482">
                  <c:v>44565</c:v>
                </c:pt>
                <c:pt idx="483">
                  <c:v>44566</c:v>
                </c:pt>
                <c:pt idx="484">
                  <c:v>44567</c:v>
                </c:pt>
                <c:pt idx="485">
                  <c:v>44568</c:v>
                </c:pt>
                <c:pt idx="486">
                  <c:v>44571</c:v>
                </c:pt>
                <c:pt idx="487">
                  <c:v>44572</c:v>
                </c:pt>
                <c:pt idx="488">
                  <c:v>44573</c:v>
                </c:pt>
                <c:pt idx="489">
                  <c:v>44574</c:v>
                </c:pt>
                <c:pt idx="490">
                  <c:v>44575</c:v>
                </c:pt>
                <c:pt idx="491">
                  <c:v>44578</c:v>
                </c:pt>
                <c:pt idx="492">
                  <c:v>44579</c:v>
                </c:pt>
                <c:pt idx="493">
                  <c:v>44580</c:v>
                </c:pt>
                <c:pt idx="494">
                  <c:v>44581</c:v>
                </c:pt>
                <c:pt idx="495">
                  <c:v>44582</c:v>
                </c:pt>
                <c:pt idx="496">
                  <c:v>44585</c:v>
                </c:pt>
                <c:pt idx="497">
                  <c:v>44586</c:v>
                </c:pt>
                <c:pt idx="498">
                  <c:v>44587</c:v>
                </c:pt>
                <c:pt idx="499">
                  <c:v>44588</c:v>
                </c:pt>
                <c:pt idx="500">
                  <c:v>44589</c:v>
                </c:pt>
                <c:pt idx="501">
                  <c:v>44592</c:v>
                </c:pt>
                <c:pt idx="502">
                  <c:v>44593</c:v>
                </c:pt>
                <c:pt idx="503">
                  <c:v>44594</c:v>
                </c:pt>
                <c:pt idx="504">
                  <c:v>44595</c:v>
                </c:pt>
                <c:pt idx="505">
                  <c:v>44596</c:v>
                </c:pt>
                <c:pt idx="506">
                  <c:v>44599</c:v>
                </c:pt>
                <c:pt idx="507">
                  <c:v>44600</c:v>
                </c:pt>
                <c:pt idx="508">
                  <c:v>44601</c:v>
                </c:pt>
                <c:pt idx="509">
                  <c:v>44602</c:v>
                </c:pt>
                <c:pt idx="510">
                  <c:v>44603</c:v>
                </c:pt>
                <c:pt idx="511">
                  <c:v>44606</c:v>
                </c:pt>
                <c:pt idx="512">
                  <c:v>44607</c:v>
                </c:pt>
                <c:pt idx="513">
                  <c:v>44608</c:v>
                </c:pt>
                <c:pt idx="514">
                  <c:v>44609</c:v>
                </c:pt>
                <c:pt idx="515">
                  <c:v>44610</c:v>
                </c:pt>
                <c:pt idx="516">
                  <c:v>44614</c:v>
                </c:pt>
                <c:pt idx="517">
                  <c:v>44615</c:v>
                </c:pt>
                <c:pt idx="518">
                  <c:v>44616</c:v>
                </c:pt>
                <c:pt idx="519">
                  <c:v>44617</c:v>
                </c:pt>
                <c:pt idx="520">
                  <c:v>44620</c:v>
                </c:pt>
                <c:pt idx="521">
                  <c:v>44621</c:v>
                </c:pt>
                <c:pt idx="522">
                  <c:v>44622</c:v>
                </c:pt>
                <c:pt idx="523">
                  <c:v>44623</c:v>
                </c:pt>
                <c:pt idx="524">
                  <c:v>44624</c:v>
                </c:pt>
                <c:pt idx="525">
                  <c:v>44627</c:v>
                </c:pt>
                <c:pt idx="526">
                  <c:v>44628</c:v>
                </c:pt>
                <c:pt idx="527">
                  <c:v>44629</c:v>
                </c:pt>
                <c:pt idx="528">
                  <c:v>44630</c:v>
                </c:pt>
                <c:pt idx="529">
                  <c:v>44631</c:v>
                </c:pt>
                <c:pt idx="530">
                  <c:v>44634</c:v>
                </c:pt>
                <c:pt idx="531">
                  <c:v>44635</c:v>
                </c:pt>
                <c:pt idx="532">
                  <c:v>44636</c:v>
                </c:pt>
                <c:pt idx="533">
                  <c:v>44637</c:v>
                </c:pt>
                <c:pt idx="534">
                  <c:v>44638</c:v>
                </c:pt>
                <c:pt idx="535">
                  <c:v>44641</c:v>
                </c:pt>
                <c:pt idx="536">
                  <c:v>44642</c:v>
                </c:pt>
                <c:pt idx="537">
                  <c:v>44643</c:v>
                </c:pt>
                <c:pt idx="538">
                  <c:v>44644</c:v>
                </c:pt>
                <c:pt idx="539">
                  <c:v>44645</c:v>
                </c:pt>
                <c:pt idx="540">
                  <c:v>44648</c:v>
                </c:pt>
                <c:pt idx="541">
                  <c:v>44649</c:v>
                </c:pt>
                <c:pt idx="542">
                  <c:v>44650</c:v>
                </c:pt>
                <c:pt idx="543">
                  <c:v>44651</c:v>
                </c:pt>
                <c:pt idx="544">
                  <c:v>44652</c:v>
                </c:pt>
                <c:pt idx="545">
                  <c:v>44655</c:v>
                </c:pt>
                <c:pt idx="546">
                  <c:v>44656</c:v>
                </c:pt>
                <c:pt idx="547">
                  <c:v>44657</c:v>
                </c:pt>
                <c:pt idx="548">
                  <c:v>44658</c:v>
                </c:pt>
                <c:pt idx="549">
                  <c:v>44659</c:v>
                </c:pt>
                <c:pt idx="550">
                  <c:v>44662</c:v>
                </c:pt>
                <c:pt idx="551">
                  <c:v>44663</c:v>
                </c:pt>
                <c:pt idx="552">
                  <c:v>44664</c:v>
                </c:pt>
                <c:pt idx="553">
                  <c:v>44665</c:v>
                </c:pt>
                <c:pt idx="554">
                  <c:v>44669</c:v>
                </c:pt>
                <c:pt idx="555">
                  <c:v>44670</c:v>
                </c:pt>
                <c:pt idx="556">
                  <c:v>44671</c:v>
                </c:pt>
                <c:pt idx="557">
                  <c:v>44672</c:v>
                </c:pt>
                <c:pt idx="558">
                  <c:v>44673</c:v>
                </c:pt>
                <c:pt idx="559">
                  <c:v>44676</c:v>
                </c:pt>
                <c:pt idx="560">
                  <c:v>44677</c:v>
                </c:pt>
                <c:pt idx="561">
                  <c:v>44678</c:v>
                </c:pt>
                <c:pt idx="562">
                  <c:v>44679</c:v>
                </c:pt>
                <c:pt idx="563">
                  <c:v>44680</c:v>
                </c:pt>
                <c:pt idx="564">
                  <c:v>44683</c:v>
                </c:pt>
                <c:pt idx="565">
                  <c:v>44684</c:v>
                </c:pt>
                <c:pt idx="566">
                  <c:v>44685</c:v>
                </c:pt>
                <c:pt idx="567">
                  <c:v>44686</c:v>
                </c:pt>
                <c:pt idx="568">
                  <c:v>44687</c:v>
                </c:pt>
                <c:pt idx="569">
                  <c:v>44690</c:v>
                </c:pt>
                <c:pt idx="570">
                  <c:v>44691</c:v>
                </c:pt>
                <c:pt idx="571">
                  <c:v>44692</c:v>
                </c:pt>
                <c:pt idx="572">
                  <c:v>44693</c:v>
                </c:pt>
                <c:pt idx="573">
                  <c:v>44694</c:v>
                </c:pt>
                <c:pt idx="574">
                  <c:v>44697</c:v>
                </c:pt>
                <c:pt idx="575">
                  <c:v>44698</c:v>
                </c:pt>
                <c:pt idx="576">
                  <c:v>44699</c:v>
                </c:pt>
                <c:pt idx="577">
                  <c:v>44700</c:v>
                </c:pt>
                <c:pt idx="578">
                  <c:v>44701</c:v>
                </c:pt>
                <c:pt idx="579">
                  <c:v>44704</c:v>
                </c:pt>
                <c:pt idx="580">
                  <c:v>44705</c:v>
                </c:pt>
                <c:pt idx="581">
                  <c:v>44706</c:v>
                </c:pt>
                <c:pt idx="582">
                  <c:v>44707</c:v>
                </c:pt>
                <c:pt idx="583">
                  <c:v>44708</c:v>
                </c:pt>
                <c:pt idx="584">
                  <c:v>44711</c:v>
                </c:pt>
                <c:pt idx="585">
                  <c:v>44712</c:v>
                </c:pt>
                <c:pt idx="586">
                  <c:v>44713</c:v>
                </c:pt>
                <c:pt idx="587">
                  <c:v>44714</c:v>
                </c:pt>
                <c:pt idx="588">
                  <c:v>44715</c:v>
                </c:pt>
                <c:pt idx="589">
                  <c:v>44718</c:v>
                </c:pt>
                <c:pt idx="590">
                  <c:v>44719</c:v>
                </c:pt>
                <c:pt idx="591">
                  <c:v>44720</c:v>
                </c:pt>
                <c:pt idx="592">
                  <c:v>44721</c:v>
                </c:pt>
                <c:pt idx="593">
                  <c:v>44722</c:v>
                </c:pt>
                <c:pt idx="594">
                  <c:v>44725</c:v>
                </c:pt>
                <c:pt idx="595">
                  <c:v>44726</c:v>
                </c:pt>
                <c:pt idx="596">
                  <c:v>44727</c:v>
                </c:pt>
                <c:pt idx="597">
                  <c:v>44728</c:v>
                </c:pt>
                <c:pt idx="598">
                  <c:v>44729</c:v>
                </c:pt>
                <c:pt idx="599">
                  <c:v>44732</c:v>
                </c:pt>
                <c:pt idx="600">
                  <c:v>44733</c:v>
                </c:pt>
                <c:pt idx="601">
                  <c:v>44734</c:v>
                </c:pt>
                <c:pt idx="602">
                  <c:v>44735</c:v>
                </c:pt>
                <c:pt idx="603">
                  <c:v>44736</c:v>
                </c:pt>
                <c:pt idx="604">
                  <c:v>44739</c:v>
                </c:pt>
                <c:pt idx="605">
                  <c:v>44740</c:v>
                </c:pt>
                <c:pt idx="606">
                  <c:v>44741</c:v>
                </c:pt>
                <c:pt idx="607">
                  <c:v>44742</c:v>
                </c:pt>
                <c:pt idx="608">
                  <c:v>44743</c:v>
                </c:pt>
                <c:pt idx="609">
                  <c:v>44746</c:v>
                </c:pt>
                <c:pt idx="610">
                  <c:v>44747</c:v>
                </c:pt>
                <c:pt idx="611">
                  <c:v>44748</c:v>
                </c:pt>
                <c:pt idx="612">
                  <c:v>44749</c:v>
                </c:pt>
                <c:pt idx="613">
                  <c:v>44750</c:v>
                </c:pt>
                <c:pt idx="614">
                  <c:v>44753</c:v>
                </c:pt>
                <c:pt idx="615">
                  <c:v>44754</c:v>
                </c:pt>
                <c:pt idx="616">
                  <c:v>44755</c:v>
                </c:pt>
                <c:pt idx="617">
                  <c:v>44756</c:v>
                </c:pt>
                <c:pt idx="618">
                  <c:v>44757</c:v>
                </c:pt>
                <c:pt idx="619">
                  <c:v>44760</c:v>
                </c:pt>
                <c:pt idx="620">
                  <c:v>44761</c:v>
                </c:pt>
                <c:pt idx="621">
                  <c:v>44762</c:v>
                </c:pt>
                <c:pt idx="622">
                  <c:v>44763</c:v>
                </c:pt>
                <c:pt idx="623">
                  <c:v>44764</c:v>
                </c:pt>
                <c:pt idx="624">
                  <c:v>44767</c:v>
                </c:pt>
                <c:pt idx="625">
                  <c:v>44768</c:v>
                </c:pt>
                <c:pt idx="626">
                  <c:v>44769</c:v>
                </c:pt>
                <c:pt idx="627">
                  <c:v>44770</c:v>
                </c:pt>
                <c:pt idx="628">
                  <c:v>44771</c:v>
                </c:pt>
                <c:pt idx="629">
                  <c:v>44774</c:v>
                </c:pt>
                <c:pt idx="630">
                  <c:v>44775</c:v>
                </c:pt>
                <c:pt idx="631">
                  <c:v>44776</c:v>
                </c:pt>
                <c:pt idx="632">
                  <c:v>44777</c:v>
                </c:pt>
                <c:pt idx="633">
                  <c:v>44778</c:v>
                </c:pt>
                <c:pt idx="634">
                  <c:v>44781</c:v>
                </c:pt>
                <c:pt idx="635">
                  <c:v>44782</c:v>
                </c:pt>
                <c:pt idx="636">
                  <c:v>44783</c:v>
                </c:pt>
                <c:pt idx="637">
                  <c:v>44784</c:v>
                </c:pt>
                <c:pt idx="638">
                  <c:v>44785</c:v>
                </c:pt>
                <c:pt idx="639">
                  <c:v>44788</c:v>
                </c:pt>
                <c:pt idx="640">
                  <c:v>44789</c:v>
                </c:pt>
                <c:pt idx="641">
                  <c:v>44790</c:v>
                </c:pt>
                <c:pt idx="642">
                  <c:v>44791</c:v>
                </c:pt>
                <c:pt idx="643">
                  <c:v>44792</c:v>
                </c:pt>
                <c:pt idx="644">
                  <c:v>44795</c:v>
                </c:pt>
                <c:pt idx="645">
                  <c:v>44796</c:v>
                </c:pt>
                <c:pt idx="646">
                  <c:v>44797</c:v>
                </c:pt>
                <c:pt idx="647">
                  <c:v>44798</c:v>
                </c:pt>
                <c:pt idx="648">
                  <c:v>44799</c:v>
                </c:pt>
                <c:pt idx="649">
                  <c:v>44802</c:v>
                </c:pt>
                <c:pt idx="650">
                  <c:v>44803</c:v>
                </c:pt>
                <c:pt idx="651">
                  <c:v>44804</c:v>
                </c:pt>
                <c:pt idx="652">
                  <c:v>44805</c:v>
                </c:pt>
                <c:pt idx="653">
                  <c:v>44806</c:v>
                </c:pt>
                <c:pt idx="654">
                  <c:v>44810</c:v>
                </c:pt>
                <c:pt idx="655">
                  <c:v>44811</c:v>
                </c:pt>
                <c:pt idx="656">
                  <c:v>44812</c:v>
                </c:pt>
                <c:pt idx="657">
                  <c:v>44813</c:v>
                </c:pt>
                <c:pt idx="658">
                  <c:v>44816</c:v>
                </c:pt>
                <c:pt idx="659">
                  <c:v>44817</c:v>
                </c:pt>
                <c:pt idx="660">
                  <c:v>44818</c:v>
                </c:pt>
                <c:pt idx="661">
                  <c:v>44819</c:v>
                </c:pt>
                <c:pt idx="662">
                  <c:v>44820</c:v>
                </c:pt>
                <c:pt idx="663">
                  <c:v>44823</c:v>
                </c:pt>
                <c:pt idx="664">
                  <c:v>44824</c:v>
                </c:pt>
                <c:pt idx="665">
                  <c:v>44825</c:v>
                </c:pt>
                <c:pt idx="666">
                  <c:v>44826</c:v>
                </c:pt>
                <c:pt idx="667">
                  <c:v>44827</c:v>
                </c:pt>
                <c:pt idx="668">
                  <c:v>44830</c:v>
                </c:pt>
                <c:pt idx="669">
                  <c:v>44831</c:v>
                </c:pt>
                <c:pt idx="670">
                  <c:v>44832</c:v>
                </c:pt>
                <c:pt idx="671">
                  <c:v>44833</c:v>
                </c:pt>
                <c:pt idx="672">
                  <c:v>44834</c:v>
                </c:pt>
                <c:pt idx="673">
                  <c:v>44837</c:v>
                </c:pt>
                <c:pt idx="674">
                  <c:v>44838</c:v>
                </c:pt>
                <c:pt idx="675">
                  <c:v>44839</c:v>
                </c:pt>
                <c:pt idx="676">
                  <c:v>44840</c:v>
                </c:pt>
                <c:pt idx="677">
                  <c:v>44841</c:v>
                </c:pt>
                <c:pt idx="678">
                  <c:v>44844</c:v>
                </c:pt>
                <c:pt idx="679">
                  <c:v>44845</c:v>
                </c:pt>
                <c:pt idx="680">
                  <c:v>44846</c:v>
                </c:pt>
                <c:pt idx="681">
                  <c:v>44847</c:v>
                </c:pt>
                <c:pt idx="682">
                  <c:v>44848</c:v>
                </c:pt>
                <c:pt idx="683">
                  <c:v>44851</c:v>
                </c:pt>
                <c:pt idx="684">
                  <c:v>44852</c:v>
                </c:pt>
                <c:pt idx="685">
                  <c:v>44853</c:v>
                </c:pt>
                <c:pt idx="686">
                  <c:v>44854</c:v>
                </c:pt>
                <c:pt idx="687">
                  <c:v>44855</c:v>
                </c:pt>
                <c:pt idx="688">
                  <c:v>44858</c:v>
                </c:pt>
                <c:pt idx="689">
                  <c:v>44859</c:v>
                </c:pt>
                <c:pt idx="690">
                  <c:v>44860</c:v>
                </c:pt>
                <c:pt idx="691">
                  <c:v>44861</c:v>
                </c:pt>
                <c:pt idx="692">
                  <c:v>44862</c:v>
                </c:pt>
                <c:pt idx="693">
                  <c:v>44865</c:v>
                </c:pt>
                <c:pt idx="694">
                  <c:v>44866</c:v>
                </c:pt>
                <c:pt idx="695">
                  <c:v>44867</c:v>
                </c:pt>
                <c:pt idx="696">
                  <c:v>44868</c:v>
                </c:pt>
                <c:pt idx="697">
                  <c:v>44869</c:v>
                </c:pt>
                <c:pt idx="698">
                  <c:v>44872</c:v>
                </c:pt>
                <c:pt idx="699">
                  <c:v>44873</c:v>
                </c:pt>
                <c:pt idx="700">
                  <c:v>44874</c:v>
                </c:pt>
                <c:pt idx="701">
                  <c:v>44875</c:v>
                </c:pt>
                <c:pt idx="702">
                  <c:v>44876</c:v>
                </c:pt>
                <c:pt idx="703">
                  <c:v>44879</c:v>
                </c:pt>
                <c:pt idx="704">
                  <c:v>44880</c:v>
                </c:pt>
                <c:pt idx="705">
                  <c:v>44881</c:v>
                </c:pt>
                <c:pt idx="706">
                  <c:v>44882</c:v>
                </c:pt>
                <c:pt idx="707">
                  <c:v>44883</c:v>
                </c:pt>
                <c:pt idx="708">
                  <c:v>44886</c:v>
                </c:pt>
                <c:pt idx="709">
                  <c:v>44887</c:v>
                </c:pt>
                <c:pt idx="710">
                  <c:v>44888</c:v>
                </c:pt>
                <c:pt idx="711">
                  <c:v>44889</c:v>
                </c:pt>
                <c:pt idx="712">
                  <c:v>44890</c:v>
                </c:pt>
                <c:pt idx="713">
                  <c:v>44893</c:v>
                </c:pt>
                <c:pt idx="714">
                  <c:v>44894</c:v>
                </c:pt>
                <c:pt idx="715">
                  <c:v>44895</c:v>
                </c:pt>
                <c:pt idx="716">
                  <c:v>44896</c:v>
                </c:pt>
                <c:pt idx="717">
                  <c:v>44897</c:v>
                </c:pt>
                <c:pt idx="718">
                  <c:v>44900</c:v>
                </c:pt>
                <c:pt idx="719">
                  <c:v>44901</c:v>
                </c:pt>
                <c:pt idx="720">
                  <c:v>44902</c:v>
                </c:pt>
                <c:pt idx="721">
                  <c:v>44903</c:v>
                </c:pt>
                <c:pt idx="722">
                  <c:v>44904</c:v>
                </c:pt>
                <c:pt idx="723">
                  <c:v>44907</c:v>
                </c:pt>
                <c:pt idx="724">
                  <c:v>44908</c:v>
                </c:pt>
                <c:pt idx="725">
                  <c:v>44909</c:v>
                </c:pt>
                <c:pt idx="726">
                  <c:v>44910</c:v>
                </c:pt>
                <c:pt idx="727">
                  <c:v>44911</c:v>
                </c:pt>
                <c:pt idx="728">
                  <c:v>44914</c:v>
                </c:pt>
                <c:pt idx="729">
                  <c:v>44915</c:v>
                </c:pt>
                <c:pt idx="730">
                  <c:v>44916</c:v>
                </c:pt>
                <c:pt idx="731">
                  <c:v>44917</c:v>
                </c:pt>
                <c:pt idx="732">
                  <c:v>44918</c:v>
                </c:pt>
                <c:pt idx="733">
                  <c:v>44922</c:v>
                </c:pt>
                <c:pt idx="734">
                  <c:v>44923</c:v>
                </c:pt>
                <c:pt idx="735">
                  <c:v>44924</c:v>
                </c:pt>
                <c:pt idx="736">
                  <c:v>44925</c:v>
                </c:pt>
                <c:pt idx="737">
                  <c:v>44929</c:v>
                </c:pt>
                <c:pt idx="738">
                  <c:v>44930</c:v>
                </c:pt>
                <c:pt idx="739">
                  <c:v>44931</c:v>
                </c:pt>
                <c:pt idx="740">
                  <c:v>44932</c:v>
                </c:pt>
                <c:pt idx="741">
                  <c:v>44935</c:v>
                </c:pt>
                <c:pt idx="742">
                  <c:v>44936</c:v>
                </c:pt>
                <c:pt idx="743">
                  <c:v>44937</c:v>
                </c:pt>
                <c:pt idx="744">
                  <c:v>44938</c:v>
                </c:pt>
                <c:pt idx="745">
                  <c:v>44939</c:v>
                </c:pt>
                <c:pt idx="746">
                  <c:v>44942</c:v>
                </c:pt>
                <c:pt idx="747">
                  <c:v>44943</c:v>
                </c:pt>
                <c:pt idx="748">
                  <c:v>44944</c:v>
                </c:pt>
                <c:pt idx="749">
                  <c:v>44945</c:v>
                </c:pt>
                <c:pt idx="750">
                  <c:v>44946</c:v>
                </c:pt>
                <c:pt idx="751">
                  <c:v>44949</c:v>
                </c:pt>
                <c:pt idx="752">
                  <c:v>44950</c:v>
                </c:pt>
                <c:pt idx="753">
                  <c:v>44951</c:v>
                </c:pt>
                <c:pt idx="754">
                  <c:v>44952</c:v>
                </c:pt>
                <c:pt idx="755">
                  <c:v>44953</c:v>
                </c:pt>
                <c:pt idx="756">
                  <c:v>44956</c:v>
                </c:pt>
                <c:pt idx="757">
                  <c:v>44957</c:v>
                </c:pt>
                <c:pt idx="758">
                  <c:v>44958</c:v>
                </c:pt>
                <c:pt idx="759">
                  <c:v>44959</c:v>
                </c:pt>
                <c:pt idx="760">
                  <c:v>44960</c:v>
                </c:pt>
                <c:pt idx="761">
                  <c:v>44963</c:v>
                </c:pt>
                <c:pt idx="762">
                  <c:v>44964</c:v>
                </c:pt>
                <c:pt idx="763">
                  <c:v>44965</c:v>
                </c:pt>
                <c:pt idx="764">
                  <c:v>44966</c:v>
                </c:pt>
                <c:pt idx="765">
                  <c:v>44967</c:v>
                </c:pt>
                <c:pt idx="766">
                  <c:v>44970</c:v>
                </c:pt>
                <c:pt idx="767">
                  <c:v>44971</c:v>
                </c:pt>
                <c:pt idx="768">
                  <c:v>44972</c:v>
                </c:pt>
                <c:pt idx="769">
                  <c:v>44973</c:v>
                </c:pt>
                <c:pt idx="770">
                  <c:v>44974</c:v>
                </c:pt>
                <c:pt idx="771">
                  <c:v>44978</c:v>
                </c:pt>
                <c:pt idx="772">
                  <c:v>44979</c:v>
                </c:pt>
                <c:pt idx="773">
                  <c:v>44980</c:v>
                </c:pt>
                <c:pt idx="774">
                  <c:v>44981</c:v>
                </c:pt>
                <c:pt idx="775">
                  <c:v>44984</c:v>
                </c:pt>
                <c:pt idx="776">
                  <c:v>44985</c:v>
                </c:pt>
                <c:pt idx="777">
                  <c:v>44986</c:v>
                </c:pt>
                <c:pt idx="778">
                  <c:v>44987</c:v>
                </c:pt>
                <c:pt idx="779">
                  <c:v>44988</c:v>
                </c:pt>
                <c:pt idx="780">
                  <c:v>44991</c:v>
                </c:pt>
                <c:pt idx="781">
                  <c:v>44992</c:v>
                </c:pt>
                <c:pt idx="782">
                  <c:v>44993</c:v>
                </c:pt>
                <c:pt idx="783">
                  <c:v>44994</c:v>
                </c:pt>
                <c:pt idx="784">
                  <c:v>44995</c:v>
                </c:pt>
                <c:pt idx="785">
                  <c:v>44998</c:v>
                </c:pt>
                <c:pt idx="786">
                  <c:v>44999</c:v>
                </c:pt>
                <c:pt idx="787">
                  <c:v>45000</c:v>
                </c:pt>
                <c:pt idx="788">
                  <c:v>45001</c:v>
                </c:pt>
                <c:pt idx="789">
                  <c:v>45002</c:v>
                </c:pt>
                <c:pt idx="790">
                  <c:v>45005</c:v>
                </c:pt>
                <c:pt idx="791">
                  <c:v>45006</c:v>
                </c:pt>
                <c:pt idx="792">
                  <c:v>45007</c:v>
                </c:pt>
                <c:pt idx="793">
                  <c:v>45008</c:v>
                </c:pt>
                <c:pt idx="794">
                  <c:v>45009</c:v>
                </c:pt>
                <c:pt idx="795">
                  <c:v>45012</c:v>
                </c:pt>
                <c:pt idx="796">
                  <c:v>45013</c:v>
                </c:pt>
                <c:pt idx="797">
                  <c:v>45014</c:v>
                </c:pt>
                <c:pt idx="798">
                  <c:v>45015</c:v>
                </c:pt>
                <c:pt idx="799">
                  <c:v>45016</c:v>
                </c:pt>
                <c:pt idx="800">
                  <c:v>45019</c:v>
                </c:pt>
                <c:pt idx="801">
                  <c:v>45020</c:v>
                </c:pt>
                <c:pt idx="802">
                  <c:v>45021</c:v>
                </c:pt>
                <c:pt idx="803">
                  <c:v>45022</c:v>
                </c:pt>
                <c:pt idx="804">
                  <c:v>45026</c:v>
                </c:pt>
                <c:pt idx="805">
                  <c:v>45027</c:v>
                </c:pt>
                <c:pt idx="806">
                  <c:v>45028</c:v>
                </c:pt>
                <c:pt idx="807">
                  <c:v>45029</c:v>
                </c:pt>
                <c:pt idx="808">
                  <c:v>45030</c:v>
                </c:pt>
                <c:pt idx="809">
                  <c:v>45033</c:v>
                </c:pt>
                <c:pt idx="810">
                  <c:v>45034</c:v>
                </c:pt>
                <c:pt idx="811">
                  <c:v>45035</c:v>
                </c:pt>
                <c:pt idx="812">
                  <c:v>45036</c:v>
                </c:pt>
                <c:pt idx="813">
                  <c:v>45037</c:v>
                </c:pt>
                <c:pt idx="814">
                  <c:v>45040</c:v>
                </c:pt>
                <c:pt idx="815">
                  <c:v>45041</c:v>
                </c:pt>
                <c:pt idx="816">
                  <c:v>45042</c:v>
                </c:pt>
                <c:pt idx="817">
                  <c:v>45043</c:v>
                </c:pt>
                <c:pt idx="818">
                  <c:v>45044</c:v>
                </c:pt>
                <c:pt idx="819">
                  <c:v>45047</c:v>
                </c:pt>
                <c:pt idx="820">
                  <c:v>45048</c:v>
                </c:pt>
                <c:pt idx="821">
                  <c:v>45049</c:v>
                </c:pt>
                <c:pt idx="822">
                  <c:v>45050</c:v>
                </c:pt>
                <c:pt idx="823">
                  <c:v>45051</c:v>
                </c:pt>
                <c:pt idx="824">
                  <c:v>45054</c:v>
                </c:pt>
                <c:pt idx="825">
                  <c:v>45055</c:v>
                </c:pt>
                <c:pt idx="826">
                  <c:v>45056</c:v>
                </c:pt>
                <c:pt idx="827">
                  <c:v>45057</c:v>
                </c:pt>
                <c:pt idx="828">
                  <c:v>45058</c:v>
                </c:pt>
                <c:pt idx="829">
                  <c:v>45061</c:v>
                </c:pt>
                <c:pt idx="830">
                  <c:v>45062</c:v>
                </c:pt>
                <c:pt idx="831">
                  <c:v>45063</c:v>
                </c:pt>
                <c:pt idx="832">
                  <c:v>45064</c:v>
                </c:pt>
                <c:pt idx="833">
                  <c:v>45065</c:v>
                </c:pt>
                <c:pt idx="834">
                  <c:v>45068</c:v>
                </c:pt>
                <c:pt idx="835">
                  <c:v>45069</c:v>
                </c:pt>
                <c:pt idx="836">
                  <c:v>45070</c:v>
                </c:pt>
                <c:pt idx="837">
                  <c:v>45071</c:v>
                </c:pt>
                <c:pt idx="838">
                  <c:v>45072</c:v>
                </c:pt>
                <c:pt idx="839">
                  <c:v>45075</c:v>
                </c:pt>
                <c:pt idx="840">
                  <c:v>45076</c:v>
                </c:pt>
                <c:pt idx="841">
                  <c:v>45077</c:v>
                </c:pt>
                <c:pt idx="842">
                  <c:v>45078</c:v>
                </c:pt>
                <c:pt idx="843">
                  <c:v>45079</c:v>
                </c:pt>
                <c:pt idx="844">
                  <c:v>45082</c:v>
                </c:pt>
                <c:pt idx="845">
                  <c:v>45083</c:v>
                </c:pt>
                <c:pt idx="846">
                  <c:v>45084</c:v>
                </c:pt>
                <c:pt idx="847">
                  <c:v>45085</c:v>
                </c:pt>
                <c:pt idx="848">
                  <c:v>45086</c:v>
                </c:pt>
                <c:pt idx="849">
                  <c:v>45089</c:v>
                </c:pt>
                <c:pt idx="850">
                  <c:v>45090</c:v>
                </c:pt>
                <c:pt idx="851">
                  <c:v>45091</c:v>
                </c:pt>
                <c:pt idx="852">
                  <c:v>45092</c:v>
                </c:pt>
                <c:pt idx="853">
                  <c:v>45093</c:v>
                </c:pt>
                <c:pt idx="854">
                  <c:v>45096</c:v>
                </c:pt>
                <c:pt idx="855">
                  <c:v>45097</c:v>
                </c:pt>
                <c:pt idx="856">
                  <c:v>45098</c:v>
                </c:pt>
                <c:pt idx="857">
                  <c:v>45099</c:v>
                </c:pt>
                <c:pt idx="858">
                  <c:v>45100</c:v>
                </c:pt>
                <c:pt idx="859">
                  <c:v>45103</c:v>
                </c:pt>
                <c:pt idx="860">
                  <c:v>45104</c:v>
                </c:pt>
                <c:pt idx="861">
                  <c:v>45105</c:v>
                </c:pt>
                <c:pt idx="862">
                  <c:v>45106</c:v>
                </c:pt>
                <c:pt idx="863">
                  <c:v>45107</c:v>
                </c:pt>
                <c:pt idx="864">
                  <c:v>45110</c:v>
                </c:pt>
                <c:pt idx="865">
                  <c:v>45111</c:v>
                </c:pt>
                <c:pt idx="866">
                  <c:v>45112</c:v>
                </c:pt>
                <c:pt idx="867">
                  <c:v>45113</c:v>
                </c:pt>
                <c:pt idx="868">
                  <c:v>45114</c:v>
                </c:pt>
                <c:pt idx="869">
                  <c:v>45117</c:v>
                </c:pt>
                <c:pt idx="870">
                  <c:v>45118</c:v>
                </c:pt>
                <c:pt idx="871">
                  <c:v>45119</c:v>
                </c:pt>
                <c:pt idx="872">
                  <c:v>45120</c:v>
                </c:pt>
                <c:pt idx="873">
                  <c:v>45121</c:v>
                </c:pt>
                <c:pt idx="874">
                  <c:v>45124</c:v>
                </c:pt>
                <c:pt idx="875">
                  <c:v>45125</c:v>
                </c:pt>
                <c:pt idx="876">
                  <c:v>45126</c:v>
                </c:pt>
                <c:pt idx="877">
                  <c:v>45127</c:v>
                </c:pt>
                <c:pt idx="878">
                  <c:v>45128</c:v>
                </c:pt>
                <c:pt idx="879">
                  <c:v>45131</c:v>
                </c:pt>
                <c:pt idx="880">
                  <c:v>45132</c:v>
                </c:pt>
                <c:pt idx="881">
                  <c:v>45133</c:v>
                </c:pt>
                <c:pt idx="882">
                  <c:v>45134</c:v>
                </c:pt>
                <c:pt idx="883">
                  <c:v>45135</c:v>
                </c:pt>
                <c:pt idx="884">
                  <c:v>45138</c:v>
                </c:pt>
                <c:pt idx="885">
                  <c:v>45139</c:v>
                </c:pt>
                <c:pt idx="886">
                  <c:v>45140</c:v>
                </c:pt>
                <c:pt idx="887">
                  <c:v>45141</c:v>
                </c:pt>
                <c:pt idx="888">
                  <c:v>45142</c:v>
                </c:pt>
                <c:pt idx="889">
                  <c:v>45145</c:v>
                </c:pt>
                <c:pt idx="890">
                  <c:v>45146</c:v>
                </c:pt>
                <c:pt idx="891">
                  <c:v>45147</c:v>
                </c:pt>
                <c:pt idx="892">
                  <c:v>45148</c:v>
                </c:pt>
                <c:pt idx="893">
                  <c:v>45149</c:v>
                </c:pt>
                <c:pt idx="894">
                  <c:v>45152</c:v>
                </c:pt>
                <c:pt idx="895">
                  <c:v>45153</c:v>
                </c:pt>
                <c:pt idx="896">
                  <c:v>45154</c:v>
                </c:pt>
                <c:pt idx="897">
                  <c:v>45155</c:v>
                </c:pt>
                <c:pt idx="898">
                  <c:v>45156</c:v>
                </c:pt>
                <c:pt idx="899">
                  <c:v>45159</c:v>
                </c:pt>
                <c:pt idx="900">
                  <c:v>45160</c:v>
                </c:pt>
                <c:pt idx="901">
                  <c:v>45161</c:v>
                </c:pt>
                <c:pt idx="902">
                  <c:v>45162</c:v>
                </c:pt>
                <c:pt idx="903">
                  <c:v>45163</c:v>
                </c:pt>
                <c:pt idx="904">
                  <c:v>45166</c:v>
                </c:pt>
                <c:pt idx="905">
                  <c:v>45167</c:v>
                </c:pt>
                <c:pt idx="906">
                  <c:v>45168</c:v>
                </c:pt>
                <c:pt idx="907">
                  <c:v>45169</c:v>
                </c:pt>
                <c:pt idx="908">
                  <c:v>45170</c:v>
                </c:pt>
                <c:pt idx="909">
                  <c:v>45174</c:v>
                </c:pt>
                <c:pt idx="910">
                  <c:v>45175</c:v>
                </c:pt>
                <c:pt idx="911">
                  <c:v>45176</c:v>
                </c:pt>
                <c:pt idx="912">
                  <c:v>45177</c:v>
                </c:pt>
                <c:pt idx="913">
                  <c:v>45180</c:v>
                </c:pt>
                <c:pt idx="914">
                  <c:v>45181</c:v>
                </c:pt>
                <c:pt idx="915">
                  <c:v>45182</c:v>
                </c:pt>
                <c:pt idx="916">
                  <c:v>45183</c:v>
                </c:pt>
                <c:pt idx="917">
                  <c:v>45184</c:v>
                </c:pt>
                <c:pt idx="918">
                  <c:v>45187</c:v>
                </c:pt>
                <c:pt idx="919">
                  <c:v>45188</c:v>
                </c:pt>
                <c:pt idx="920">
                  <c:v>45189</c:v>
                </c:pt>
                <c:pt idx="921">
                  <c:v>45190</c:v>
                </c:pt>
                <c:pt idx="922">
                  <c:v>45191</c:v>
                </c:pt>
                <c:pt idx="923">
                  <c:v>45194</c:v>
                </c:pt>
                <c:pt idx="924">
                  <c:v>45195</c:v>
                </c:pt>
                <c:pt idx="925">
                  <c:v>45196</c:v>
                </c:pt>
                <c:pt idx="926">
                  <c:v>45197</c:v>
                </c:pt>
                <c:pt idx="927">
                  <c:v>45198</c:v>
                </c:pt>
                <c:pt idx="928">
                  <c:v>45201</c:v>
                </c:pt>
                <c:pt idx="929">
                  <c:v>45202</c:v>
                </c:pt>
                <c:pt idx="930">
                  <c:v>45203</c:v>
                </c:pt>
                <c:pt idx="931">
                  <c:v>45204</c:v>
                </c:pt>
                <c:pt idx="932">
                  <c:v>45205</c:v>
                </c:pt>
                <c:pt idx="933">
                  <c:v>45208</c:v>
                </c:pt>
                <c:pt idx="934">
                  <c:v>45209</c:v>
                </c:pt>
                <c:pt idx="935">
                  <c:v>45210</c:v>
                </c:pt>
                <c:pt idx="936">
                  <c:v>45211</c:v>
                </c:pt>
                <c:pt idx="937">
                  <c:v>45212</c:v>
                </c:pt>
                <c:pt idx="938">
                  <c:v>45215</c:v>
                </c:pt>
                <c:pt idx="939">
                  <c:v>45216</c:v>
                </c:pt>
                <c:pt idx="940">
                  <c:v>45217</c:v>
                </c:pt>
                <c:pt idx="941">
                  <c:v>45218</c:v>
                </c:pt>
                <c:pt idx="942">
                  <c:v>45219</c:v>
                </c:pt>
                <c:pt idx="943">
                  <c:v>45222</c:v>
                </c:pt>
                <c:pt idx="944">
                  <c:v>45223</c:v>
                </c:pt>
                <c:pt idx="945">
                  <c:v>45224</c:v>
                </c:pt>
                <c:pt idx="946">
                  <c:v>45225</c:v>
                </c:pt>
                <c:pt idx="947">
                  <c:v>45226</c:v>
                </c:pt>
                <c:pt idx="948">
                  <c:v>45229</c:v>
                </c:pt>
                <c:pt idx="949">
                  <c:v>45230</c:v>
                </c:pt>
                <c:pt idx="950">
                  <c:v>45231</c:v>
                </c:pt>
                <c:pt idx="951">
                  <c:v>45232</c:v>
                </c:pt>
                <c:pt idx="952">
                  <c:v>45233</c:v>
                </c:pt>
                <c:pt idx="953">
                  <c:v>45236</c:v>
                </c:pt>
                <c:pt idx="954">
                  <c:v>45237</c:v>
                </c:pt>
                <c:pt idx="955">
                  <c:v>45238</c:v>
                </c:pt>
                <c:pt idx="956">
                  <c:v>45239</c:v>
                </c:pt>
                <c:pt idx="957">
                  <c:v>45240</c:v>
                </c:pt>
                <c:pt idx="958">
                  <c:v>45243</c:v>
                </c:pt>
                <c:pt idx="959">
                  <c:v>45244</c:v>
                </c:pt>
                <c:pt idx="960">
                  <c:v>45245</c:v>
                </c:pt>
                <c:pt idx="961">
                  <c:v>45246</c:v>
                </c:pt>
                <c:pt idx="962">
                  <c:v>45247</c:v>
                </c:pt>
                <c:pt idx="963">
                  <c:v>45250</c:v>
                </c:pt>
                <c:pt idx="964">
                  <c:v>45251</c:v>
                </c:pt>
                <c:pt idx="965">
                  <c:v>45252</c:v>
                </c:pt>
                <c:pt idx="966">
                  <c:v>45253</c:v>
                </c:pt>
                <c:pt idx="967">
                  <c:v>45254</c:v>
                </c:pt>
                <c:pt idx="968">
                  <c:v>45257</c:v>
                </c:pt>
                <c:pt idx="969">
                  <c:v>45258</c:v>
                </c:pt>
                <c:pt idx="970">
                  <c:v>45259</c:v>
                </c:pt>
                <c:pt idx="971">
                  <c:v>45260</c:v>
                </c:pt>
                <c:pt idx="972">
                  <c:v>45261</c:v>
                </c:pt>
                <c:pt idx="973">
                  <c:v>45264</c:v>
                </c:pt>
                <c:pt idx="974">
                  <c:v>45265</c:v>
                </c:pt>
                <c:pt idx="975">
                  <c:v>45266</c:v>
                </c:pt>
                <c:pt idx="976">
                  <c:v>45267</c:v>
                </c:pt>
                <c:pt idx="977">
                  <c:v>45268</c:v>
                </c:pt>
                <c:pt idx="978">
                  <c:v>45271</c:v>
                </c:pt>
                <c:pt idx="979">
                  <c:v>45272</c:v>
                </c:pt>
                <c:pt idx="980">
                  <c:v>45273</c:v>
                </c:pt>
                <c:pt idx="981">
                  <c:v>45274</c:v>
                </c:pt>
                <c:pt idx="982">
                  <c:v>45275</c:v>
                </c:pt>
                <c:pt idx="983">
                  <c:v>45278</c:v>
                </c:pt>
                <c:pt idx="984">
                  <c:v>45279</c:v>
                </c:pt>
                <c:pt idx="985">
                  <c:v>45280</c:v>
                </c:pt>
                <c:pt idx="986">
                  <c:v>45281</c:v>
                </c:pt>
                <c:pt idx="987">
                  <c:v>45282</c:v>
                </c:pt>
                <c:pt idx="988">
                  <c:v>45286</c:v>
                </c:pt>
                <c:pt idx="989">
                  <c:v>45287</c:v>
                </c:pt>
                <c:pt idx="990">
                  <c:v>45288</c:v>
                </c:pt>
                <c:pt idx="991">
                  <c:v>45289</c:v>
                </c:pt>
                <c:pt idx="992">
                  <c:v>45293</c:v>
                </c:pt>
                <c:pt idx="993">
                  <c:v>45294</c:v>
                </c:pt>
                <c:pt idx="994">
                  <c:v>45295</c:v>
                </c:pt>
                <c:pt idx="995">
                  <c:v>45296</c:v>
                </c:pt>
                <c:pt idx="996">
                  <c:v>45299</c:v>
                </c:pt>
                <c:pt idx="997">
                  <c:v>45300</c:v>
                </c:pt>
                <c:pt idx="998">
                  <c:v>45301</c:v>
                </c:pt>
                <c:pt idx="999">
                  <c:v>45302</c:v>
                </c:pt>
                <c:pt idx="1000">
                  <c:v>45303</c:v>
                </c:pt>
                <c:pt idx="1001">
                  <c:v>45306</c:v>
                </c:pt>
                <c:pt idx="1002">
                  <c:v>45307</c:v>
                </c:pt>
                <c:pt idx="1003">
                  <c:v>45308</c:v>
                </c:pt>
                <c:pt idx="1004">
                  <c:v>45309</c:v>
                </c:pt>
                <c:pt idx="1005">
                  <c:v>45310</c:v>
                </c:pt>
                <c:pt idx="1006">
                  <c:v>45313</c:v>
                </c:pt>
                <c:pt idx="1007">
                  <c:v>45314</c:v>
                </c:pt>
                <c:pt idx="1008">
                  <c:v>45315</c:v>
                </c:pt>
                <c:pt idx="1009">
                  <c:v>45316</c:v>
                </c:pt>
                <c:pt idx="1010">
                  <c:v>45317</c:v>
                </c:pt>
                <c:pt idx="1011">
                  <c:v>45320</c:v>
                </c:pt>
                <c:pt idx="1012">
                  <c:v>45321</c:v>
                </c:pt>
                <c:pt idx="1013">
                  <c:v>45322</c:v>
                </c:pt>
                <c:pt idx="1014">
                  <c:v>45323</c:v>
                </c:pt>
                <c:pt idx="1015">
                  <c:v>45324</c:v>
                </c:pt>
                <c:pt idx="1016">
                  <c:v>45327</c:v>
                </c:pt>
                <c:pt idx="1017">
                  <c:v>45328</c:v>
                </c:pt>
                <c:pt idx="1018">
                  <c:v>45329</c:v>
                </c:pt>
                <c:pt idx="1019">
                  <c:v>45330</c:v>
                </c:pt>
                <c:pt idx="1020">
                  <c:v>45331</c:v>
                </c:pt>
                <c:pt idx="1021">
                  <c:v>45334</c:v>
                </c:pt>
                <c:pt idx="1022">
                  <c:v>45335</c:v>
                </c:pt>
                <c:pt idx="1023">
                  <c:v>45336</c:v>
                </c:pt>
                <c:pt idx="1024">
                  <c:v>45337</c:v>
                </c:pt>
                <c:pt idx="1025">
                  <c:v>45338</c:v>
                </c:pt>
                <c:pt idx="1026">
                  <c:v>45342</c:v>
                </c:pt>
                <c:pt idx="1027">
                  <c:v>45343</c:v>
                </c:pt>
                <c:pt idx="1028">
                  <c:v>45344</c:v>
                </c:pt>
                <c:pt idx="1029">
                  <c:v>45345</c:v>
                </c:pt>
                <c:pt idx="1030">
                  <c:v>45348</c:v>
                </c:pt>
                <c:pt idx="1031">
                  <c:v>45349</c:v>
                </c:pt>
                <c:pt idx="1032">
                  <c:v>45350</c:v>
                </c:pt>
                <c:pt idx="1033">
                  <c:v>45351</c:v>
                </c:pt>
                <c:pt idx="1034">
                  <c:v>45352</c:v>
                </c:pt>
                <c:pt idx="1035">
                  <c:v>45355</c:v>
                </c:pt>
                <c:pt idx="1036">
                  <c:v>45356</c:v>
                </c:pt>
                <c:pt idx="1037">
                  <c:v>45357</c:v>
                </c:pt>
                <c:pt idx="1038">
                  <c:v>45358</c:v>
                </c:pt>
                <c:pt idx="1039">
                  <c:v>45359</c:v>
                </c:pt>
                <c:pt idx="1040">
                  <c:v>45362</c:v>
                </c:pt>
                <c:pt idx="1041">
                  <c:v>45363</c:v>
                </c:pt>
                <c:pt idx="1042">
                  <c:v>45364</c:v>
                </c:pt>
                <c:pt idx="1043">
                  <c:v>45365</c:v>
                </c:pt>
                <c:pt idx="1044">
                  <c:v>45366</c:v>
                </c:pt>
                <c:pt idx="1045">
                  <c:v>45369</c:v>
                </c:pt>
                <c:pt idx="1046">
                  <c:v>45370</c:v>
                </c:pt>
                <c:pt idx="1047">
                  <c:v>45371</c:v>
                </c:pt>
                <c:pt idx="1048">
                  <c:v>45372</c:v>
                </c:pt>
                <c:pt idx="1049">
                  <c:v>45373</c:v>
                </c:pt>
                <c:pt idx="1050">
                  <c:v>45376</c:v>
                </c:pt>
                <c:pt idx="1051">
                  <c:v>45377</c:v>
                </c:pt>
                <c:pt idx="1052">
                  <c:v>45378</c:v>
                </c:pt>
                <c:pt idx="1053">
                  <c:v>45379</c:v>
                </c:pt>
                <c:pt idx="1054">
                  <c:v>45383</c:v>
                </c:pt>
                <c:pt idx="1055">
                  <c:v>45384</c:v>
                </c:pt>
                <c:pt idx="1056">
                  <c:v>45385</c:v>
                </c:pt>
                <c:pt idx="1057">
                  <c:v>45386</c:v>
                </c:pt>
                <c:pt idx="1058">
                  <c:v>45387</c:v>
                </c:pt>
                <c:pt idx="1059">
                  <c:v>45390</c:v>
                </c:pt>
                <c:pt idx="1060">
                  <c:v>45391</c:v>
                </c:pt>
                <c:pt idx="1061">
                  <c:v>45392</c:v>
                </c:pt>
                <c:pt idx="1062">
                  <c:v>45393</c:v>
                </c:pt>
                <c:pt idx="1063">
                  <c:v>45394</c:v>
                </c:pt>
                <c:pt idx="1064">
                  <c:v>45397</c:v>
                </c:pt>
                <c:pt idx="1065">
                  <c:v>45398</c:v>
                </c:pt>
                <c:pt idx="1066">
                  <c:v>45399</c:v>
                </c:pt>
                <c:pt idx="1067">
                  <c:v>45400</c:v>
                </c:pt>
                <c:pt idx="1068">
                  <c:v>45401</c:v>
                </c:pt>
                <c:pt idx="1069">
                  <c:v>45404</c:v>
                </c:pt>
                <c:pt idx="1070">
                  <c:v>45405</c:v>
                </c:pt>
                <c:pt idx="1071">
                  <c:v>45406</c:v>
                </c:pt>
                <c:pt idx="1072">
                  <c:v>45407</c:v>
                </c:pt>
                <c:pt idx="1073">
                  <c:v>45408</c:v>
                </c:pt>
                <c:pt idx="1074">
                  <c:v>45411</c:v>
                </c:pt>
                <c:pt idx="1075">
                  <c:v>45412</c:v>
                </c:pt>
                <c:pt idx="1076">
                  <c:v>45413</c:v>
                </c:pt>
                <c:pt idx="1077">
                  <c:v>45414</c:v>
                </c:pt>
                <c:pt idx="1078">
                  <c:v>45415</c:v>
                </c:pt>
                <c:pt idx="1079">
                  <c:v>45418</c:v>
                </c:pt>
                <c:pt idx="1080">
                  <c:v>45419</c:v>
                </c:pt>
                <c:pt idx="1081">
                  <c:v>45420</c:v>
                </c:pt>
                <c:pt idx="1082">
                  <c:v>45421</c:v>
                </c:pt>
                <c:pt idx="1083">
                  <c:v>45422</c:v>
                </c:pt>
                <c:pt idx="1084">
                  <c:v>45425</c:v>
                </c:pt>
                <c:pt idx="1085">
                  <c:v>45426</c:v>
                </c:pt>
                <c:pt idx="1086">
                  <c:v>45427</c:v>
                </c:pt>
                <c:pt idx="1087">
                  <c:v>45428</c:v>
                </c:pt>
                <c:pt idx="1088">
                  <c:v>45429</c:v>
                </c:pt>
                <c:pt idx="1089">
                  <c:v>45432</c:v>
                </c:pt>
                <c:pt idx="1090">
                  <c:v>45433</c:v>
                </c:pt>
                <c:pt idx="1091">
                  <c:v>45434</c:v>
                </c:pt>
                <c:pt idx="1092">
                  <c:v>45435</c:v>
                </c:pt>
                <c:pt idx="1093">
                  <c:v>45436</c:v>
                </c:pt>
                <c:pt idx="1094">
                  <c:v>45439</c:v>
                </c:pt>
                <c:pt idx="1095">
                  <c:v>45440</c:v>
                </c:pt>
                <c:pt idx="1096">
                  <c:v>45441</c:v>
                </c:pt>
                <c:pt idx="1097">
                  <c:v>45442</c:v>
                </c:pt>
                <c:pt idx="1098">
                  <c:v>45443</c:v>
                </c:pt>
                <c:pt idx="1099">
                  <c:v>45446</c:v>
                </c:pt>
                <c:pt idx="1100">
                  <c:v>45447</c:v>
                </c:pt>
                <c:pt idx="1101">
                  <c:v>45448</c:v>
                </c:pt>
                <c:pt idx="1102">
                  <c:v>45449</c:v>
                </c:pt>
                <c:pt idx="1103">
                  <c:v>45450</c:v>
                </c:pt>
                <c:pt idx="1104">
                  <c:v>45453</c:v>
                </c:pt>
                <c:pt idx="1105">
                  <c:v>45454</c:v>
                </c:pt>
                <c:pt idx="1106">
                  <c:v>45455</c:v>
                </c:pt>
                <c:pt idx="1107">
                  <c:v>45456</c:v>
                </c:pt>
                <c:pt idx="1108">
                  <c:v>45457</c:v>
                </c:pt>
                <c:pt idx="1109">
                  <c:v>45460</c:v>
                </c:pt>
                <c:pt idx="1110">
                  <c:v>45461</c:v>
                </c:pt>
                <c:pt idx="1111">
                  <c:v>45462</c:v>
                </c:pt>
                <c:pt idx="1112">
                  <c:v>45463</c:v>
                </c:pt>
                <c:pt idx="1113">
                  <c:v>45464</c:v>
                </c:pt>
                <c:pt idx="1114">
                  <c:v>45467</c:v>
                </c:pt>
                <c:pt idx="1115">
                  <c:v>45468</c:v>
                </c:pt>
                <c:pt idx="1116">
                  <c:v>45469</c:v>
                </c:pt>
                <c:pt idx="1117">
                  <c:v>45470</c:v>
                </c:pt>
                <c:pt idx="1118">
                  <c:v>45471</c:v>
                </c:pt>
                <c:pt idx="1119">
                  <c:v>45474</c:v>
                </c:pt>
                <c:pt idx="1120">
                  <c:v>45475</c:v>
                </c:pt>
                <c:pt idx="1121">
                  <c:v>45476</c:v>
                </c:pt>
                <c:pt idx="1122">
                  <c:v>45477</c:v>
                </c:pt>
                <c:pt idx="1123">
                  <c:v>45478</c:v>
                </c:pt>
                <c:pt idx="1124">
                  <c:v>45481</c:v>
                </c:pt>
                <c:pt idx="1125">
                  <c:v>45482</c:v>
                </c:pt>
                <c:pt idx="1126">
                  <c:v>45483</c:v>
                </c:pt>
                <c:pt idx="1127">
                  <c:v>45484</c:v>
                </c:pt>
                <c:pt idx="1128">
                  <c:v>45485</c:v>
                </c:pt>
                <c:pt idx="1129">
                  <c:v>45488</c:v>
                </c:pt>
                <c:pt idx="1130">
                  <c:v>45489</c:v>
                </c:pt>
                <c:pt idx="1131">
                  <c:v>45490</c:v>
                </c:pt>
                <c:pt idx="1132">
                  <c:v>45491</c:v>
                </c:pt>
                <c:pt idx="1133">
                  <c:v>45492</c:v>
                </c:pt>
                <c:pt idx="1134">
                  <c:v>45495</c:v>
                </c:pt>
                <c:pt idx="1135">
                  <c:v>45496</c:v>
                </c:pt>
                <c:pt idx="1136">
                  <c:v>45497</c:v>
                </c:pt>
                <c:pt idx="1137">
                  <c:v>45498</c:v>
                </c:pt>
                <c:pt idx="1138">
                  <c:v>45499</c:v>
                </c:pt>
                <c:pt idx="1139">
                  <c:v>45502</c:v>
                </c:pt>
                <c:pt idx="1140">
                  <c:v>45503</c:v>
                </c:pt>
                <c:pt idx="1141">
                  <c:v>45504</c:v>
                </c:pt>
                <c:pt idx="1142">
                  <c:v>45505</c:v>
                </c:pt>
                <c:pt idx="1143">
                  <c:v>45506</c:v>
                </c:pt>
                <c:pt idx="1144">
                  <c:v>45509</c:v>
                </c:pt>
                <c:pt idx="1145">
                  <c:v>45510</c:v>
                </c:pt>
                <c:pt idx="1146">
                  <c:v>45511</c:v>
                </c:pt>
                <c:pt idx="1147">
                  <c:v>45512</c:v>
                </c:pt>
                <c:pt idx="1148">
                  <c:v>45513</c:v>
                </c:pt>
                <c:pt idx="1149">
                  <c:v>45516</c:v>
                </c:pt>
                <c:pt idx="1150">
                  <c:v>45517</c:v>
                </c:pt>
                <c:pt idx="1151">
                  <c:v>45518</c:v>
                </c:pt>
                <c:pt idx="1152">
                  <c:v>45519</c:v>
                </c:pt>
                <c:pt idx="1153">
                  <c:v>45520</c:v>
                </c:pt>
                <c:pt idx="1154">
                  <c:v>45523</c:v>
                </c:pt>
                <c:pt idx="1155">
                  <c:v>45524</c:v>
                </c:pt>
                <c:pt idx="1156">
                  <c:v>45525</c:v>
                </c:pt>
                <c:pt idx="1157">
                  <c:v>45526</c:v>
                </c:pt>
                <c:pt idx="1158">
                  <c:v>45527</c:v>
                </c:pt>
                <c:pt idx="1159">
                  <c:v>45530</c:v>
                </c:pt>
                <c:pt idx="1160">
                  <c:v>45531</c:v>
                </c:pt>
                <c:pt idx="1161">
                  <c:v>45532</c:v>
                </c:pt>
                <c:pt idx="1162">
                  <c:v>45533</c:v>
                </c:pt>
                <c:pt idx="1163">
                  <c:v>45534</c:v>
                </c:pt>
                <c:pt idx="1164">
                  <c:v>45538</c:v>
                </c:pt>
                <c:pt idx="1165">
                  <c:v>45539</c:v>
                </c:pt>
                <c:pt idx="1166">
                  <c:v>45540</c:v>
                </c:pt>
                <c:pt idx="1167">
                  <c:v>45541</c:v>
                </c:pt>
                <c:pt idx="1168">
                  <c:v>45544</c:v>
                </c:pt>
                <c:pt idx="1169">
                  <c:v>45545</c:v>
                </c:pt>
                <c:pt idx="1170">
                  <c:v>45546</c:v>
                </c:pt>
                <c:pt idx="1171">
                  <c:v>45547</c:v>
                </c:pt>
                <c:pt idx="1172">
                  <c:v>45548</c:v>
                </c:pt>
                <c:pt idx="1173">
                  <c:v>45551</c:v>
                </c:pt>
                <c:pt idx="1174">
                  <c:v>45552</c:v>
                </c:pt>
                <c:pt idx="1175">
                  <c:v>45553</c:v>
                </c:pt>
                <c:pt idx="1176">
                  <c:v>45554</c:v>
                </c:pt>
                <c:pt idx="1177">
                  <c:v>45555</c:v>
                </c:pt>
                <c:pt idx="1178">
                  <c:v>45558</c:v>
                </c:pt>
                <c:pt idx="1179">
                  <c:v>45559</c:v>
                </c:pt>
                <c:pt idx="1180">
                  <c:v>45560</c:v>
                </c:pt>
                <c:pt idx="1181">
                  <c:v>45561</c:v>
                </c:pt>
                <c:pt idx="1182">
                  <c:v>45562</c:v>
                </c:pt>
                <c:pt idx="1183">
                  <c:v>45565</c:v>
                </c:pt>
                <c:pt idx="1184">
                  <c:v>45566</c:v>
                </c:pt>
                <c:pt idx="1185">
                  <c:v>45567</c:v>
                </c:pt>
                <c:pt idx="1186">
                  <c:v>45568</c:v>
                </c:pt>
                <c:pt idx="1187">
                  <c:v>45569</c:v>
                </c:pt>
                <c:pt idx="1188">
                  <c:v>45572</c:v>
                </c:pt>
                <c:pt idx="1189">
                  <c:v>45573</c:v>
                </c:pt>
                <c:pt idx="1190">
                  <c:v>45574</c:v>
                </c:pt>
                <c:pt idx="1191">
                  <c:v>45575</c:v>
                </c:pt>
                <c:pt idx="1192">
                  <c:v>45576</c:v>
                </c:pt>
                <c:pt idx="1193">
                  <c:v>45579</c:v>
                </c:pt>
                <c:pt idx="1194">
                  <c:v>45580</c:v>
                </c:pt>
                <c:pt idx="1195">
                  <c:v>45581</c:v>
                </c:pt>
                <c:pt idx="1196">
                  <c:v>45582</c:v>
                </c:pt>
                <c:pt idx="1197">
                  <c:v>45583</c:v>
                </c:pt>
                <c:pt idx="1198">
                  <c:v>45586</c:v>
                </c:pt>
                <c:pt idx="1199">
                  <c:v>45587</c:v>
                </c:pt>
                <c:pt idx="1200">
                  <c:v>45588</c:v>
                </c:pt>
                <c:pt idx="1201">
                  <c:v>45589</c:v>
                </c:pt>
                <c:pt idx="1202">
                  <c:v>45590</c:v>
                </c:pt>
                <c:pt idx="1203">
                  <c:v>45593</c:v>
                </c:pt>
                <c:pt idx="1204">
                  <c:v>45594</c:v>
                </c:pt>
                <c:pt idx="1205">
                  <c:v>45595</c:v>
                </c:pt>
                <c:pt idx="1206">
                  <c:v>45596</c:v>
                </c:pt>
                <c:pt idx="1207">
                  <c:v>45597</c:v>
                </c:pt>
                <c:pt idx="1208">
                  <c:v>45600</c:v>
                </c:pt>
                <c:pt idx="1209">
                  <c:v>45601</c:v>
                </c:pt>
                <c:pt idx="1210">
                  <c:v>45602</c:v>
                </c:pt>
                <c:pt idx="1211">
                  <c:v>45603</c:v>
                </c:pt>
                <c:pt idx="1212">
                  <c:v>45604</c:v>
                </c:pt>
                <c:pt idx="1213">
                  <c:v>45607</c:v>
                </c:pt>
                <c:pt idx="1214">
                  <c:v>45608</c:v>
                </c:pt>
                <c:pt idx="1215">
                  <c:v>45609</c:v>
                </c:pt>
                <c:pt idx="1216">
                  <c:v>45610</c:v>
                </c:pt>
                <c:pt idx="1217">
                  <c:v>45611</c:v>
                </c:pt>
                <c:pt idx="1218">
                  <c:v>45614</c:v>
                </c:pt>
                <c:pt idx="1219">
                  <c:v>45615</c:v>
                </c:pt>
                <c:pt idx="1220">
                  <c:v>45616</c:v>
                </c:pt>
                <c:pt idx="1221">
                  <c:v>45617</c:v>
                </c:pt>
                <c:pt idx="1222">
                  <c:v>45618</c:v>
                </c:pt>
                <c:pt idx="1223">
                  <c:v>45621</c:v>
                </c:pt>
                <c:pt idx="1224">
                  <c:v>45622</c:v>
                </c:pt>
                <c:pt idx="1225">
                  <c:v>45623</c:v>
                </c:pt>
                <c:pt idx="1226">
                  <c:v>45624</c:v>
                </c:pt>
                <c:pt idx="1227">
                  <c:v>45625</c:v>
                </c:pt>
                <c:pt idx="1228">
                  <c:v>45628</c:v>
                </c:pt>
                <c:pt idx="1229">
                  <c:v>45629</c:v>
                </c:pt>
                <c:pt idx="1230">
                  <c:v>45630</c:v>
                </c:pt>
                <c:pt idx="1231">
                  <c:v>45631</c:v>
                </c:pt>
                <c:pt idx="1232">
                  <c:v>45632</c:v>
                </c:pt>
                <c:pt idx="1233">
                  <c:v>45635</c:v>
                </c:pt>
                <c:pt idx="1234">
                  <c:v>45636</c:v>
                </c:pt>
                <c:pt idx="1235">
                  <c:v>45637</c:v>
                </c:pt>
                <c:pt idx="1236">
                  <c:v>45638</c:v>
                </c:pt>
                <c:pt idx="1237">
                  <c:v>45639</c:v>
                </c:pt>
                <c:pt idx="1238">
                  <c:v>45642</c:v>
                </c:pt>
                <c:pt idx="1239">
                  <c:v>45643</c:v>
                </c:pt>
                <c:pt idx="1240">
                  <c:v>45644</c:v>
                </c:pt>
                <c:pt idx="1241">
                  <c:v>45645</c:v>
                </c:pt>
                <c:pt idx="1242">
                  <c:v>45646</c:v>
                </c:pt>
                <c:pt idx="1243">
                  <c:v>45649</c:v>
                </c:pt>
                <c:pt idx="1244">
                  <c:v>45650</c:v>
                </c:pt>
                <c:pt idx="1245">
                  <c:v>45652</c:v>
                </c:pt>
                <c:pt idx="1246">
                  <c:v>45653</c:v>
                </c:pt>
                <c:pt idx="1247">
                  <c:v>45656</c:v>
                </c:pt>
                <c:pt idx="1248">
                  <c:v>45657</c:v>
                </c:pt>
                <c:pt idx="1249">
                  <c:v>45659</c:v>
                </c:pt>
                <c:pt idx="1250">
                  <c:v>45660</c:v>
                </c:pt>
                <c:pt idx="1251">
                  <c:v>45663</c:v>
                </c:pt>
                <c:pt idx="1252">
                  <c:v>45664</c:v>
                </c:pt>
                <c:pt idx="1253">
                  <c:v>45665</c:v>
                </c:pt>
                <c:pt idx="1254">
                  <c:v>45666</c:v>
                </c:pt>
                <c:pt idx="1255">
                  <c:v>45667</c:v>
                </c:pt>
                <c:pt idx="1256">
                  <c:v>45670</c:v>
                </c:pt>
                <c:pt idx="1257">
                  <c:v>45671</c:v>
                </c:pt>
                <c:pt idx="1258">
                  <c:v>45672</c:v>
                </c:pt>
                <c:pt idx="1259">
                  <c:v>45673</c:v>
                </c:pt>
                <c:pt idx="1260">
                  <c:v>45674</c:v>
                </c:pt>
                <c:pt idx="1261">
                  <c:v>45677</c:v>
                </c:pt>
                <c:pt idx="1262">
                  <c:v>45678</c:v>
                </c:pt>
                <c:pt idx="1263">
                  <c:v>45679</c:v>
                </c:pt>
                <c:pt idx="1264">
                  <c:v>45680</c:v>
                </c:pt>
                <c:pt idx="1265">
                  <c:v>45681</c:v>
                </c:pt>
                <c:pt idx="1266">
                  <c:v>45684</c:v>
                </c:pt>
                <c:pt idx="1267">
                  <c:v>45685</c:v>
                </c:pt>
                <c:pt idx="1268">
                  <c:v>45686</c:v>
                </c:pt>
                <c:pt idx="1269">
                  <c:v>45687</c:v>
                </c:pt>
                <c:pt idx="1270">
                  <c:v>45688</c:v>
                </c:pt>
                <c:pt idx="1271">
                  <c:v>45691</c:v>
                </c:pt>
                <c:pt idx="1272">
                  <c:v>45692</c:v>
                </c:pt>
                <c:pt idx="1273">
                  <c:v>45693</c:v>
                </c:pt>
                <c:pt idx="1274">
                  <c:v>45694</c:v>
                </c:pt>
                <c:pt idx="1275">
                  <c:v>45695</c:v>
                </c:pt>
                <c:pt idx="1276">
                  <c:v>45698</c:v>
                </c:pt>
                <c:pt idx="1277">
                  <c:v>45699</c:v>
                </c:pt>
                <c:pt idx="1278">
                  <c:v>45700</c:v>
                </c:pt>
                <c:pt idx="1279">
                  <c:v>45701</c:v>
                </c:pt>
                <c:pt idx="1280">
                  <c:v>45702</c:v>
                </c:pt>
                <c:pt idx="1281">
                  <c:v>45706</c:v>
                </c:pt>
                <c:pt idx="1282">
                  <c:v>45707</c:v>
                </c:pt>
              </c:numCache>
            </c:numRef>
          </c:cat>
          <c:val>
            <c:numRef>
              <c:f>Sheet1!$C$93:$C$1375</c:f>
              <c:numCache>
                <c:formatCode>0.00%</c:formatCode>
                <c:ptCount val="1283"/>
                <c:pt idx="0">
                  <c:v>0</c:v>
                </c:pt>
                <c:pt idx="1">
                  <c:v>-0.01</c:v>
                </c:pt>
                <c:pt idx="2">
                  <c:v>-3.2300000000000002E-2</c:v>
                </c:pt>
                <c:pt idx="3">
                  <c:v>-7.2800000000000004E-2</c:v>
                </c:pt>
                <c:pt idx="4">
                  <c:v>-0.1023</c:v>
                </c:pt>
                <c:pt idx="5">
                  <c:v>-9.8699999999999996E-2</c:v>
                </c:pt>
                <c:pt idx="6">
                  <c:v>-0.1467</c:v>
                </c:pt>
                <c:pt idx="7">
                  <c:v>-0.1399</c:v>
                </c:pt>
                <c:pt idx="8">
                  <c:v>-9.0899999999999995E-2</c:v>
                </c:pt>
                <c:pt idx="9">
                  <c:v>-0.12529999999999999</c:v>
                </c:pt>
                <c:pt idx="10">
                  <c:v>-8.7799999999999989E-2</c:v>
                </c:pt>
                <c:pt idx="11">
                  <c:v>-0.11699999999999999</c:v>
                </c:pt>
                <c:pt idx="12">
                  <c:v>-0.13500000000000001</c:v>
                </c:pt>
                <c:pt idx="13">
                  <c:v>-0.20030000000000001</c:v>
                </c:pt>
                <c:pt idx="14">
                  <c:v>-0.14749999999999999</c:v>
                </c:pt>
                <c:pt idx="15">
                  <c:v>-0.18760000000000002</c:v>
                </c:pt>
                <c:pt idx="16">
                  <c:v>-0.26739999999999997</c:v>
                </c:pt>
                <c:pt idx="17">
                  <c:v>-0.17980000000000002</c:v>
                </c:pt>
                <c:pt idx="18">
                  <c:v>-0.29389999999999999</c:v>
                </c:pt>
                <c:pt idx="19">
                  <c:v>-0.24600000000000002</c:v>
                </c:pt>
                <c:pt idx="20">
                  <c:v>-0.28070000000000001</c:v>
                </c:pt>
                <c:pt idx="21">
                  <c:v>-0.2727</c:v>
                </c:pt>
                <c:pt idx="22">
                  <c:v>-0.30469999999999997</c:v>
                </c:pt>
                <c:pt idx="23">
                  <c:v>-0.3115</c:v>
                </c:pt>
                <c:pt idx="24">
                  <c:v>-0.24050000000000002</c:v>
                </c:pt>
                <c:pt idx="25">
                  <c:v>-0.24260000000000001</c:v>
                </c:pt>
                <c:pt idx="26">
                  <c:v>-0.19450000000000001</c:v>
                </c:pt>
                <c:pt idx="27">
                  <c:v>-0.2316</c:v>
                </c:pt>
                <c:pt idx="28">
                  <c:v>-0.1991</c:v>
                </c:pt>
                <c:pt idx="29">
                  <c:v>-0.21420000000000003</c:v>
                </c:pt>
                <c:pt idx="30">
                  <c:v>-0.25129999999999997</c:v>
                </c:pt>
                <c:pt idx="31">
                  <c:v>-0.23399999999999999</c:v>
                </c:pt>
                <c:pt idx="32">
                  <c:v>-0.24660000000000001</c:v>
                </c:pt>
                <c:pt idx="33">
                  <c:v>-0.18049999999999999</c:v>
                </c:pt>
                <c:pt idx="34">
                  <c:v>-0.18920000000000001</c:v>
                </c:pt>
                <c:pt idx="35">
                  <c:v>-0.1668</c:v>
                </c:pt>
                <c:pt idx="36">
                  <c:v>-0.16670000000000001</c:v>
                </c:pt>
                <c:pt idx="37">
                  <c:v>-0.16500000000000001</c:v>
                </c:pt>
                <c:pt idx="38">
                  <c:v>-0.13019999999999998</c:v>
                </c:pt>
                <c:pt idx="39">
                  <c:v>-0.14910000000000001</c:v>
                </c:pt>
                <c:pt idx="40">
                  <c:v>-0.13849999999999998</c:v>
                </c:pt>
                <c:pt idx="41">
                  <c:v>-0.12670000000000001</c:v>
                </c:pt>
                <c:pt idx="42">
                  <c:v>-0.14230000000000001</c:v>
                </c:pt>
                <c:pt idx="43">
                  <c:v>-0.17739999999999997</c:v>
                </c:pt>
                <c:pt idx="44">
                  <c:v>-0.14560000000000001</c:v>
                </c:pt>
                <c:pt idx="45">
                  <c:v>-0.1515</c:v>
                </c:pt>
                <c:pt idx="46">
                  <c:v>-0.1336</c:v>
                </c:pt>
                <c:pt idx="47">
                  <c:v>-0.12570000000000001</c:v>
                </c:pt>
                <c:pt idx="48">
                  <c:v>-0.13800000000000001</c:v>
                </c:pt>
                <c:pt idx="49">
                  <c:v>-0.1017</c:v>
                </c:pt>
                <c:pt idx="50">
                  <c:v>-0.10580000000000001</c:v>
                </c:pt>
                <c:pt idx="51">
                  <c:v>-0.13170000000000001</c:v>
                </c:pt>
                <c:pt idx="52">
                  <c:v>-0.11939999999999999</c:v>
                </c:pt>
                <c:pt idx="53">
                  <c:v>-0.10679999999999999</c:v>
                </c:pt>
                <c:pt idx="54">
                  <c:v>-0.1002</c:v>
                </c:pt>
                <c:pt idx="55">
                  <c:v>-8.6400000000000005E-2</c:v>
                </c:pt>
                <c:pt idx="56">
                  <c:v>-7.3099999999999998E-2</c:v>
                </c:pt>
                <c:pt idx="57">
                  <c:v>-6.6699999999999995E-2</c:v>
                </c:pt>
                <c:pt idx="58">
                  <c:v>-8.6599999999999996E-2</c:v>
                </c:pt>
                <c:pt idx="59">
                  <c:v>-0.10189999999999999</c:v>
                </c:pt>
                <c:pt idx="60">
                  <c:v>-9.06E-2</c:v>
                </c:pt>
                <c:pt idx="61">
                  <c:v>-8.6800000000000002E-2</c:v>
                </c:pt>
                <c:pt idx="62">
                  <c:v>-6.3399999999999998E-2</c:v>
                </c:pt>
                <c:pt idx="63">
                  <c:v>-6.7099999999999993E-2</c:v>
                </c:pt>
                <c:pt idx="64">
                  <c:v>-4.6799999999999994E-2</c:v>
                </c:pt>
                <c:pt idx="65">
                  <c:v>-6.0100000000000001E-2</c:v>
                </c:pt>
                <c:pt idx="66">
                  <c:v>-5.6100000000000004E-2</c:v>
                </c:pt>
                <c:pt idx="67">
                  <c:v>#N/A</c:v>
                </c:pt>
                <c:pt idx="68">
                  <c:v>-5.7200000000000001E-2</c:v>
                </c:pt>
                <c:pt idx="69">
                  <c:v>-5.21E-2</c:v>
                </c:pt>
                <c:pt idx="70">
                  <c:v>-5.3899999999999997E-2</c:v>
                </c:pt>
                <c:pt idx="71">
                  <c:v>-4.2699999999999995E-2</c:v>
                </c:pt>
                <c:pt idx="72">
                  <c:v>-4.2500000000000003E-2</c:v>
                </c:pt>
                <c:pt idx="73">
                  <c:v>-3.3500000000000002E-2</c:v>
                </c:pt>
                <c:pt idx="74">
                  <c:v>-2.5399999999999999E-2</c:v>
                </c:pt>
                <c:pt idx="75">
                  <c:v>-3.3599999999999998E-2</c:v>
                </c:pt>
                <c:pt idx="76">
                  <c:v>-7.6E-3</c:v>
                </c:pt>
                <c:pt idx="77">
                  <c:v>-3.2000000000000002E-3</c:v>
                </c:pt>
                <c:pt idx="78">
                  <c:v>1.7000000000000001E-3</c:v>
                </c:pt>
                <c:pt idx="79">
                  <c:v>1.8700000000000001E-2</c:v>
                </c:pt>
                <c:pt idx="80">
                  <c:v>-4.0500000000000001E-2</c:v>
                </c:pt>
                <c:pt idx="81">
                  <c:v>-2.75E-2</c:v>
                </c:pt>
                <c:pt idx="82">
                  <c:v>-1.9099999999999999E-2</c:v>
                </c:pt>
                <c:pt idx="83">
                  <c:v>2.0999999999999999E-3</c:v>
                </c:pt>
                <c:pt idx="84">
                  <c:v>2.5000000000000001E-3</c:v>
                </c:pt>
                <c:pt idx="85">
                  <c:v>7.3000000000000001E-3</c:v>
                </c:pt>
                <c:pt idx="86">
                  <c:v>-2.0000000000000001E-4</c:v>
                </c:pt>
                <c:pt idx="87">
                  <c:v>1.9099999999999999E-2</c:v>
                </c:pt>
                <c:pt idx="88">
                  <c:v>2.6200000000000001E-2</c:v>
                </c:pt>
                <c:pt idx="89">
                  <c:v>2.7000000000000001E-3</c:v>
                </c:pt>
                <c:pt idx="90">
                  <c:v>1.5800000000000002E-2</c:v>
                </c:pt>
                <c:pt idx="91">
                  <c:v>-4.6999999999999993E-3</c:v>
                </c:pt>
                <c:pt idx="92">
                  <c:v>6.4000000000000003E-3</c:v>
                </c:pt>
                <c:pt idx="93">
                  <c:v>2.5699999999999997E-2</c:v>
                </c:pt>
                <c:pt idx="94">
                  <c:v>2.6699999999999998E-2</c:v>
                </c:pt>
                <c:pt idx="95">
                  <c:v>3.2199999999999999E-2</c:v>
                </c:pt>
                <c:pt idx="96">
                  <c:v>#N/A</c:v>
                </c:pt>
                <c:pt idx="97">
                  <c:v>5.0799999999999998E-2</c:v>
                </c:pt>
                <c:pt idx="98">
                  <c:v>3.9699999999999999E-2</c:v>
                </c:pt>
                <c:pt idx="99">
                  <c:v>5.6399999999999999E-2</c:v>
                </c:pt>
                <c:pt idx="100">
                  <c:v>6.0400000000000002E-2</c:v>
                </c:pt>
                <c:pt idx="101">
                  <c:v>6.0100000000000001E-2</c:v>
                </c:pt>
                <c:pt idx="102">
                  <c:v>3.7599999999999995E-2</c:v>
                </c:pt>
                <c:pt idx="103">
                  <c:v>5.0099999999999999E-2</c:v>
                </c:pt>
                <c:pt idx="104">
                  <c:v>5.5800000000000002E-2</c:v>
                </c:pt>
                <c:pt idx="105">
                  <c:v>4.2900000000000001E-2</c:v>
                </c:pt>
                <c:pt idx="106">
                  <c:v>4.7899999999999998E-2</c:v>
                </c:pt>
                <c:pt idx="107">
                  <c:v>7.4900000000000008E-2</c:v>
                </c:pt>
                <c:pt idx="108">
                  <c:v>6.3500000000000001E-2</c:v>
                </c:pt>
                <c:pt idx="109">
                  <c:v>7.2300000000000003E-2</c:v>
                </c:pt>
                <c:pt idx="110">
                  <c:v>4.41E-2</c:v>
                </c:pt>
                <c:pt idx="111">
                  <c:v>3.1800000000000002E-2</c:v>
                </c:pt>
                <c:pt idx="112">
                  <c:v>4.8399999999999999E-2</c:v>
                </c:pt>
                <c:pt idx="113">
                  <c:v>3.56E-2</c:v>
                </c:pt>
                <c:pt idx="114">
                  <c:v>5.1100000000000007E-2</c:v>
                </c:pt>
                <c:pt idx="115">
                  <c:v>5.6799999999999996E-2</c:v>
                </c:pt>
                <c:pt idx="116">
                  <c:v>8.3299999999999999E-2</c:v>
                </c:pt>
                <c:pt idx="117">
                  <c:v>0.1103</c:v>
                </c:pt>
                <c:pt idx="118">
                  <c:v>0.11269999999999999</c:v>
                </c:pt>
                <c:pt idx="119">
                  <c:v>0.1166</c:v>
                </c:pt>
                <c:pt idx="120">
                  <c:v>0.13300000000000001</c:v>
                </c:pt>
                <c:pt idx="121">
                  <c:v>0.11599999999999999</c:v>
                </c:pt>
                <c:pt idx="122">
                  <c:v>0.1124</c:v>
                </c:pt>
                <c:pt idx="123">
                  <c:v>9.2499999999999999E-2</c:v>
                </c:pt>
                <c:pt idx="124">
                  <c:v>0.11779999999999999</c:v>
                </c:pt>
                <c:pt idx="125">
                  <c:v>0.11840000000000001</c:v>
                </c:pt>
                <c:pt idx="126">
                  <c:v>0.1173</c:v>
                </c:pt>
                <c:pt idx="127">
                  <c:v>0.12480000000000001</c:v>
                </c:pt>
                <c:pt idx="128">
                  <c:v>0.1293</c:v>
                </c:pt>
                <c:pt idx="129">
                  <c:v>0.1268</c:v>
                </c:pt>
                <c:pt idx="130">
                  <c:v>0.14300000000000002</c:v>
                </c:pt>
                <c:pt idx="131">
                  <c:v>0.15689999999999998</c:v>
                </c:pt>
                <c:pt idx="132">
                  <c:v>0.16699999999999998</c:v>
                </c:pt>
                <c:pt idx="133">
                  <c:v>0.17309999999999998</c:v>
                </c:pt>
                <c:pt idx="134">
                  <c:v>0.1971</c:v>
                </c:pt>
                <c:pt idx="135">
                  <c:v>0.19750000000000001</c:v>
                </c:pt>
                <c:pt idx="136">
                  <c:v>0.20899999999999999</c:v>
                </c:pt>
                <c:pt idx="137">
                  <c:v>0.21340000000000001</c:v>
                </c:pt>
                <c:pt idx="138">
                  <c:v>0.2359</c:v>
                </c:pt>
                <c:pt idx="139">
                  <c:v>0.24739999999999998</c:v>
                </c:pt>
                <c:pt idx="140">
                  <c:v>0.17469999999999999</c:v>
                </c:pt>
                <c:pt idx="141">
                  <c:v>0.15890000000000001</c:v>
                </c:pt>
                <c:pt idx="142">
                  <c:v>0.10580000000000001</c:v>
                </c:pt>
                <c:pt idx="143">
                  <c:v>0.14279999999999998</c:v>
                </c:pt>
                <c:pt idx="144">
                  <c:v>0.11689999999999999</c:v>
                </c:pt>
                <c:pt idx="145">
                  <c:v>0.1085</c:v>
                </c:pt>
                <c:pt idx="146">
                  <c:v>0.13150000000000001</c:v>
                </c:pt>
                <c:pt idx="147">
                  <c:v>0.14279999999999998</c:v>
                </c:pt>
                <c:pt idx="148">
                  <c:v>0.125</c:v>
                </c:pt>
                <c:pt idx="149">
                  <c:v>0.11550000000000001</c:v>
                </c:pt>
                <c:pt idx="150">
                  <c:v>9.6999999999999989E-2</c:v>
                </c:pt>
                <c:pt idx="151">
                  <c:v>0.10550000000000001</c:v>
                </c:pt>
                <c:pt idx="152">
                  <c:v>0.12369999999999999</c:v>
                </c:pt>
                <c:pt idx="153">
                  <c:v>8.77E-2</c:v>
                </c:pt>
                <c:pt idx="154">
                  <c:v>9.4399999999999998E-2</c:v>
                </c:pt>
                <c:pt idx="155">
                  <c:v>0.1206</c:v>
                </c:pt>
                <c:pt idx="156">
                  <c:v>0.1414</c:v>
                </c:pt>
                <c:pt idx="157">
                  <c:v>0.13800000000000001</c:v>
                </c:pt>
                <c:pt idx="158">
                  <c:v>0.14829999999999999</c:v>
                </c:pt>
                <c:pt idx="159">
                  <c:v>0.1595</c:v>
                </c:pt>
                <c:pt idx="160">
                  <c:v>0.13</c:v>
                </c:pt>
                <c:pt idx="161">
                  <c:v>0.15560000000000002</c:v>
                </c:pt>
                <c:pt idx="162">
                  <c:v>0.1371</c:v>
                </c:pt>
                <c:pt idx="163">
                  <c:v>0.15869999999999998</c:v>
                </c:pt>
                <c:pt idx="164">
                  <c:v>0.16399999999999998</c:v>
                </c:pt>
                <c:pt idx="165">
                  <c:v>0.182</c:v>
                </c:pt>
                <c:pt idx="166">
                  <c:v>0.21410000000000001</c:v>
                </c:pt>
                <c:pt idx="167">
                  <c:v>0.20649999999999999</c:v>
                </c:pt>
                <c:pt idx="168">
                  <c:v>0.19989999999999999</c:v>
                </c:pt>
                <c:pt idx="169">
                  <c:v>0.19450000000000001</c:v>
                </c:pt>
                <c:pt idx="170">
                  <c:v>0.19120000000000001</c:v>
                </c:pt>
                <c:pt idx="171">
                  <c:v>0.16889999999999999</c:v>
                </c:pt>
                <c:pt idx="172">
                  <c:v>0.17329999999999998</c:v>
                </c:pt>
                <c:pt idx="173">
                  <c:v>0.17180000000000001</c:v>
                </c:pt>
                <c:pt idx="174">
                  <c:v>0.1663</c:v>
                </c:pt>
                <c:pt idx="175">
                  <c:v>0.16489999999999999</c:v>
                </c:pt>
                <c:pt idx="176">
                  <c:v>0.13970000000000002</c:v>
                </c:pt>
                <c:pt idx="177">
                  <c:v>0.14560000000000001</c:v>
                </c:pt>
                <c:pt idx="178">
                  <c:v>9.6000000000000002E-2</c:v>
                </c:pt>
                <c:pt idx="179">
                  <c:v>0.11689999999999999</c:v>
                </c:pt>
                <c:pt idx="180">
                  <c:v>8.9700000000000002E-2</c:v>
                </c:pt>
                <c:pt idx="181">
                  <c:v>9.3399999999999997E-2</c:v>
                </c:pt>
                <c:pt idx="182">
                  <c:v>0.11310000000000001</c:v>
                </c:pt>
                <c:pt idx="183">
                  <c:v>0.15579999999999999</c:v>
                </c:pt>
                <c:pt idx="184">
                  <c:v>0.19210000000000002</c:v>
                </c:pt>
                <c:pt idx="185">
                  <c:v>0.1961</c:v>
                </c:pt>
                <c:pt idx="186">
                  <c:v>0.18760000000000002</c:v>
                </c:pt>
                <c:pt idx="187">
                  <c:v>0.1646</c:v>
                </c:pt>
                <c:pt idx="188">
                  <c:v>0.19269999999999998</c:v>
                </c:pt>
                <c:pt idx="189">
                  <c:v>0.18160000000000001</c:v>
                </c:pt>
                <c:pt idx="190">
                  <c:v>0.19170000000000001</c:v>
                </c:pt>
                <c:pt idx="191">
                  <c:v>0.20329999999999998</c:v>
                </c:pt>
                <c:pt idx="192">
                  <c:v>0.19670000000000001</c:v>
                </c:pt>
                <c:pt idx="193">
                  <c:v>0.18410000000000001</c:v>
                </c:pt>
                <c:pt idx="194">
                  <c:v>0.19399999999999998</c:v>
                </c:pt>
                <c:pt idx="195">
                  <c:v>0.18149999999999999</c:v>
                </c:pt>
                <c:pt idx="196">
                  <c:v>0.18109999999999998</c:v>
                </c:pt>
                <c:pt idx="197">
                  <c:v>0.19750000000000001</c:v>
                </c:pt>
                <c:pt idx="198">
                  <c:v>0.20019999999999999</c:v>
                </c:pt>
                <c:pt idx="199">
                  <c:v>#N/A</c:v>
                </c:pt>
                <c:pt idx="200">
                  <c:v>0.20629999999999998</c:v>
                </c:pt>
                <c:pt idx="201">
                  <c:v>0.21420000000000003</c:v>
                </c:pt>
                <c:pt idx="202">
                  <c:v>0.23129999999999998</c:v>
                </c:pt>
                <c:pt idx="203">
                  <c:v>0.2288</c:v>
                </c:pt>
                <c:pt idx="204">
                  <c:v>0.22750000000000001</c:v>
                </c:pt>
                <c:pt idx="205">
                  <c:v>0.24</c:v>
                </c:pt>
                <c:pt idx="206">
                  <c:v>0.24329999999999999</c:v>
                </c:pt>
                <c:pt idx="207">
                  <c:v>0.2477</c:v>
                </c:pt>
                <c:pt idx="208">
                  <c:v>0.2243</c:v>
                </c:pt>
                <c:pt idx="209">
                  <c:v>0.22519999999999998</c:v>
                </c:pt>
                <c:pt idx="210">
                  <c:v>0.2225</c:v>
                </c:pt>
                <c:pt idx="211">
                  <c:v>0.22760000000000002</c:v>
                </c:pt>
                <c:pt idx="212">
                  <c:v>0.24739999999999998</c:v>
                </c:pt>
                <c:pt idx="213">
                  <c:v>0.25659999999999999</c:v>
                </c:pt>
                <c:pt idx="214">
                  <c:v>0.26600000000000001</c:v>
                </c:pt>
                <c:pt idx="215">
                  <c:v>0.26190000000000002</c:v>
                </c:pt>
                <c:pt idx="216">
                  <c:v>0.26280000000000003</c:v>
                </c:pt>
                <c:pt idx="217">
                  <c:v>0.2737</c:v>
                </c:pt>
                <c:pt idx="218">
                  <c:v>0.26289999999999997</c:v>
                </c:pt>
                <c:pt idx="219">
                  <c:v>0.27229999999999999</c:v>
                </c:pt>
                <c:pt idx="220">
                  <c:v>0.28710000000000002</c:v>
                </c:pt>
                <c:pt idx="221">
                  <c:v>0.28029999999999999</c:v>
                </c:pt>
                <c:pt idx="222">
                  <c:v>0.28010000000000002</c:v>
                </c:pt>
                <c:pt idx="223">
                  <c:v>0.28389999999999999</c:v>
                </c:pt>
                <c:pt idx="224">
                  <c:v>0.26129999999999998</c:v>
                </c:pt>
                <c:pt idx="225">
                  <c:v>0.27</c:v>
                </c:pt>
                <c:pt idx="226">
                  <c:v>0.2475</c:v>
                </c:pt>
                <c:pt idx="227">
                  <c:v>0.28039999999999998</c:v>
                </c:pt>
                <c:pt idx="228">
                  <c:v>0.29010000000000002</c:v>
                </c:pt>
                <c:pt idx="229">
                  <c:v>0.27829999999999999</c:v>
                </c:pt>
                <c:pt idx="230">
                  <c:v>0.27279999999999999</c:v>
                </c:pt>
                <c:pt idx="231">
                  <c:v>0.28089999999999998</c:v>
                </c:pt>
                <c:pt idx="232">
                  <c:v>0.26890000000000003</c:v>
                </c:pt>
                <c:pt idx="233">
                  <c:v>0.25670000000000004</c:v>
                </c:pt>
                <c:pt idx="234">
                  <c:v>#N/A</c:v>
                </c:pt>
                <c:pt idx="235">
                  <c:v>0.27329999999999999</c:v>
                </c:pt>
                <c:pt idx="236">
                  <c:v>0.29870000000000002</c:v>
                </c:pt>
                <c:pt idx="237">
                  <c:v>0.31519999999999998</c:v>
                </c:pt>
                <c:pt idx="238">
                  <c:v>0.3105</c:v>
                </c:pt>
                <c:pt idx="239">
                  <c:v>0.32150000000000001</c:v>
                </c:pt>
                <c:pt idx="240">
                  <c:v>0.32150000000000001</c:v>
                </c:pt>
                <c:pt idx="241">
                  <c:v>0.29580000000000001</c:v>
                </c:pt>
                <c:pt idx="242">
                  <c:v>0.30280000000000001</c:v>
                </c:pt>
                <c:pt idx="243">
                  <c:v>0.27200000000000002</c:v>
                </c:pt>
                <c:pt idx="244">
                  <c:v>0.30420000000000003</c:v>
                </c:pt>
                <c:pt idx="245">
                  <c:v>0.3211</c:v>
                </c:pt>
                <c:pt idx="246">
                  <c:v>0.31719999999999998</c:v>
                </c:pt>
                <c:pt idx="247">
                  <c:v>0.33750000000000002</c:v>
                </c:pt>
                <c:pt idx="248">
                  <c:v>0.33509999999999995</c:v>
                </c:pt>
                <c:pt idx="249">
                  <c:v>0.34920000000000001</c:v>
                </c:pt>
                <c:pt idx="250">
                  <c:v>0.34689999999999999</c:v>
                </c:pt>
                <c:pt idx="251">
                  <c:v>0.34499999999999997</c:v>
                </c:pt>
                <c:pt idx="252">
                  <c:v>0.36009999999999998</c:v>
                </c:pt>
                <c:pt idx="253">
                  <c:v>0.3669</c:v>
                </c:pt>
                <c:pt idx="254">
                  <c:v>0.36320000000000002</c:v>
                </c:pt>
                <c:pt idx="255">
                  <c:v>0.35</c:v>
                </c:pt>
                <c:pt idx="256">
                  <c:v>0.34399999999999997</c:v>
                </c:pt>
                <c:pt idx="257">
                  <c:v>0.34189999999999998</c:v>
                </c:pt>
                <c:pt idx="258">
                  <c:v>0.31190000000000001</c:v>
                </c:pt>
                <c:pt idx="259">
                  <c:v>0.30859999999999999</c:v>
                </c:pt>
                <c:pt idx="260">
                  <c:v>0.32880000000000004</c:v>
                </c:pt>
                <c:pt idx="261">
                  <c:v>0.28190000000000004</c:v>
                </c:pt>
                <c:pt idx="262">
                  <c:v>0.28970000000000001</c:v>
                </c:pt>
                <c:pt idx="263">
                  <c:v>0.33020000000000005</c:v>
                </c:pt>
                <c:pt idx="264">
                  <c:v>0.30859999999999999</c:v>
                </c:pt>
                <c:pt idx="265">
                  <c:v>0.2762</c:v>
                </c:pt>
                <c:pt idx="266">
                  <c:v>0.24719999999999998</c:v>
                </c:pt>
                <c:pt idx="267">
                  <c:v>0.27200000000000002</c:v>
                </c:pt>
                <c:pt idx="268">
                  <c:v>0.24109999999999998</c:v>
                </c:pt>
                <c:pt idx="269">
                  <c:v>0.2833</c:v>
                </c:pt>
                <c:pt idx="270">
                  <c:v>0.2782</c:v>
                </c:pt>
                <c:pt idx="271">
                  <c:v>0.30559999999999998</c:v>
                </c:pt>
                <c:pt idx="272">
                  <c:v>0.29630000000000001</c:v>
                </c:pt>
                <c:pt idx="273">
                  <c:v>0.31040000000000001</c:v>
                </c:pt>
                <c:pt idx="274">
                  <c:v>0.3206</c:v>
                </c:pt>
                <c:pt idx="275">
                  <c:v>0.31929999999999997</c:v>
                </c:pt>
                <c:pt idx="276">
                  <c:v>0.28190000000000004</c:v>
                </c:pt>
                <c:pt idx="277">
                  <c:v>0.27889999999999998</c:v>
                </c:pt>
                <c:pt idx="278">
                  <c:v>0.30370000000000003</c:v>
                </c:pt>
                <c:pt idx="279">
                  <c:v>0.2954</c:v>
                </c:pt>
                <c:pt idx="280">
                  <c:v>0.27979999999999999</c:v>
                </c:pt>
                <c:pt idx="281">
                  <c:v>0.27879999999999999</c:v>
                </c:pt>
                <c:pt idx="282">
                  <c:v>0.31129999999999997</c:v>
                </c:pt>
                <c:pt idx="283">
                  <c:v>0.30459999999999998</c:v>
                </c:pt>
                <c:pt idx="284">
                  <c:v>0.29220000000000002</c:v>
                </c:pt>
                <c:pt idx="285">
                  <c:v>0.31159999999999999</c:v>
                </c:pt>
                <c:pt idx="286">
                  <c:v>0.33909999999999996</c:v>
                </c:pt>
                <c:pt idx="287">
                  <c:v>0.36649999999999999</c:v>
                </c:pt>
                <c:pt idx="288">
                  <c:v>0.36130000000000001</c:v>
                </c:pt>
                <c:pt idx="289">
                  <c:v>0.36869999999999997</c:v>
                </c:pt>
                <c:pt idx="290">
                  <c:v>0.38819999999999999</c:v>
                </c:pt>
                <c:pt idx="291">
                  <c:v>0.40200000000000002</c:v>
                </c:pt>
                <c:pt idx="292">
                  <c:v>0.39520000000000005</c:v>
                </c:pt>
                <c:pt idx="293">
                  <c:v>0.40850000000000003</c:v>
                </c:pt>
                <c:pt idx="294">
                  <c:v>0.39240000000000003</c:v>
                </c:pt>
                <c:pt idx="295">
                  <c:v>0.41729999999999995</c:v>
                </c:pt>
                <c:pt idx="296">
                  <c:v>0.41689999999999999</c:v>
                </c:pt>
                <c:pt idx="297">
                  <c:v>0.40439999999999998</c:v>
                </c:pt>
                <c:pt idx="298">
                  <c:v>0.3926</c:v>
                </c:pt>
                <c:pt idx="299">
                  <c:v>0.40689999999999998</c:v>
                </c:pt>
                <c:pt idx="300">
                  <c:v>0.39030000000000004</c:v>
                </c:pt>
                <c:pt idx="301">
                  <c:v>0.41039999999999999</c:v>
                </c:pt>
                <c:pt idx="302">
                  <c:v>0.41830000000000001</c:v>
                </c:pt>
                <c:pt idx="303">
                  <c:v>0.41439999999999999</c:v>
                </c:pt>
                <c:pt idx="304">
                  <c:v>0.40079999999999999</c:v>
                </c:pt>
                <c:pt idx="305">
                  <c:v>0.40039999999999998</c:v>
                </c:pt>
                <c:pt idx="306">
                  <c:v>0.38060000000000005</c:v>
                </c:pt>
                <c:pt idx="307">
                  <c:v>0.37759999999999999</c:v>
                </c:pt>
                <c:pt idx="308">
                  <c:v>0.35159999999999997</c:v>
                </c:pt>
                <c:pt idx="309">
                  <c:v>0.34939999999999999</c:v>
                </c:pt>
                <c:pt idx="310">
                  <c:v>0.36320000000000002</c:v>
                </c:pt>
                <c:pt idx="311">
                  <c:v>0.37459999999999999</c:v>
                </c:pt>
                <c:pt idx="312">
                  <c:v>0.33979999999999999</c:v>
                </c:pt>
                <c:pt idx="313">
                  <c:v>0.33659999999999995</c:v>
                </c:pt>
                <c:pt idx="314">
                  <c:v>0.29830000000000001</c:v>
                </c:pt>
                <c:pt idx="315">
                  <c:v>0.31620000000000004</c:v>
                </c:pt>
                <c:pt idx="316">
                  <c:v>0.34420000000000001</c:v>
                </c:pt>
                <c:pt idx="317">
                  <c:v>0.33479999999999999</c:v>
                </c:pt>
                <c:pt idx="318">
                  <c:v>0.32390000000000002</c:v>
                </c:pt>
                <c:pt idx="319">
                  <c:v>0.32890000000000003</c:v>
                </c:pt>
                <c:pt idx="320">
                  <c:v>0.35369999999999996</c:v>
                </c:pt>
                <c:pt idx="321">
                  <c:v>0.34670000000000001</c:v>
                </c:pt>
                <c:pt idx="322">
                  <c:v>0.37030000000000002</c:v>
                </c:pt>
                <c:pt idx="323">
                  <c:v>0.37119999999999997</c:v>
                </c:pt>
                <c:pt idx="324">
                  <c:v>0.371</c:v>
                </c:pt>
                <c:pt idx="325">
                  <c:v>0.3639</c:v>
                </c:pt>
                <c:pt idx="326">
                  <c:v>0.36799999999999999</c:v>
                </c:pt>
                <c:pt idx="327">
                  <c:v>#N/A</c:v>
                </c:pt>
                <c:pt idx="328">
                  <c:v>0.36229999999999996</c:v>
                </c:pt>
                <c:pt idx="329">
                  <c:v>0.37079999999999996</c:v>
                </c:pt>
                <c:pt idx="330">
                  <c:v>0.35830000000000001</c:v>
                </c:pt>
                <c:pt idx="331">
                  <c:v>0.38429999999999997</c:v>
                </c:pt>
                <c:pt idx="332">
                  <c:v>0.38409999999999994</c:v>
                </c:pt>
                <c:pt idx="333">
                  <c:v>0.38450000000000001</c:v>
                </c:pt>
                <c:pt idx="334">
                  <c:v>0.38539999999999996</c:v>
                </c:pt>
                <c:pt idx="335">
                  <c:v>0.39579999999999999</c:v>
                </c:pt>
                <c:pt idx="336">
                  <c:v>0.40360000000000001</c:v>
                </c:pt>
                <c:pt idx="337">
                  <c:v>0.41830000000000001</c:v>
                </c:pt>
                <c:pt idx="338">
                  <c:v>0.4093</c:v>
                </c:pt>
                <c:pt idx="339">
                  <c:v>0.40189999999999998</c:v>
                </c:pt>
                <c:pt idx="340">
                  <c:v>0.41830000000000001</c:v>
                </c:pt>
                <c:pt idx="341">
                  <c:v>0.40500000000000003</c:v>
                </c:pt>
                <c:pt idx="342">
                  <c:v>0.42030000000000001</c:v>
                </c:pt>
                <c:pt idx="343">
                  <c:v>0.43290000000000001</c:v>
                </c:pt>
                <c:pt idx="344">
                  <c:v>0.43130000000000002</c:v>
                </c:pt>
                <c:pt idx="345">
                  <c:v>0.44049999999999995</c:v>
                </c:pt>
                <c:pt idx="346">
                  <c:v>0.43840000000000001</c:v>
                </c:pt>
                <c:pt idx="347">
                  <c:v>0.45429999999999998</c:v>
                </c:pt>
                <c:pt idx="348">
                  <c:v>0.46450000000000002</c:v>
                </c:pt>
                <c:pt idx="349">
                  <c:v>0.4632</c:v>
                </c:pt>
                <c:pt idx="350">
                  <c:v>0.4647</c:v>
                </c:pt>
                <c:pt idx="351">
                  <c:v>0.48530000000000001</c:v>
                </c:pt>
                <c:pt idx="352">
                  <c:v>#N/A</c:v>
                </c:pt>
                <c:pt idx="353">
                  <c:v>0.49070000000000003</c:v>
                </c:pt>
                <c:pt idx="354">
                  <c:v>0.498</c:v>
                </c:pt>
                <c:pt idx="355">
                  <c:v>0.48430000000000001</c:v>
                </c:pt>
                <c:pt idx="356">
                  <c:v>0.49840000000000001</c:v>
                </c:pt>
                <c:pt idx="357">
                  <c:v>0.499</c:v>
                </c:pt>
                <c:pt idx="358">
                  <c:v>0.50560000000000005</c:v>
                </c:pt>
                <c:pt idx="359">
                  <c:v>0.51680000000000004</c:v>
                </c:pt>
                <c:pt idx="360">
                  <c:v>0.504</c:v>
                </c:pt>
                <c:pt idx="361">
                  <c:v>0.4894</c:v>
                </c:pt>
                <c:pt idx="362">
                  <c:v>0.46869999999999995</c:v>
                </c:pt>
                <c:pt idx="363">
                  <c:v>0.49030000000000001</c:v>
                </c:pt>
                <c:pt idx="364">
                  <c:v>0.505</c:v>
                </c:pt>
                <c:pt idx="365">
                  <c:v>0.51570000000000005</c:v>
                </c:pt>
                <c:pt idx="366">
                  <c:v>0.53090000000000004</c:v>
                </c:pt>
                <c:pt idx="367">
                  <c:v>0.53049999999999997</c:v>
                </c:pt>
                <c:pt idx="368">
                  <c:v>0.5151</c:v>
                </c:pt>
                <c:pt idx="369">
                  <c:v>0.51369999999999993</c:v>
                </c:pt>
                <c:pt idx="370">
                  <c:v>0.52090000000000003</c:v>
                </c:pt>
                <c:pt idx="371">
                  <c:v>0.51969999999999994</c:v>
                </c:pt>
                <c:pt idx="372">
                  <c:v>0.5141</c:v>
                </c:pt>
                <c:pt idx="373">
                  <c:v>0.52450000000000008</c:v>
                </c:pt>
                <c:pt idx="374">
                  <c:v>0.52739999999999998</c:v>
                </c:pt>
                <c:pt idx="375">
                  <c:v>0.53590000000000004</c:v>
                </c:pt>
                <c:pt idx="376">
                  <c:v>0.53459999999999996</c:v>
                </c:pt>
                <c:pt idx="377">
                  <c:v>0.52939999999999998</c:v>
                </c:pt>
                <c:pt idx="378">
                  <c:v>0.51829999999999998</c:v>
                </c:pt>
                <c:pt idx="379">
                  <c:v>0.51869999999999994</c:v>
                </c:pt>
                <c:pt idx="380">
                  <c:v>0.52770000000000006</c:v>
                </c:pt>
                <c:pt idx="381">
                  <c:v>0.53600000000000003</c:v>
                </c:pt>
                <c:pt idx="382">
                  <c:v>0.54270000000000007</c:v>
                </c:pt>
                <c:pt idx="383">
                  <c:v>0.52929999999999999</c:v>
                </c:pt>
                <c:pt idx="384">
                  <c:v>0.50869999999999993</c:v>
                </c:pt>
                <c:pt idx="385">
                  <c:v>0.52369999999999994</c:v>
                </c:pt>
                <c:pt idx="386">
                  <c:v>0.54349999999999998</c:v>
                </c:pt>
                <c:pt idx="387">
                  <c:v>0.56310000000000004</c:v>
                </c:pt>
                <c:pt idx="388">
                  <c:v>0.56119999999999992</c:v>
                </c:pt>
                <c:pt idx="389">
                  <c:v>0.56040000000000001</c:v>
                </c:pt>
                <c:pt idx="390">
                  <c:v>0.55069999999999997</c:v>
                </c:pt>
                <c:pt idx="391">
                  <c:v>0.56569999999999998</c:v>
                </c:pt>
                <c:pt idx="392">
                  <c:v>0.5827</c:v>
                </c:pt>
                <c:pt idx="393">
                  <c:v>0.57379999999999998</c:v>
                </c:pt>
                <c:pt idx="394">
                  <c:v>0.57430000000000003</c:v>
                </c:pt>
                <c:pt idx="395">
                  <c:v>0.5736</c:v>
                </c:pt>
                <c:pt idx="396">
                  <c:v>0.5796</c:v>
                </c:pt>
                <c:pt idx="397">
                  <c:v>0.58009999999999995</c:v>
                </c:pt>
                <c:pt idx="398">
                  <c:v>0.5736</c:v>
                </c:pt>
                <c:pt idx="399">
                  <c:v>0.56710000000000005</c:v>
                </c:pt>
                <c:pt idx="400">
                  <c:v>0.55169999999999997</c:v>
                </c:pt>
                <c:pt idx="401">
                  <c:v>0.55220000000000002</c:v>
                </c:pt>
                <c:pt idx="402">
                  <c:v>0.55020000000000002</c:v>
                </c:pt>
                <c:pt idx="403">
                  <c:v>0.56389999999999996</c:v>
                </c:pt>
                <c:pt idx="404">
                  <c:v>0.56490000000000007</c:v>
                </c:pt>
                <c:pt idx="405">
                  <c:v>0.54120000000000001</c:v>
                </c:pt>
                <c:pt idx="406">
                  <c:v>0.51249999999999996</c:v>
                </c:pt>
                <c:pt idx="407">
                  <c:v>0.51319999999999999</c:v>
                </c:pt>
                <c:pt idx="408">
                  <c:v>0.53439999999999999</c:v>
                </c:pt>
                <c:pt idx="409">
                  <c:v>0.55500000000000005</c:v>
                </c:pt>
                <c:pt idx="410">
                  <c:v>0.55610000000000004</c:v>
                </c:pt>
                <c:pt idx="411">
                  <c:v>0.54039999999999999</c:v>
                </c:pt>
                <c:pt idx="412">
                  <c:v>0.49439999999999995</c:v>
                </c:pt>
                <c:pt idx="413">
                  <c:v>0.4929</c:v>
                </c:pt>
                <c:pt idx="414">
                  <c:v>0.48280000000000001</c:v>
                </c:pt>
                <c:pt idx="415">
                  <c:v>0.50409999999999999</c:v>
                </c:pt>
                <c:pt idx="416">
                  <c:v>0.46880000000000005</c:v>
                </c:pt>
                <c:pt idx="417">
                  <c:v>0.49020000000000002</c:v>
                </c:pt>
                <c:pt idx="418">
                  <c:v>0.50039999999999996</c:v>
                </c:pt>
                <c:pt idx="419">
                  <c:v>0.51419999999999999</c:v>
                </c:pt>
                <c:pt idx="420">
                  <c:v>0.50850000000000006</c:v>
                </c:pt>
                <c:pt idx="421">
                  <c:v>0.50049999999999994</c:v>
                </c:pt>
                <c:pt idx="422">
                  <c:v>0.49280000000000002</c:v>
                </c:pt>
                <c:pt idx="423">
                  <c:v>0.50139999999999996</c:v>
                </c:pt>
                <c:pt idx="424">
                  <c:v>0.53560000000000008</c:v>
                </c:pt>
                <c:pt idx="425">
                  <c:v>0.54780000000000006</c:v>
                </c:pt>
                <c:pt idx="426">
                  <c:v>0.56090000000000007</c:v>
                </c:pt>
                <c:pt idx="427">
                  <c:v>0.57609999999999995</c:v>
                </c:pt>
                <c:pt idx="428">
                  <c:v>0.5716</c:v>
                </c:pt>
                <c:pt idx="429">
                  <c:v>0.57799999999999996</c:v>
                </c:pt>
                <c:pt idx="430">
                  <c:v>0.57269999999999999</c:v>
                </c:pt>
                <c:pt idx="431">
                  <c:v>0.57789999999999997</c:v>
                </c:pt>
                <c:pt idx="432">
                  <c:v>0.58299999999999996</c:v>
                </c:pt>
                <c:pt idx="433">
                  <c:v>0.58009999999999995</c:v>
                </c:pt>
                <c:pt idx="434">
                  <c:v>0.5968</c:v>
                </c:pt>
                <c:pt idx="435">
                  <c:v>0.60389999999999999</c:v>
                </c:pt>
                <c:pt idx="436">
                  <c:v>0.60270000000000001</c:v>
                </c:pt>
                <c:pt idx="437">
                  <c:v>0.61570000000000003</c:v>
                </c:pt>
                <c:pt idx="438">
                  <c:v>0.62539999999999996</c:v>
                </c:pt>
                <c:pt idx="439">
                  <c:v>0.65060000000000007</c:v>
                </c:pt>
                <c:pt idx="440">
                  <c:v>0.6581999999999999</c:v>
                </c:pt>
                <c:pt idx="441">
                  <c:v>0.66780000000000006</c:v>
                </c:pt>
                <c:pt idx="442">
                  <c:v>0.66090000000000004</c:v>
                </c:pt>
                <c:pt idx="443">
                  <c:v>0.6331</c:v>
                </c:pt>
                <c:pt idx="444">
                  <c:v>0.64180000000000004</c:v>
                </c:pt>
                <c:pt idx="445">
                  <c:v>0.66120000000000001</c:v>
                </c:pt>
                <c:pt idx="446">
                  <c:v>0.65930000000000011</c:v>
                </c:pt>
                <c:pt idx="447">
                  <c:v>0.67720000000000002</c:v>
                </c:pt>
                <c:pt idx="448">
                  <c:v>0.67120000000000002</c:v>
                </c:pt>
                <c:pt idx="449">
                  <c:v>0.68840000000000001</c:v>
                </c:pt>
                <c:pt idx="450">
                  <c:v>0.70129999999999992</c:v>
                </c:pt>
                <c:pt idx="451">
                  <c:v>0.68189999999999995</c:v>
                </c:pt>
                <c:pt idx="452">
                  <c:v>0.6784</c:v>
                </c:pt>
                <c:pt idx="453">
                  <c:v>0.69030000000000002</c:v>
                </c:pt>
                <c:pt idx="454">
                  <c:v>#N/A</c:v>
                </c:pt>
                <c:pt idx="455">
                  <c:v>0.64639999999999997</c:v>
                </c:pt>
                <c:pt idx="456">
                  <c:v>0.68980000000000008</c:v>
                </c:pt>
                <c:pt idx="457">
                  <c:v>0.67370000000000008</c:v>
                </c:pt>
                <c:pt idx="458">
                  <c:v>0.65280000000000005</c:v>
                </c:pt>
                <c:pt idx="459">
                  <c:v>0.66680000000000006</c:v>
                </c:pt>
                <c:pt idx="460">
                  <c:v>0.63929999999999998</c:v>
                </c:pt>
                <c:pt idx="461">
                  <c:v>0.6552</c:v>
                </c:pt>
                <c:pt idx="462">
                  <c:v>0.71329999999999993</c:v>
                </c:pt>
                <c:pt idx="463">
                  <c:v>0.72089999999999999</c:v>
                </c:pt>
                <c:pt idx="464">
                  <c:v>0.70219999999999994</c:v>
                </c:pt>
                <c:pt idx="465">
                  <c:v>0.73750000000000004</c:v>
                </c:pt>
                <c:pt idx="466">
                  <c:v>0.70930000000000004</c:v>
                </c:pt>
                <c:pt idx="467">
                  <c:v>0.68129999999999991</c:v>
                </c:pt>
                <c:pt idx="468">
                  <c:v>0.72760000000000002</c:v>
                </c:pt>
                <c:pt idx="469">
                  <c:v>0.67819999999999991</c:v>
                </c:pt>
                <c:pt idx="470">
                  <c:v>0.66739999999999999</c:v>
                </c:pt>
                <c:pt idx="471">
                  <c:v>0.64650000000000007</c:v>
                </c:pt>
                <c:pt idx="472">
                  <c:v>0.68900000000000006</c:v>
                </c:pt>
                <c:pt idx="473">
                  <c:v>0.71140000000000003</c:v>
                </c:pt>
                <c:pt idx="474">
                  <c:v>0.72099999999999997</c:v>
                </c:pt>
                <c:pt idx="475">
                  <c:v>#N/A</c:v>
                </c:pt>
                <c:pt idx="476">
                  <c:v>0.75769999999999993</c:v>
                </c:pt>
                <c:pt idx="477">
                  <c:v>0.74790000000000001</c:v>
                </c:pt>
                <c:pt idx="478">
                  <c:v>0.74950000000000006</c:v>
                </c:pt>
                <c:pt idx="479">
                  <c:v>0.73799999999999999</c:v>
                </c:pt>
                <c:pt idx="480">
                  <c:v>0.72959999999999992</c:v>
                </c:pt>
                <c:pt idx="481">
                  <c:v>0.74680000000000002</c:v>
                </c:pt>
                <c:pt idx="482">
                  <c:v>0.7278</c:v>
                </c:pt>
                <c:pt idx="483">
                  <c:v>0.67469999999999997</c:v>
                </c:pt>
                <c:pt idx="484">
                  <c:v>0.66610000000000003</c:v>
                </c:pt>
                <c:pt idx="485">
                  <c:v>0.64980000000000004</c:v>
                </c:pt>
                <c:pt idx="486">
                  <c:v>0.65129999999999999</c:v>
                </c:pt>
                <c:pt idx="487">
                  <c:v>0.67130000000000001</c:v>
                </c:pt>
                <c:pt idx="488">
                  <c:v>0.67849999999999999</c:v>
                </c:pt>
                <c:pt idx="489">
                  <c:v>0.63500000000000001</c:v>
                </c:pt>
                <c:pt idx="490">
                  <c:v>0.6492</c:v>
                </c:pt>
                <c:pt idx="491">
                  <c:v>#N/A</c:v>
                </c:pt>
                <c:pt idx="492">
                  <c:v>0.60860000000000003</c:v>
                </c:pt>
                <c:pt idx="493">
                  <c:v>0.58700000000000008</c:v>
                </c:pt>
                <c:pt idx="494">
                  <c:v>0.5665</c:v>
                </c:pt>
                <c:pt idx="495">
                  <c:v>0.53649999999999998</c:v>
                </c:pt>
                <c:pt idx="496">
                  <c:v>0.54179999999999995</c:v>
                </c:pt>
                <c:pt idx="497">
                  <c:v>0.50629999999999997</c:v>
                </c:pt>
                <c:pt idx="498">
                  <c:v>0.51670000000000005</c:v>
                </c:pt>
                <c:pt idx="499">
                  <c:v>0.50670000000000004</c:v>
                </c:pt>
                <c:pt idx="500">
                  <c:v>0.57210000000000005</c:v>
                </c:pt>
                <c:pt idx="501">
                  <c:v>0.61329999999999996</c:v>
                </c:pt>
                <c:pt idx="502">
                  <c:v>0.61719999999999997</c:v>
                </c:pt>
                <c:pt idx="503">
                  <c:v>0.62979999999999992</c:v>
                </c:pt>
                <c:pt idx="504">
                  <c:v>0.58040000000000003</c:v>
                </c:pt>
                <c:pt idx="505">
                  <c:v>0.58829999999999993</c:v>
                </c:pt>
                <c:pt idx="506">
                  <c:v>0.57719999999999994</c:v>
                </c:pt>
                <c:pt idx="507">
                  <c:v>0.59719999999999995</c:v>
                </c:pt>
                <c:pt idx="508">
                  <c:v>0.63300000000000001</c:v>
                </c:pt>
                <c:pt idx="509">
                  <c:v>0.58850000000000002</c:v>
                </c:pt>
                <c:pt idx="510">
                  <c:v>0.54189999999999994</c:v>
                </c:pt>
                <c:pt idx="511">
                  <c:v>0.54100000000000004</c:v>
                </c:pt>
                <c:pt idx="512">
                  <c:v>0.58140000000000003</c:v>
                </c:pt>
                <c:pt idx="513">
                  <c:v>0.57930000000000004</c:v>
                </c:pt>
                <c:pt idx="514">
                  <c:v>0.53220000000000001</c:v>
                </c:pt>
                <c:pt idx="515">
                  <c:v>0.5161</c:v>
                </c:pt>
                <c:pt idx="516">
                  <c:v>0.50280000000000002</c:v>
                </c:pt>
                <c:pt idx="517">
                  <c:v>0.46479999999999999</c:v>
                </c:pt>
                <c:pt idx="518">
                  <c:v>0.51500000000000001</c:v>
                </c:pt>
                <c:pt idx="519">
                  <c:v>0.53579999999999994</c:v>
                </c:pt>
                <c:pt idx="520">
                  <c:v>0.53280000000000005</c:v>
                </c:pt>
                <c:pt idx="521">
                  <c:v>0.50259999999999994</c:v>
                </c:pt>
                <c:pt idx="522">
                  <c:v>0.53539999999999999</c:v>
                </c:pt>
                <c:pt idx="523">
                  <c:v>0.51639999999999997</c:v>
                </c:pt>
                <c:pt idx="524">
                  <c:v>0.4899</c:v>
                </c:pt>
                <c:pt idx="525">
                  <c:v>0.4355</c:v>
                </c:pt>
                <c:pt idx="526">
                  <c:v>0.42930000000000001</c:v>
                </c:pt>
                <c:pt idx="527">
                  <c:v>0.4854</c:v>
                </c:pt>
                <c:pt idx="528">
                  <c:v>0.45939999999999998</c:v>
                </c:pt>
                <c:pt idx="529">
                  <c:v>0.43340000000000001</c:v>
                </c:pt>
                <c:pt idx="530">
                  <c:v>0.40679999999999999</c:v>
                </c:pt>
                <c:pt idx="531">
                  <c:v>0.45390000000000003</c:v>
                </c:pt>
                <c:pt idx="532">
                  <c:v>0.50139999999999996</c:v>
                </c:pt>
                <c:pt idx="533">
                  <c:v>0.51170000000000004</c:v>
                </c:pt>
                <c:pt idx="534">
                  <c:v>0.54349999999999998</c:v>
                </c:pt>
                <c:pt idx="535">
                  <c:v>0.5403</c:v>
                </c:pt>
                <c:pt idx="536">
                  <c:v>0.56240000000000001</c:v>
                </c:pt>
                <c:pt idx="537">
                  <c:v>0.5383</c:v>
                </c:pt>
                <c:pt idx="538">
                  <c:v>0.57850000000000001</c:v>
                </c:pt>
                <c:pt idx="539">
                  <c:v>0.57729999999999992</c:v>
                </c:pt>
                <c:pt idx="540">
                  <c:v>0.59670000000000001</c:v>
                </c:pt>
                <c:pt idx="541">
                  <c:v>0.63</c:v>
                </c:pt>
                <c:pt idx="542">
                  <c:v>0.6079</c:v>
                </c:pt>
                <c:pt idx="543">
                  <c:v>0.58229999999999993</c:v>
                </c:pt>
                <c:pt idx="544">
                  <c:v>0.58040000000000003</c:v>
                </c:pt>
                <c:pt idx="545">
                  <c:v>0.61009999999999998</c:v>
                </c:pt>
                <c:pt idx="546">
                  <c:v>0.57590000000000008</c:v>
                </c:pt>
                <c:pt idx="547">
                  <c:v>0.53659999999999997</c:v>
                </c:pt>
                <c:pt idx="548">
                  <c:v>0.54069999999999996</c:v>
                </c:pt>
                <c:pt idx="549">
                  <c:v>0.51950000000000007</c:v>
                </c:pt>
                <c:pt idx="550">
                  <c:v>0.48080000000000001</c:v>
                </c:pt>
                <c:pt idx="551">
                  <c:v>0.47520000000000001</c:v>
                </c:pt>
                <c:pt idx="552">
                  <c:v>0.49819999999999998</c:v>
                </c:pt>
                <c:pt idx="553">
                  <c:v>0.46250000000000002</c:v>
                </c:pt>
                <c:pt idx="554">
                  <c:v>0.46689999999999998</c:v>
                </c:pt>
                <c:pt idx="555">
                  <c:v>0.49409999999999998</c:v>
                </c:pt>
                <c:pt idx="556">
                  <c:v>0.49299999999999999</c:v>
                </c:pt>
                <c:pt idx="557">
                  <c:v>0.4677</c:v>
                </c:pt>
                <c:pt idx="558">
                  <c:v>0.42680000000000001</c:v>
                </c:pt>
                <c:pt idx="559">
                  <c:v>0.44750000000000001</c:v>
                </c:pt>
                <c:pt idx="560">
                  <c:v>0.39429999999999998</c:v>
                </c:pt>
                <c:pt idx="561">
                  <c:v>0.41450000000000004</c:v>
                </c:pt>
                <c:pt idx="562">
                  <c:v>0.4708</c:v>
                </c:pt>
                <c:pt idx="563">
                  <c:v>0.41020000000000001</c:v>
                </c:pt>
                <c:pt idx="564">
                  <c:v>0.43200000000000005</c:v>
                </c:pt>
                <c:pt idx="565">
                  <c:v>0.43420000000000003</c:v>
                </c:pt>
                <c:pt idx="566">
                  <c:v>0.48430000000000001</c:v>
                </c:pt>
                <c:pt idx="567">
                  <c:v>0.41240000000000004</c:v>
                </c:pt>
                <c:pt idx="568">
                  <c:v>0.4012</c:v>
                </c:pt>
                <c:pt idx="569">
                  <c:v>0.34720000000000001</c:v>
                </c:pt>
                <c:pt idx="570">
                  <c:v>0.36780000000000002</c:v>
                </c:pt>
                <c:pt idx="571">
                  <c:v>0.32439999999999997</c:v>
                </c:pt>
                <c:pt idx="572">
                  <c:v>0.31069999999999998</c:v>
                </c:pt>
                <c:pt idx="573">
                  <c:v>0.35489999999999999</c:v>
                </c:pt>
                <c:pt idx="574">
                  <c:v>0.34289999999999998</c:v>
                </c:pt>
                <c:pt idx="575">
                  <c:v>0.38179999999999997</c:v>
                </c:pt>
                <c:pt idx="576">
                  <c:v>0.318</c:v>
                </c:pt>
                <c:pt idx="577">
                  <c:v>0.30399999999999999</c:v>
                </c:pt>
                <c:pt idx="578">
                  <c:v>0.30649999999999999</c:v>
                </c:pt>
                <c:pt idx="579">
                  <c:v>0.3367</c:v>
                </c:pt>
                <c:pt idx="580">
                  <c:v>0.31640000000000001</c:v>
                </c:pt>
                <c:pt idx="581">
                  <c:v>0.3322</c:v>
                </c:pt>
                <c:pt idx="582">
                  <c:v>0.3644</c:v>
                </c:pt>
                <c:pt idx="583">
                  <c:v>0.41070000000000001</c:v>
                </c:pt>
                <c:pt idx="584">
                  <c:v>#N/A</c:v>
                </c:pt>
                <c:pt idx="585">
                  <c:v>0.4007</c:v>
                </c:pt>
                <c:pt idx="586">
                  <c:v>0.39630000000000004</c:v>
                </c:pt>
                <c:pt idx="587">
                  <c:v>0.4299</c:v>
                </c:pt>
                <c:pt idx="588">
                  <c:v>0.3957</c:v>
                </c:pt>
                <c:pt idx="589">
                  <c:v>0.39600000000000002</c:v>
                </c:pt>
                <c:pt idx="590">
                  <c:v>0.41289999999999999</c:v>
                </c:pt>
                <c:pt idx="591">
                  <c:v>0.39689999999999998</c:v>
                </c:pt>
                <c:pt idx="592">
                  <c:v>0.35950000000000004</c:v>
                </c:pt>
                <c:pt idx="593">
                  <c:v>0.30719999999999997</c:v>
                </c:pt>
                <c:pt idx="594">
                  <c:v>0.2492</c:v>
                </c:pt>
                <c:pt idx="595">
                  <c:v>0.25690000000000002</c:v>
                </c:pt>
                <c:pt idx="596">
                  <c:v>0.28370000000000001</c:v>
                </c:pt>
                <c:pt idx="597">
                  <c:v>0.23089999999999999</c:v>
                </c:pt>
                <c:pt idx="598">
                  <c:v>0.24280000000000002</c:v>
                </c:pt>
                <c:pt idx="599">
                  <c:v>#N/A</c:v>
                </c:pt>
                <c:pt idx="600">
                  <c:v>0.27449999999999997</c:v>
                </c:pt>
                <c:pt idx="601">
                  <c:v>0.26929999999999998</c:v>
                </c:pt>
                <c:pt idx="602">
                  <c:v>0.28760000000000002</c:v>
                </c:pt>
                <c:pt idx="603">
                  <c:v>0.33360000000000001</c:v>
                </c:pt>
                <c:pt idx="604">
                  <c:v>0.32520000000000004</c:v>
                </c:pt>
                <c:pt idx="605">
                  <c:v>0.28539999999999999</c:v>
                </c:pt>
                <c:pt idx="606">
                  <c:v>0.28809999999999997</c:v>
                </c:pt>
                <c:pt idx="607">
                  <c:v>0.27110000000000001</c:v>
                </c:pt>
                <c:pt idx="608">
                  <c:v>0.27390000000000003</c:v>
                </c:pt>
                <c:pt idx="609">
                  <c:v>#N/A</c:v>
                </c:pt>
                <c:pt idx="610">
                  <c:v>0.28970000000000001</c:v>
                </c:pt>
                <c:pt idx="611">
                  <c:v>0.30109999999999998</c:v>
                </c:pt>
                <c:pt idx="612">
                  <c:v>0.32799999999999996</c:v>
                </c:pt>
                <c:pt idx="613">
                  <c:v>0.32880000000000004</c:v>
                </c:pt>
                <c:pt idx="614">
                  <c:v>0.31</c:v>
                </c:pt>
                <c:pt idx="615">
                  <c:v>0.29189999999999999</c:v>
                </c:pt>
                <c:pt idx="616">
                  <c:v>0.28920000000000001</c:v>
                </c:pt>
                <c:pt idx="617">
                  <c:v>0.30079999999999996</c:v>
                </c:pt>
                <c:pt idx="618">
                  <c:v>0.32390000000000002</c:v>
                </c:pt>
                <c:pt idx="619">
                  <c:v>0.31059999999999999</c:v>
                </c:pt>
                <c:pt idx="620">
                  <c:v>0.35100000000000003</c:v>
                </c:pt>
                <c:pt idx="621">
                  <c:v>0.37209999999999999</c:v>
                </c:pt>
                <c:pt idx="622">
                  <c:v>0.39140000000000003</c:v>
                </c:pt>
                <c:pt idx="623">
                  <c:v>0.37200000000000005</c:v>
                </c:pt>
                <c:pt idx="624">
                  <c:v>0.36359999999999998</c:v>
                </c:pt>
                <c:pt idx="625">
                  <c:v>0.34179999999999999</c:v>
                </c:pt>
                <c:pt idx="626">
                  <c:v>0.3997</c:v>
                </c:pt>
                <c:pt idx="627">
                  <c:v>0.42009999999999997</c:v>
                </c:pt>
                <c:pt idx="628">
                  <c:v>0.44170000000000004</c:v>
                </c:pt>
                <c:pt idx="629">
                  <c:v>0.43890000000000001</c:v>
                </c:pt>
                <c:pt idx="630">
                  <c:v>0.42899999999999999</c:v>
                </c:pt>
                <c:pt idx="631">
                  <c:v>0.46710000000000002</c:v>
                </c:pt>
                <c:pt idx="632">
                  <c:v>0.47360000000000002</c:v>
                </c:pt>
                <c:pt idx="633">
                  <c:v>0.47060000000000002</c:v>
                </c:pt>
                <c:pt idx="634">
                  <c:v>0.45740000000000003</c:v>
                </c:pt>
                <c:pt idx="635">
                  <c:v>0.44270000000000004</c:v>
                </c:pt>
                <c:pt idx="636">
                  <c:v>0.48280000000000001</c:v>
                </c:pt>
                <c:pt idx="637">
                  <c:v>0.47570000000000001</c:v>
                </c:pt>
                <c:pt idx="638">
                  <c:v>0.50629999999999997</c:v>
                </c:pt>
                <c:pt idx="639">
                  <c:v>0.51580000000000004</c:v>
                </c:pt>
                <c:pt idx="640">
                  <c:v>0.51129999999999998</c:v>
                </c:pt>
                <c:pt idx="641">
                  <c:v>0.50080000000000002</c:v>
                </c:pt>
                <c:pt idx="642">
                  <c:v>0.50859999999999994</c:v>
                </c:pt>
                <c:pt idx="643">
                  <c:v>0.48090000000000005</c:v>
                </c:pt>
                <c:pt idx="644">
                  <c:v>0.4395</c:v>
                </c:pt>
                <c:pt idx="645">
                  <c:v>0.43579999999999997</c:v>
                </c:pt>
                <c:pt idx="646">
                  <c:v>0.43640000000000001</c:v>
                </c:pt>
                <c:pt idx="647">
                  <c:v>0.46060000000000001</c:v>
                </c:pt>
                <c:pt idx="648">
                  <c:v>0.39789999999999998</c:v>
                </c:pt>
                <c:pt idx="649">
                  <c:v>0.38009999999999999</c:v>
                </c:pt>
                <c:pt idx="650">
                  <c:v>0.3654</c:v>
                </c:pt>
                <c:pt idx="651">
                  <c:v>0.35249999999999998</c:v>
                </c:pt>
                <c:pt idx="652">
                  <c:v>0.34570000000000001</c:v>
                </c:pt>
                <c:pt idx="653">
                  <c:v>0.32840000000000003</c:v>
                </c:pt>
                <c:pt idx="654">
                  <c:v>0.31940000000000002</c:v>
                </c:pt>
                <c:pt idx="655">
                  <c:v>0.34060000000000001</c:v>
                </c:pt>
                <c:pt idx="656">
                  <c:v>0.34560000000000002</c:v>
                </c:pt>
                <c:pt idx="657">
                  <c:v>0.37229999999999996</c:v>
                </c:pt>
                <c:pt idx="658">
                  <c:v>0.39399999999999996</c:v>
                </c:pt>
                <c:pt idx="659">
                  <c:v>0.31969999999999998</c:v>
                </c:pt>
                <c:pt idx="660">
                  <c:v>0.32539999999999997</c:v>
                </c:pt>
                <c:pt idx="661">
                  <c:v>0.29380000000000001</c:v>
                </c:pt>
                <c:pt idx="662">
                  <c:v>0.28789999999999999</c:v>
                </c:pt>
                <c:pt idx="663">
                  <c:v>0.29760000000000003</c:v>
                </c:pt>
                <c:pt idx="664">
                  <c:v>0.28989999999999999</c:v>
                </c:pt>
                <c:pt idx="665">
                  <c:v>0.2697</c:v>
                </c:pt>
                <c:pt idx="666">
                  <c:v>0.25700000000000001</c:v>
                </c:pt>
                <c:pt idx="667">
                  <c:v>0.24010000000000001</c:v>
                </c:pt>
                <c:pt idx="668">
                  <c:v>0.23139999999999999</c:v>
                </c:pt>
                <c:pt idx="669">
                  <c:v>0.2339</c:v>
                </c:pt>
                <c:pt idx="670">
                  <c:v>0.24640000000000001</c:v>
                </c:pt>
                <c:pt idx="671">
                  <c:v>0.21329999999999999</c:v>
                </c:pt>
                <c:pt idx="672">
                  <c:v>0.19020000000000001</c:v>
                </c:pt>
                <c:pt idx="673">
                  <c:v>0.22769999999999999</c:v>
                </c:pt>
                <c:pt idx="674">
                  <c:v>0.26890000000000003</c:v>
                </c:pt>
                <c:pt idx="675">
                  <c:v>0.27350000000000002</c:v>
                </c:pt>
                <c:pt idx="676">
                  <c:v>0.26269999999999999</c:v>
                </c:pt>
                <c:pt idx="677">
                  <c:v>0.2102</c:v>
                </c:pt>
                <c:pt idx="678">
                  <c:v>0.1905</c:v>
                </c:pt>
                <c:pt idx="679">
                  <c:v>0.17230000000000001</c:v>
                </c:pt>
                <c:pt idx="680">
                  <c:v>0.16839999999999999</c:v>
                </c:pt>
                <c:pt idx="681">
                  <c:v>0.20469999999999999</c:v>
                </c:pt>
                <c:pt idx="682">
                  <c:v>0.17030000000000001</c:v>
                </c:pt>
                <c:pt idx="683">
                  <c:v>0.20660000000000001</c:v>
                </c:pt>
                <c:pt idx="684">
                  <c:v>0.21660000000000001</c:v>
                </c:pt>
                <c:pt idx="685">
                  <c:v>0.2132</c:v>
                </c:pt>
                <c:pt idx="686">
                  <c:v>0.21420000000000003</c:v>
                </c:pt>
                <c:pt idx="687">
                  <c:v>0.24640000000000001</c:v>
                </c:pt>
                <c:pt idx="688">
                  <c:v>0.26350000000000001</c:v>
                </c:pt>
                <c:pt idx="689">
                  <c:v>0.28789999999999999</c:v>
                </c:pt>
                <c:pt idx="690">
                  <c:v>0.25900000000000001</c:v>
                </c:pt>
                <c:pt idx="691">
                  <c:v>0.24420000000000003</c:v>
                </c:pt>
                <c:pt idx="692">
                  <c:v>0.29909999999999998</c:v>
                </c:pt>
                <c:pt idx="693">
                  <c:v>0.28179999999999999</c:v>
                </c:pt>
                <c:pt idx="694">
                  <c:v>0.2712</c:v>
                </c:pt>
                <c:pt idx="695">
                  <c:v>0.22719999999999999</c:v>
                </c:pt>
                <c:pt idx="696">
                  <c:v>0.191</c:v>
                </c:pt>
                <c:pt idx="697">
                  <c:v>0.21260000000000001</c:v>
                </c:pt>
                <c:pt idx="698">
                  <c:v>0.23309999999999997</c:v>
                </c:pt>
                <c:pt idx="699">
                  <c:v>0.2447</c:v>
                </c:pt>
                <c:pt idx="700">
                  <c:v>0.21239999999999998</c:v>
                </c:pt>
                <c:pt idx="701">
                  <c:v>0.31309999999999999</c:v>
                </c:pt>
                <c:pt idx="702">
                  <c:v>0.33560000000000001</c:v>
                </c:pt>
                <c:pt idx="703">
                  <c:v>0.32270000000000004</c:v>
                </c:pt>
                <c:pt idx="704">
                  <c:v>0.33909999999999996</c:v>
                </c:pt>
                <c:pt idx="705">
                  <c:v>0.32020000000000004</c:v>
                </c:pt>
                <c:pt idx="706">
                  <c:v>0.3226</c:v>
                </c:pt>
                <c:pt idx="707">
                  <c:v>0.32420000000000004</c:v>
                </c:pt>
                <c:pt idx="708">
                  <c:v>0.30980000000000002</c:v>
                </c:pt>
                <c:pt idx="709">
                  <c:v>0.33529999999999999</c:v>
                </c:pt>
                <c:pt idx="710">
                  <c:v>0.34720000000000001</c:v>
                </c:pt>
                <c:pt idx="711">
                  <c:v>#N/A</c:v>
                </c:pt>
                <c:pt idx="712">
                  <c:v>0.33889999999999998</c:v>
                </c:pt>
                <c:pt idx="713">
                  <c:v>0.31059999999999999</c:v>
                </c:pt>
                <c:pt idx="714">
                  <c:v>0.2984</c:v>
                </c:pt>
                <c:pt idx="715">
                  <c:v>0.36399999999999999</c:v>
                </c:pt>
                <c:pt idx="716">
                  <c:v>0.3649</c:v>
                </c:pt>
                <c:pt idx="717">
                  <c:v>0.35729999999999995</c:v>
                </c:pt>
                <c:pt idx="718">
                  <c:v>0.33439999999999998</c:v>
                </c:pt>
                <c:pt idx="719">
                  <c:v>0.30609999999999998</c:v>
                </c:pt>
                <c:pt idx="720">
                  <c:v>0.29980000000000001</c:v>
                </c:pt>
                <c:pt idx="721">
                  <c:v>0.32079999999999997</c:v>
                </c:pt>
                <c:pt idx="722">
                  <c:v>0.31240000000000001</c:v>
                </c:pt>
                <c:pt idx="723">
                  <c:v>0.34119999999999995</c:v>
                </c:pt>
                <c:pt idx="724">
                  <c:v>0.35680000000000001</c:v>
                </c:pt>
                <c:pt idx="725">
                  <c:v>0.34560000000000002</c:v>
                </c:pt>
                <c:pt idx="726">
                  <c:v>0.29520000000000002</c:v>
                </c:pt>
                <c:pt idx="727">
                  <c:v>0.27889999999999998</c:v>
                </c:pt>
                <c:pt idx="728">
                  <c:v>0.2611</c:v>
                </c:pt>
                <c:pt idx="729">
                  <c:v>0.26319999999999999</c:v>
                </c:pt>
                <c:pt idx="730">
                  <c:v>0.28420000000000001</c:v>
                </c:pt>
                <c:pt idx="731">
                  <c:v>0.2515</c:v>
                </c:pt>
                <c:pt idx="732">
                  <c:v>0.25309999999999999</c:v>
                </c:pt>
                <c:pt idx="733">
                  <c:v>0.24100000000000002</c:v>
                </c:pt>
                <c:pt idx="734">
                  <c:v>0.22089999999999999</c:v>
                </c:pt>
                <c:pt idx="735">
                  <c:v>0.25309999999999999</c:v>
                </c:pt>
                <c:pt idx="736">
                  <c:v>0.2515</c:v>
                </c:pt>
                <c:pt idx="737">
                  <c:v>0.23949999999999999</c:v>
                </c:pt>
                <c:pt idx="738">
                  <c:v>0.24280000000000002</c:v>
                </c:pt>
                <c:pt idx="739">
                  <c:v>0.21829999999999999</c:v>
                </c:pt>
                <c:pt idx="740">
                  <c:v>0.25459999999999999</c:v>
                </c:pt>
                <c:pt idx="741">
                  <c:v>0.26860000000000001</c:v>
                </c:pt>
                <c:pt idx="742">
                  <c:v>0.27639999999999998</c:v>
                </c:pt>
                <c:pt idx="743">
                  <c:v>0.29880000000000001</c:v>
                </c:pt>
                <c:pt idx="744">
                  <c:v>0.30840000000000001</c:v>
                </c:pt>
                <c:pt idx="745">
                  <c:v>0.31269999999999998</c:v>
                </c:pt>
                <c:pt idx="746">
                  <c:v>#N/A</c:v>
                </c:pt>
                <c:pt idx="747">
                  <c:v>0.31829999999999997</c:v>
                </c:pt>
                <c:pt idx="748">
                  <c:v>0.30120000000000002</c:v>
                </c:pt>
                <c:pt idx="749">
                  <c:v>0.28610000000000002</c:v>
                </c:pt>
                <c:pt idx="750">
                  <c:v>0.32130000000000003</c:v>
                </c:pt>
                <c:pt idx="751">
                  <c:v>0.3513</c:v>
                </c:pt>
                <c:pt idx="752">
                  <c:v>0.35049999999999998</c:v>
                </c:pt>
                <c:pt idx="753">
                  <c:v>0.34700000000000003</c:v>
                </c:pt>
                <c:pt idx="754">
                  <c:v>0.36880000000000002</c:v>
                </c:pt>
                <c:pt idx="755">
                  <c:v>0.37459999999999999</c:v>
                </c:pt>
                <c:pt idx="756">
                  <c:v>0.34820000000000001</c:v>
                </c:pt>
                <c:pt idx="757">
                  <c:v>0.36770000000000003</c:v>
                </c:pt>
                <c:pt idx="758">
                  <c:v>0.39939999999999998</c:v>
                </c:pt>
                <c:pt idx="759">
                  <c:v>0.43810000000000004</c:v>
                </c:pt>
                <c:pt idx="760">
                  <c:v>0.42570000000000002</c:v>
                </c:pt>
                <c:pt idx="761">
                  <c:v>0.40869999999999995</c:v>
                </c:pt>
                <c:pt idx="762">
                  <c:v>0.44350000000000001</c:v>
                </c:pt>
                <c:pt idx="763">
                  <c:v>0.42570000000000002</c:v>
                </c:pt>
                <c:pt idx="764">
                  <c:v>0.41889999999999999</c:v>
                </c:pt>
                <c:pt idx="765">
                  <c:v>0.41149999999999998</c:v>
                </c:pt>
                <c:pt idx="766">
                  <c:v>0.4365</c:v>
                </c:pt>
                <c:pt idx="767">
                  <c:v>0.44299999999999995</c:v>
                </c:pt>
                <c:pt idx="768">
                  <c:v>0.44900000000000001</c:v>
                </c:pt>
                <c:pt idx="769">
                  <c:v>0.42349999999999999</c:v>
                </c:pt>
                <c:pt idx="770">
                  <c:v>0.40639999999999998</c:v>
                </c:pt>
                <c:pt idx="771">
                  <c:v>0.37270000000000003</c:v>
                </c:pt>
                <c:pt idx="772">
                  <c:v>0.37070000000000003</c:v>
                </c:pt>
                <c:pt idx="773">
                  <c:v>0.39340000000000003</c:v>
                </c:pt>
                <c:pt idx="774">
                  <c:v>0.36869999999999997</c:v>
                </c:pt>
                <c:pt idx="775">
                  <c:v>0.37579999999999997</c:v>
                </c:pt>
                <c:pt idx="776">
                  <c:v>0.37329999999999997</c:v>
                </c:pt>
                <c:pt idx="777">
                  <c:v>0.3624</c:v>
                </c:pt>
                <c:pt idx="778">
                  <c:v>0.37990000000000002</c:v>
                </c:pt>
                <c:pt idx="779">
                  <c:v>0.40899999999999997</c:v>
                </c:pt>
                <c:pt idx="780">
                  <c:v>0.41619999999999996</c:v>
                </c:pt>
                <c:pt idx="781">
                  <c:v>0.39840000000000003</c:v>
                </c:pt>
                <c:pt idx="782">
                  <c:v>0.41009999999999996</c:v>
                </c:pt>
                <c:pt idx="783">
                  <c:v>0.38990000000000002</c:v>
                </c:pt>
                <c:pt idx="784">
                  <c:v>0.36560000000000004</c:v>
                </c:pt>
                <c:pt idx="785">
                  <c:v>0.37290000000000001</c:v>
                </c:pt>
                <c:pt idx="786">
                  <c:v>0.4047</c:v>
                </c:pt>
                <c:pt idx="787">
                  <c:v>0.40509999999999996</c:v>
                </c:pt>
                <c:pt idx="788">
                  <c:v>0.44490000000000002</c:v>
                </c:pt>
                <c:pt idx="789">
                  <c:v>0.44340000000000002</c:v>
                </c:pt>
                <c:pt idx="790">
                  <c:v>0.44659999999999994</c:v>
                </c:pt>
                <c:pt idx="791">
                  <c:v>0.45850000000000002</c:v>
                </c:pt>
                <c:pt idx="792">
                  <c:v>0.44369999999999998</c:v>
                </c:pt>
                <c:pt idx="793">
                  <c:v>0.46799999999999997</c:v>
                </c:pt>
                <c:pt idx="794">
                  <c:v>0.47139999999999999</c:v>
                </c:pt>
                <c:pt idx="795">
                  <c:v>0.45990000000000003</c:v>
                </c:pt>
                <c:pt idx="796">
                  <c:v>0.4531</c:v>
                </c:pt>
                <c:pt idx="797">
                  <c:v>0.48369999999999996</c:v>
                </c:pt>
                <c:pt idx="798">
                  <c:v>0.50060000000000004</c:v>
                </c:pt>
                <c:pt idx="799">
                  <c:v>0.52249999999999996</c:v>
                </c:pt>
                <c:pt idx="800">
                  <c:v>0.52029999999999998</c:v>
                </c:pt>
                <c:pt idx="801">
                  <c:v>0.51180000000000003</c:v>
                </c:pt>
                <c:pt idx="802">
                  <c:v>0.49420000000000003</c:v>
                </c:pt>
                <c:pt idx="803">
                  <c:v>0.503</c:v>
                </c:pt>
                <c:pt idx="804">
                  <c:v>0.50209999999999999</c:v>
                </c:pt>
                <c:pt idx="805">
                  <c:v>0.48759999999999998</c:v>
                </c:pt>
                <c:pt idx="806">
                  <c:v>0.47899999999999998</c:v>
                </c:pt>
                <c:pt idx="807">
                  <c:v>0.50690000000000002</c:v>
                </c:pt>
                <c:pt idx="808">
                  <c:v>0.4985</c:v>
                </c:pt>
                <c:pt idx="809">
                  <c:v>0.50409999999999999</c:v>
                </c:pt>
                <c:pt idx="810">
                  <c:v>0.50869999999999993</c:v>
                </c:pt>
                <c:pt idx="811">
                  <c:v>0.50460000000000005</c:v>
                </c:pt>
                <c:pt idx="812">
                  <c:v>0.49459999999999998</c:v>
                </c:pt>
                <c:pt idx="813">
                  <c:v>0.4894</c:v>
                </c:pt>
                <c:pt idx="814">
                  <c:v>0.4829</c:v>
                </c:pt>
                <c:pt idx="815">
                  <c:v>0.45100000000000001</c:v>
                </c:pt>
                <c:pt idx="816">
                  <c:v>0.47340000000000004</c:v>
                </c:pt>
                <c:pt idx="817">
                  <c:v>0.50419999999999998</c:v>
                </c:pt>
                <c:pt idx="818">
                  <c:v>0.52060000000000006</c:v>
                </c:pt>
                <c:pt idx="819">
                  <c:v>0.52159999999999995</c:v>
                </c:pt>
                <c:pt idx="820">
                  <c:v>0.50719999999999998</c:v>
                </c:pt>
                <c:pt idx="821">
                  <c:v>0.49439999999999995</c:v>
                </c:pt>
                <c:pt idx="822">
                  <c:v>0.4874</c:v>
                </c:pt>
                <c:pt idx="823">
                  <c:v>0.52490000000000003</c:v>
                </c:pt>
                <c:pt idx="824">
                  <c:v>0.52410000000000001</c:v>
                </c:pt>
                <c:pt idx="825">
                  <c:v>0.5121</c:v>
                </c:pt>
                <c:pt idx="826">
                  <c:v>0.53060000000000007</c:v>
                </c:pt>
                <c:pt idx="827">
                  <c:v>0.52349999999999997</c:v>
                </c:pt>
                <c:pt idx="828">
                  <c:v>0.52200000000000002</c:v>
                </c:pt>
                <c:pt idx="829">
                  <c:v>0.53439999999999999</c:v>
                </c:pt>
                <c:pt idx="830">
                  <c:v>0.53600000000000003</c:v>
                </c:pt>
                <c:pt idx="831">
                  <c:v>0.55700000000000005</c:v>
                </c:pt>
                <c:pt idx="832">
                  <c:v>0.5887</c:v>
                </c:pt>
                <c:pt idx="833">
                  <c:v>0.58760000000000001</c:v>
                </c:pt>
                <c:pt idx="834">
                  <c:v>0.59040000000000004</c:v>
                </c:pt>
                <c:pt idx="835">
                  <c:v>0.56700000000000006</c:v>
                </c:pt>
                <c:pt idx="836">
                  <c:v>0.55579999999999996</c:v>
                </c:pt>
                <c:pt idx="837">
                  <c:v>0.61580000000000001</c:v>
                </c:pt>
                <c:pt idx="838">
                  <c:v>0.66180000000000005</c:v>
                </c:pt>
                <c:pt idx="839">
                  <c:v>#N/A</c:v>
                </c:pt>
                <c:pt idx="840">
                  <c:v>0.67030000000000001</c:v>
                </c:pt>
                <c:pt idx="841">
                  <c:v>0.65510000000000002</c:v>
                </c:pt>
                <c:pt idx="842">
                  <c:v>0.67299999999999993</c:v>
                </c:pt>
                <c:pt idx="843">
                  <c:v>0.68299999999999994</c:v>
                </c:pt>
                <c:pt idx="844">
                  <c:v>0.67299999999999993</c:v>
                </c:pt>
                <c:pt idx="845">
                  <c:v>0.67290000000000005</c:v>
                </c:pt>
                <c:pt idx="846">
                  <c:v>0.64739999999999998</c:v>
                </c:pt>
                <c:pt idx="847">
                  <c:v>0.66569999999999996</c:v>
                </c:pt>
                <c:pt idx="848">
                  <c:v>0.67359999999999998</c:v>
                </c:pt>
                <c:pt idx="849">
                  <c:v>0.71</c:v>
                </c:pt>
                <c:pt idx="850">
                  <c:v>0.7206999999999999</c:v>
                </c:pt>
                <c:pt idx="851">
                  <c:v>0.73809999999999998</c:v>
                </c:pt>
                <c:pt idx="852">
                  <c:v>0.76090000000000002</c:v>
                </c:pt>
                <c:pt idx="853">
                  <c:v>0.74580000000000002</c:v>
                </c:pt>
                <c:pt idx="854">
                  <c:v>#N/A</c:v>
                </c:pt>
                <c:pt idx="855">
                  <c:v>0.7340000000000001</c:v>
                </c:pt>
                <c:pt idx="856">
                  <c:v>0.7087</c:v>
                </c:pt>
                <c:pt idx="857">
                  <c:v>0.72329999999999994</c:v>
                </c:pt>
                <c:pt idx="858">
                  <c:v>0.70400000000000007</c:v>
                </c:pt>
                <c:pt idx="859">
                  <c:v>0.69079999999999997</c:v>
                </c:pt>
                <c:pt idx="860">
                  <c:v>0.72530000000000006</c:v>
                </c:pt>
                <c:pt idx="861">
                  <c:v>0.72560000000000002</c:v>
                </c:pt>
                <c:pt idx="862">
                  <c:v>0.72930000000000006</c:v>
                </c:pt>
                <c:pt idx="863">
                  <c:v>0.75760000000000005</c:v>
                </c:pt>
                <c:pt idx="864">
                  <c:v>0.75290000000000001</c:v>
                </c:pt>
                <c:pt idx="865">
                  <c:v>#N/A</c:v>
                </c:pt>
                <c:pt idx="866">
                  <c:v>0.74209999999999998</c:v>
                </c:pt>
                <c:pt idx="867">
                  <c:v>0.73760000000000003</c:v>
                </c:pt>
                <c:pt idx="868">
                  <c:v>0.72950000000000004</c:v>
                </c:pt>
                <c:pt idx="869">
                  <c:v>0.73439999999999994</c:v>
                </c:pt>
                <c:pt idx="870">
                  <c:v>0.73829999999999996</c:v>
                </c:pt>
                <c:pt idx="871">
                  <c:v>0.75749999999999995</c:v>
                </c:pt>
                <c:pt idx="872">
                  <c:v>0.78099999999999992</c:v>
                </c:pt>
                <c:pt idx="873">
                  <c:v>0.77810000000000001</c:v>
                </c:pt>
                <c:pt idx="874">
                  <c:v>0.8014</c:v>
                </c:pt>
                <c:pt idx="875">
                  <c:v>0.8216</c:v>
                </c:pt>
                <c:pt idx="876">
                  <c:v>0.81700000000000006</c:v>
                </c:pt>
                <c:pt idx="877">
                  <c:v>0.7802</c:v>
                </c:pt>
                <c:pt idx="878">
                  <c:v>0.77959999999999996</c:v>
                </c:pt>
                <c:pt idx="879">
                  <c:v>0.78299999999999992</c:v>
                </c:pt>
                <c:pt idx="880">
                  <c:v>0.80319999999999991</c:v>
                </c:pt>
                <c:pt idx="881">
                  <c:v>0.77859999999999996</c:v>
                </c:pt>
                <c:pt idx="882">
                  <c:v>0.77359999999999995</c:v>
                </c:pt>
                <c:pt idx="883">
                  <c:v>0.79859999999999998</c:v>
                </c:pt>
                <c:pt idx="884">
                  <c:v>0.80200000000000005</c:v>
                </c:pt>
                <c:pt idx="885">
                  <c:v>0.80540000000000012</c:v>
                </c:pt>
                <c:pt idx="886">
                  <c:v>0.76</c:v>
                </c:pt>
                <c:pt idx="887">
                  <c:v>0.75390000000000001</c:v>
                </c:pt>
                <c:pt idx="888">
                  <c:v>0.72909999999999997</c:v>
                </c:pt>
                <c:pt idx="889">
                  <c:v>0.73470000000000002</c:v>
                </c:pt>
                <c:pt idx="890">
                  <c:v>0.7208</c:v>
                </c:pt>
                <c:pt idx="891">
                  <c:v>0.69830000000000003</c:v>
                </c:pt>
                <c:pt idx="892">
                  <c:v>0.69900000000000007</c:v>
                </c:pt>
                <c:pt idx="893">
                  <c:v>0.68659999999999999</c:v>
                </c:pt>
                <c:pt idx="894">
                  <c:v>0.71360000000000001</c:v>
                </c:pt>
                <c:pt idx="895">
                  <c:v>0.69609999999999994</c:v>
                </c:pt>
                <c:pt idx="896">
                  <c:v>0.68090000000000006</c:v>
                </c:pt>
                <c:pt idx="897">
                  <c:v>0.66480000000000006</c:v>
                </c:pt>
                <c:pt idx="898">
                  <c:v>0.66700000000000004</c:v>
                </c:pt>
                <c:pt idx="899">
                  <c:v>0.69920000000000004</c:v>
                </c:pt>
                <c:pt idx="900">
                  <c:v>0.69669999999999999</c:v>
                </c:pt>
                <c:pt idx="901">
                  <c:v>0.72760000000000002</c:v>
                </c:pt>
                <c:pt idx="902">
                  <c:v>0.68779999999999997</c:v>
                </c:pt>
                <c:pt idx="903">
                  <c:v>0.70569999999999988</c:v>
                </c:pt>
                <c:pt idx="904">
                  <c:v>0.71879999999999999</c:v>
                </c:pt>
                <c:pt idx="905">
                  <c:v>0.75260000000000005</c:v>
                </c:pt>
                <c:pt idx="906">
                  <c:v>0.7661</c:v>
                </c:pt>
                <c:pt idx="907">
                  <c:v>0.77439999999999998</c:v>
                </c:pt>
                <c:pt idx="908">
                  <c:v>0.78040000000000009</c:v>
                </c:pt>
                <c:pt idx="909">
                  <c:v>0.78689999999999993</c:v>
                </c:pt>
                <c:pt idx="910">
                  <c:v>0.76769999999999994</c:v>
                </c:pt>
                <c:pt idx="911">
                  <c:v>0.7419</c:v>
                </c:pt>
                <c:pt idx="912">
                  <c:v>0.74629999999999996</c:v>
                </c:pt>
                <c:pt idx="913">
                  <c:v>0.7548999999999999</c:v>
                </c:pt>
                <c:pt idx="914">
                  <c:v>0.7229000000000001</c:v>
                </c:pt>
                <c:pt idx="915">
                  <c:v>0.72809999999999997</c:v>
                </c:pt>
                <c:pt idx="916">
                  <c:v>0.74060000000000004</c:v>
                </c:pt>
                <c:pt idx="917">
                  <c:v>0.70739999999999992</c:v>
                </c:pt>
                <c:pt idx="918">
                  <c:v>0.71510000000000007</c:v>
                </c:pt>
                <c:pt idx="919">
                  <c:v>0.71430000000000005</c:v>
                </c:pt>
                <c:pt idx="920">
                  <c:v>0.68709999999999993</c:v>
                </c:pt>
                <c:pt idx="921">
                  <c:v>0.6613</c:v>
                </c:pt>
                <c:pt idx="922">
                  <c:v>0.66480000000000006</c:v>
                </c:pt>
                <c:pt idx="923">
                  <c:v>0.67110000000000003</c:v>
                </c:pt>
                <c:pt idx="924">
                  <c:v>0.64060000000000006</c:v>
                </c:pt>
                <c:pt idx="925">
                  <c:v>0.6431</c:v>
                </c:pt>
                <c:pt idx="926">
                  <c:v>0.65450000000000008</c:v>
                </c:pt>
                <c:pt idx="927">
                  <c:v>0.66</c:v>
                </c:pt>
                <c:pt idx="928">
                  <c:v>0.67870000000000008</c:v>
                </c:pt>
                <c:pt idx="929">
                  <c:v>0.64950000000000008</c:v>
                </c:pt>
                <c:pt idx="930">
                  <c:v>0.67040000000000011</c:v>
                </c:pt>
                <c:pt idx="931">
                  <c:v>0.67230000000000001</c:v>
                </c:pt>
                <c:pt idx="932">
                  <c:v>0.70409999999999995</c:v>
                </c:pt>
                <c:pt idx="933">
                  <c:v>0.71279999999999999</c:v>
                </c:pt>
                <c:pt idx="934">
                  <c:v>0.71530000000000005</c:v>
                </c:pt>
                <c:pt idx="935">
                  <c:v>0.73109999999999997</c:v>
                </c:pt>
                <c:pt idx="936">
                  <c:v>0.73260000000000003</c:v>
                </c:pt>
                <c:pt idx="937">
                  <c:v>0.70750000000000002</c:v>
                </c:pt>
                <c:pt idx="938">
                  <c:v>0.72450000000000003</c:v>
                </c:pt>
                <c:pt idx="939">
                  <c:v>0.7168000000000001</c:v>
                </c:pt>
                <c:pt idx="940">
                  <c:v>0.69830000000000003</c:v>
                </c:pt>
                <c:pt idx="941">
                  <c:v>0.68940000000000001</c:v>
                </c:pt>
                <c:pt idx="942">
                  <c:v>0.6603</c:v>
                </c:pt>
                <c:pt idx="943">
                  <c:v>0.66239999999999999</c:v>
                </c:pt>
                <c:pt idx="944">
                  <c:v>0.67390000000000005</c:v>
                </c:pt>
                <c:pt idx="945">
                  <c:v>0.65410000000000001</c:v>
                </c:pt>
                <c:pt idx="946">
                  <c:v>0.62229999999999996</c:v>
                </c:pt>
                <c:pt idx="947">
                  <c:v>0.63159999999999994</c:v>
                </c:pt>
                <c:pt idx="948">
                  <c:v>0.64939999999999998</c:v>
                </c:pt>
                <c:pt idx="949">
                  <c:v>0.66139999999999999</c:v>
                </c:pt>
                <c:pt idx="950">
                  <c:v>0.69359999999999999</c:v>
                </c:pt>
                <c:pt idx="951">
                  <c:v>0.72180000000000011</c:v>
                </c:pt>
                <c:pt idx="952">
                  <c:v>0.7399</c:v>
                </c:pt>
                <c:pt idx="953">
                  <c:v>0.75099999999999989</c:v>
                </c:pt>
                <c:pt idx="954">
                  <c:v>0.77040000000000008</c:v>
                </c:pt>
                <c:pt idx="955">
                  <c:v>0.78049999999999997</c:v>
                </c:pt>
                <c:pt idx="956">
                  <c:v>0.77180000000000004</c:v>
                </c:pt>
                <c:pt idx="957">
                  <c:v>0.81849999999999989</c:v>
                </c:pt>
                <c:pt idx="958">
                  <c:v>0.80769999999999997</c:v>
                </c:pt>
                <c:pt idx="959">
                  <c:v>0.84389999999999998</c:v>
                </c:pt>
                <c:pt idx="960">
                  <c:v>0.84540000000000004</c:v>
                </c:pt>
                <c:pt idx="961">
                  <c:v>0.85540000000000005</c:v>
                </c:pt>
                <c:pt idx="962">
                  <c:v>0.85180000000000011</c:v>
                </c:pt>
                <c:pt idx="963">
                  <c:v>0.87849999999999995</c:v>
                </c:pt>
                <c:pt idx="964">
                  <c:v>0.86280000000000001</c:v>
                </c:pt>
                <c:pt idx="965">
                  <c:v>0.87139999999999995</c:v>
                </c:pt>
                <c:pt idx="966">
                  <c:v>#N/A</c:v>
                </c:pt>
                <c:pt idx="967">
                  <c:v>0.86840000000000006</c:v>
                </c:pt>
                <c:pt idx="968">
                  <c:v>0.86760000000000004</c:v>
                </c:pt>
                <c:pt idx="969">
                  <c:v>0.87150000000000005</c:v>
                </c:pt>
                <c:pt idx="970">
                  <c:v>0.87309999999999999</c:v>
                </c:pt>
                <c:pt idx="971">
                  <c:v>0.87540000000000007</c:v>
                </c:pt>
                <c:pt idx="972">
                  <c:v>0.8798999999999999</c:v>
                </c:pt>
                <c:pt idx="973">
                  <c:v>0.85709999999999997</c:v>
                </c:pt>
                <c:pt idx="974">
                  <c:v>0.86780000000000002</c:v>
                </c:pt>
                <c:pt idx="975">
                  <c:v>0.85209999999999997</c:v>
                </c:pt>
                <c:pt idx="976">
                  <c:v>0.87549999999999994</c:v>
                </c:pt>
                <c:pt idx="977">
                  <c:v>0.8909999999999999</c:v>
                </c:pt>
                <c:pt idx="978">
                  <c:v>0.90689999999999993</c:v>
                </c:pt>
                <c:pt idx="979">
                  <c:v>0.92069999999999996</c:v>
                </c:pt>
                <c:pt idx="980">
                  <c:v>0.93769999999999998</c:v>
                </c:pt>
                <c:pt idx="981">
                  <c:v>0.93150000000000011</c:v>
                </c:pt>
                <c:pt idx="982">
                  <c:v>0.94530000000000003</c:v>
                </c:pt>
                <c:pt idx="983">
                  <c:v>0.94840000000000002</c:v>
                </c:pt>
                <c:pt idx="984">
                  <c:v>0.95519999999999994</c:v>
                </c:pt>
                <c:pt idx="985">
                  <c:v>0.92549999999999999</c:v>
                </c:pt>
                <c:pt idx="986">
                  <c:v>0.94739999999999991</c:v>
                </c:pt>
                <c:pt idx="987">
                  <c:v>0.94940000000000002</c:v>
                </c:pt>
                <c:pt idx="988">
                  <c:v>0.95799999999999996</c:v>
                </c:pt>
                <c:pt idx="989">
                  <c:v>0.95829999999999993</c:v>
                </c:pt>
                <c:pt idx="990">
                  <c:v>0.96010000000000006</c:v>
                </c:pt>
                <c:pt idx="991">
                  <c:v>0.95389999999999997</c:v>
                </c:pt>
                <c:pt idx="992">
                  <c:v>0.90359999999999996</c:v>
                </c:pt>
                <c:pt idx="993">
                  <c:v>0.88300000000000001</c:v>
                </c:pt>
                <c:pt idx="994">
                  <c:v>0.86950000000000005</c:v>
                </c:pt>
                <c:pt idx="995">
                  <c:v>0.8698999999999999</c:v>
                </c:pt>
                <c:pt idx="996">
                  <c:v>0.91689999999999994</c:v>
                </c:pt>
                <c:pt idx="997">
                  <c:v>0.91989999999999994</c:v>
                </c:pt>
                <c:pt idx="998">
                  <c:v>0.93640000000000001</c:v>
                </c:pt>
                <c:pt idx="999">
                  <c:v>0.94519999999999993</c:v>
                </c:pt>
                <c:pt idx="1000">
                  <c:v>0.95219999999999994</c:v>
                </c:pt>
                <c:pt idx="1001">
                  <c:v>#N/A</c:v>
                </c:pt>
                <c:pt idx="1002">
                  <c:v>0.95730000000000004</c:v>
                </c:pt>
                <c:pt idx="1003">
                  <c:v>0.94750000000000001</c:v>
                </c:pt>
                <c:pt idx="1004">
                  <c:v>0.98680000000000012</c:v>
                </c:pt>
                <c:pt idx="1005">
                  <c:v>1.0327999999999999</c:v>
                </c:pt>
                <c:pt idx="1006">
                  <c:v>1.0409999999999999</c:v>
                </c:pt>
                <c:pt idx="1007">
                  <c:v>1.0498000000000001</c:v>
                </c:pt>
                <c:pt idx="1008">
                  <c:v>1.0637000000000001</c:v>
                </c:pt>
                <c:pt idx="1009">
                  <c:v>1.0720999999999998</c:v>
                </c:pt>
                <c:pt idx="1010">
                  <c:v>1.0485</c:v>
                </c:pt>
                <c:pt idx="1011">
                  <c:v>1.0669</c:v>
                </c:pt>
                <c:pt idx="1012">
                  <c:v>1.0503</c:v>
                </c:pt>
                <c:pt idx="1013">
                  <c:v>1.0073999999999999</c:v>
                </c:pt>
                <c:pt idx="1014">
                  <c:v>1.0327</c:v>
                </c:pt>
                <c:pt idx="1015">
                  <c:v>1.0537000000000001</c:v>
                </c:pt>
                <c:pt idx="1016">
                  <c:v>1.0587</c:v>
                </c:pt>
                <c:pt idx="1017">
                  <c:v>1.0487</c:v>
                </c:pt>
                <c:pt idx="1018">
                  <c:v>1.0761000000000001</c:v>
                </c:pt>
                <c:pt idx="1019">
                  <c:v>1.0826</c:v>
                </c:pt>
                <c:pt idx="1020">
                  <c:v>1.1113999999999999</c:v>
                </c:pt>
                <c:pt idx="1021">
                  <c:v>1.0937999999999999</c:v>
                </c:pt>
                <c:pt idx="1022">
                  <c:v>1.0580000000000001</c:v>
                </c:pt>
                <c:pt idx="1023">
                  <c:v>1.0810999999999999</c:v>
                </c:pt>
                <c:pt idx="1024">
                  <c:v>1.0752999999999999</c:v>
                </c:pt>
                <c:pt idx="1025">
                  <c:v>1.0569999999999999</c:v>
                </c:pt>
                <c:pt idx="1026">
                  <c:v>1.0356999999999998</c:v>
                </c:pt>
                <c:pt idx="1027">
                  <c:v>1.0223</c:v>
                </c:pt>
                <c:pt idx="1028">
                  <c:v>1.0906</c:v>
                </c:pt>
                <c:pt idx="1029">
                  <c:v>1.0846</c:v>
                </c:pt>
                <c:pt idx="1030">
                  <c:v>1.0869</c:v>
                </c:pt>
                <c:pt idx="1031">
                  <c:v>1.0887</c:v>
                </c:pt>
                <c:pt idx="1032">
                  <c:v>1.0787</c:v>
                </c:pt>
                <c:pt idx="1033">
                  <c:v>1.1032999999999999</c:v>
                </c:pt>
                <c:pt idx="1034">
                  <c:v>1.1405000000000001</c:v>
                </c:pt>
                <c:pt idx="1035">
                  <c:v>1.1403000000000001</c:v>
                </c:pt>
                <c:pt idx="1036">
                  <c:v>1.087</c:v>
                </c:pt>
                <c:pt idx="1037">
                  <c:v>1.1032999999999999</c:v>
                </c:pt>
                <c:pt idx="1038">
                  <c:v>1.1381999999999999</c:v>
                </c:pt>
                <c:pt idx="1039">
                  <c:v>1.1048</c:v>
                </c:pt>
                <c:pt idx="1040">
                  <c:v>1.0994999999999999</c:v>
                </c:pt>
                <c:pt idx="1041">
                  <c:v>1.1426000000000001</c:v>
                </c:pt>
                <c:pt idx="1042">
                  <c:v>1.1181000000000001</c:v>
                </c:pt>
                <c:pt idx="1043">
                  <c:v>1.1193</c:v>
                </c:pt>
                <c:pt idx="1044">
                  <c:v>1.0881000000000001</c:v>
                </c:pt>
                <c:pt idx="1045">
                  <c:v>1.0984</c:v>
                </c:pt>
                <c:pt idx="1046">
                  <c:v>1.1087</c:v>
                </c:pt>
                <c:pt idx="1047">
                  <c:v>1.1331</c:v>
                </c:pt>
                <c:pt idx="1048">
                  <c:v>1.1349</c:v>
                </c:pt>
                <c:pt idx="1049">
                  <c:v>1.135</c:v>
                </c:pt>
                <c:pt idx="1050">
                  <c:v>1.1205000000000001</c:v>
                </c:pt>
                <c:pt idx="1051">
                  <c:v>1.1111</c:v>
                </c:pt>
                <c:pt idx="1052">
                  <c:v>1.1220999999999999</c:v>
                </c:pt>
                <c:pt idx="1053">
                  <c:v>1.1201000000000001</c:v>
                </c:pt>
                <c:pt idx="1054">
                  <c:v>1.1253</c:v>
                </c:pt>
                <c:pt idx="1055">
                  <c:v>1.1040999999999999</c:v>
                </c:pt>
                <c:pt idx="1056">
                  <c:v>1.1089</c:v>
                </c:pt>
                <c:pt idx="1057">
                  <c:v>1.0758000000000001</c:v>
                </c:pt>
                <c:pt idx="1058">
                  <c:v>1.1007</c:v>
                </c:pt>
                <c:pt idx="1059">
                  <c:v>1.097</c:v>
                </c:pt>
                <c:pt idx="1060">
                  <c:v>1.1078000000000001</c:v>
                </c:pt>
                <c:pt idx="1061">
                  <c:v>1.0825</c:v>
                </c:pt>
                <c:pt idx="1062">
                  <c:v>1.1240999999999999</c:v>
                </c:pt>
                <c:pt idx="1063">
                  <c:v>1.0895999999999999</c:v>
                </c:pt>
                <c:pt idx="1064">
                  <c:v>1.0503</c:v>
                </c:pt>
                <c:pt idx="1065">
                  <c:v>1.0523</c:v>
                </c:pt>
                <c:pt idx="1066">
                  <c:v>1.0226999999999999</c:v>
                </c:pt>
                <c:pt idx="1067">
                  <c:v>1.0002</c:v>
                </c:pt>
                <c:pt idx="1068">
                  <c:v>0.95889999999999997</c:v>
                </c:pt>
                <c:pt idx="1069">
                  <c:v>0.97599999999999998</c:v>
                </c:pt>
                <c:pt idx="1070">
                  <c:v>1.0044999999999999</c:v>
                </c:pt>
                <c:pt idx="1071">
                  <c:v>1.0148999999999999</c:v>
                </c:pt>
                <c:pt idx="1072">
                  <c:v>1.0092000000000001</c:v>
                </c:pt>
                <c:pt idx="1073">
                  <c:v>1.0331000000000001</c:v>
                </c:pt>
                <c:pt idx="1074">
                  <c:v>1.0415999999999999</c:v>
                </c:pt>
                <c:pt idx="1075">
                  <c:v>0.99690000000000001</c:v>
                </c:pt>
                <c:pt idx="1076">
                  <c:v>0.97670000000000001</c:v>
                </c:pt>
                <c:pt idx="1077">
                  <c:v>1.0044</c:v>
                </c:pt>
                <c:pt idx="1078">
                  <c:v>1.0602</c:v>
                </c:pt>
                <c:pt idx="1079">
                  <c:v>1.0847</c:v>
                </c:pt>
                <c:pt idx="1080">
                  <c:v>1.0785</c:v>
                </c:pt>
                <c:pt idx="1081">
                  <c:v>1.0844</c:v>
                </c:pt>
                <c:pt idx="1082">
                  <c:v>1.0829</c:v>
                </c:pt>
                <c:pt idx="1083">
                  <c:v>1.0915999999999999</c:v>
                </c:pt>
                <c:pt idx="1084">
                  <c:v>1.1007</c:v>
                </c:pt>
                <c:pt idx="1085">
                  <c:v>1.1201000000000001</c:v>
                </c:pt>
                <c:pt idx="1086">
                  <c:v>1.167</c:v>
                </c:pt>
                <c:pt idx="1087">
                  <c:v>1.1596</c:v>
                </c:pt>
                <c:pt idx="1088">
                  <c:v>1.1545999999999998</c:v>
                </c:pt>
                <c:pt idx="1089">
                  <c:v>1.1797</c:v>
                </c:pt>
                <c:pt idx="1090">
                  <c:v>1.1837</c:v>
                </c:pt>
                <c:pt idx="1091">
                  <c:v>1.1886000000000001</c:v>
                </c:pt>
                <c:pt idx="1092">
                  <c:v>1.1713</c:v>
                </c:pt>
                <c:pt idx="1093">
                  <c:v>1.1891</c:v>
                </c:pt>
                <c:pt idx="1094">
                  <c:v>#N/A</c:v>
                </c:pt>
                <c:pt idx="1095">
                  <c:v>1.1980999999999999</c:v>
                </c:pt>
                <c:pt idx="1096">
                  <c:v>1.1837</c:v>
                </c:pt>
                <c:pt idx="1097">
                  <c:v>1.1340999999999999</c:v>
                </c:pt>
                <c:pt idx="1098">
                  <c:v>1.1377999999999999</c:v>
                </c:pt>
                <c:pt idx="1099">
                  <c:v>1.1431</c:v>
                </c:pt>
                <c:pt idx="1100">
                  <c:v>1.1476</c:v>
                </c:pt>
                <c:pt idx="1101">
                  <c:v>1.1957</c:v>
                </c:pt>
                <c:pt idx="1102">
                  <c:v>1.1886000000000001</c:v>
                </c:pt>
                <c:pt idx="1103">
                  <c:v>1.1935</c:v>
                </c:pt>
                <c:pt idx="1104">
                  <c:v>1.1989000000000001</c:v>
                </c:pt>
                <c:pt idx="1105">
                  <c:v>1.2402</c:v>
                </c:pt>
                <c:pt idx="1106">
                  <c:v>1.2900999999999998</c:v>
                </c:pt>
                <c:pt idx="1107">
                  <c:v>1.3091999999999999</c:v>
                </c:pt>
                <c:pt idx="1108">
                  <c:v>1.3156999999999999</c:v>
                </c:pt>
                <c:pt idx="1109">
                  <c:v>1.3505</c:v>
                </c:pt>
                <c:pt idx="1110">
                  <c:v>1.3544999999999998</c:v>
                </c:pt>
                <c:pt idx="1111">
                  <c:v>#N/A</c:v>
                </c:pt>
                <c:pt idx="1112">
                  <c:v>1.3274999999999999</c:v>
                </c:pt>
                <c:pt idx="1113">
                  <c:v>1.32</c:v>
                </c:pt>
                <c:pt idx="1114">
                  <c:v>1.2665999999999999</c:v>
                </c:pt>
                <c:pt idx="1115">
                  <c:v>1.3082</c:v>
                </c:pt>
                <c:pt idx="1116">
                  <c:v>1.3072999999999999</c:v>
                </c:pt>
                <c:pt idx="1117">
                  <c:v>1.3071999999999999</c:v>
                </c:pt>
                <c:pt idx="1118">
                  <c:v>1.3058000000000001</c:v>
                </c:pt>
                <c:pt idx="1119">
                  <c:v>1.3246</c:v>
                </c:pt>
                <c:pt idx="1120">
                  <c:v>1.3344</c:v>
                </c:pt>
                <c:pt idx="1121">
                  <c:v>1.3681999999999999</c:v>
                </c:pt>
                <c:pt idx="1122">
                  <c:v>#N/A</c:v>
                </c:pt>
                <c:pt idx="1123">
                  <c:v>1.3741999999999999</c:v>
                </c:pt>
                <c:pt idx="1124">
                  <c:v>1.3906000000000001</c:v>
                </c:pt>
                <c:pt idx="1125">
                  <c:v>1.3877999999999999</c:v>
                </c:pt>
                <c:pt idx="1126">
                  <c:v>1.4233000000000002</c:v>
                </c:pt>
                <c:pt idx="1127">
                  <c:v>1.3609</c:v>
                </c:pt>
                <c:pt idx="1128">
                  <c:v>1.3829</c:v>
                </c:pt>
                <c:pt idx="1129">
                  <c:v>1.3874000000000002</c:v>
                </c:pt>
                <c:pt idx="1130">
                  <c:v>1.3797999999999999</c:v>
                </c:pt>
                <c:pt idx="1131">
                  <c:v>1.2869999999999999</c:v>
                </c:pt>
                <c:pt idx="1132">
                  <c:v>1.2865</c:v>
                </c:pt>
                <c:pt idx="1133">
                  <c:v>1.2511000000000001</c:v>
                </c:pt>
                <c:pt idx="1134">
                  <c:v>1.3038999999999998</c:v>
                </c:pt>
                <c:pt idx="1135">
                  <c:v>1.296</c:v>
                </c:pt>
                <c:pt idx="1136">
                  <c:v>1.2000999999999999</c:v>
                </c:pt>
                <c:pt idx="1137">
                  <c:v>1.1756</c:v>
                </c:pt>
                <c:pt idx="1138">
                  <c:v>1.2040999999999999</c:v>
                </c:pt>
                <c:pt idx="1139">
                  <c:v>1.1945999999999999</c:v>
                </c:pt>
                <c:pt idx="1140">
                  <c:v>1.1396999999999999</c:v>
                </c:pt>
                <c:pt idx="1141">
                  <c:v>1.2298</c:v>
                </c:pt>
                <c:pt idx="1142">
                  <c:v>1.1474</c:v>
                </c:pt>
                <c:pt idx="1143">
                  <c:v>1.0874999999999999</c:v>
                </c:pt>
                <c:pt idx="1144">
                  <c:v>1.0178</c:v>
                </c:pt>
                <c:pt idx="1145">
                  <c:v>1.0473999999999999</c:v>
                </c:pt>
                <c:pt idx="1146">
                  <c:v>1.0116000000000001</c:v>
                </c:pt>
                <c:pt idx="1147">
                  <c:v>1.0857999999999999</c:v>
                </c:pt>
                <c:pt idx="1148">
                  <c:v>1.0956000000000001</c:v>
                </c:pt>
                <c:pt idx="1149">
                  <c:v>1.1128</c:v>
                </c:pt>
                <c:pt idx="1150">
                  <c:v>1.1781999999999999</c:v>
                </c:pt>
                <c:pt idx="1151">
                  <c:v>1.1912</c:v>
                </c:pt>
                <c:pt idx="1152">
                  <c:v>1.2537</c:v>
                </c:pt>
                <c:pt idx="1153">
                  <c:v>1.2570999999999999</c:v>
                </c:pt>
                <c:pt idx="1154">
                  <c:v>1.2944</c:v>
                </c:pt>
                <c:pt idx="1155">
                  <c:v>1.2856999999999998</c:v>
                </c:pt>
                <c:pt idx="1156">
                  <c:v>1.3002</c:v>
                </c:pt>
                <c:pt idx="1157">
                  <c:v>1.2464</c:v>
                </c:pt>
                <c:pt idx="1158">
                  <c:v>1.2834999999999999</c:v>
                </c:pt>
                <c:pt idx="1159">
                  <c:v>1.2538</c:v>
                </c:pt>
                <c:pt idx="1160">
                  <c:v>1.2687999999999999</c:v>
                </c:pt>
                <c:pt idx="1161">
                  <c:v>1.2365000000000002</c:v>
                </c:pt>
                <c:pt idx="1162">
                  <c:v>1.2161999999999999</c:v>
                </c:pt>
                <c:pt idx="1163">
                  <c:v>1.2465999999999999</c:v>
                </c:pt>
                <c:pt idx="1164">
                  <c:v>1.1427</c:v>
                </c:pt>
                <c:pt idx="1165">
                  <c:v>1.1379999999999999</c:v>
                </c:pt>
                <c:pt idx="1166">
                  <c:v>1.1342000000000001</c:v>
                </c:pt>
                <c:pt idx="1167">
                  <c:v>1.0788</c:v>
                </c:pt>
                <c:pt idx="1168">
                  <c:v>1.1131</c:v>
                </c:pt>
                <c:pt idx="1169">
                  <c:v>1.1443000000000001</c:v>
                </c:pt>
                <c:pt idx="1170">
                  <c:v>1.2173</c:v>
                </c:pt>
                <c:pt idx="1171">
                  <c:v>1.2357</c:v>
                </c:pt>
                <c:pt idx="1172">
                  <c:v>1.2476</c:v>
                </c:pt>
                <c:pt idx="1173">
                  <c:v>1.2382</c:v>
                </c:pt>
                <c:pt idx="1174">
                  <c:v>1.2344999999999999</c:v>
                </c:pt>
                <c:pt idx="1175">
                  <c:v>1.2131999999999998</c:v>
                </c:pt>
                <c:pt idx="1176">
                  <c:v>1.2787999999999999</c:v>
                </c:pt>
                <c:pt idx="1177">
                  <c:v>1.2673000000000001</c:v>
                </c:pt>
                <c:pt idx="1178">
                  <c:v>1.2684</c:v>
                </c:pt>
                <c:pt idx="1179">
                  <c:v>1.2831000000000001</c:v>
                </c:pt>
                <c:pt idx="1180">
                  <c:v>1.2907</c:v>
                </c:pt>
                <c:pt idx="1181">
                  <c:v>1.3200999999999998</c:v>
                </c:pt>
                <c:pt idx="1182">
                  <c:v>1.2988</c:v>
                </c:pt>
                <c:pt idx="1183">
                  <c:v>1.3062</c:v>
                </c:pt>
                <c:pt idx="1184">
                  <c:v>1.2492000000000001</c:v>
                </c:pt>
                <c:pt idx="1185">
                  <c:v>1.2658</c:v>
                </c:pt>
                <c:pt idx="1186">
                  <c:v>1.2762</c:v>
                </c:pt>
                <c:pt idx="1187">
                  <c:v>1.3018000000000001</c:v>
                </c:pt>
                <c:pt idx="1188">
                  <c:v>1.2849999999999999</c:v>
                </c:pt>
                <c:pt idx="1189">
                  <c:v>1.3283</c:v>
                </c:pt>
                <c:pt idx="1190">
                  <c:v>1.3541999999999998</c:v>
                </c:pt>
                <c:pt idx="1191">
                  <c:v>1.3530000000000002</c:v>
                </c:pt>
                <c:pt idx="1192">
                  <c:v>1.3571</c:v>
                </c:pt>
                <c:pt idx="1193">
                  <c:v>1.3865000000000001</c:v>
                </c:pt>
                <c:pt idx="1194">
                  <c:v>1.3368</c:v>
                </c:pt>
                <c:pt idx="1195">
                  <c:v>1.3427</c:v>
                </c:pt>
                <c:pt idx="1196">
                  <c:v>1.3505</c:v>
                </c:pt>
                <c:pt idx="1197">
                  <c:v>1.3581999999999999</c:v>
                </c:pt>
                <c:pt idx="1198">
                  <c:v>1.3694999999999999</c:v>
                </c:pt>
                <c:pt idx="1199">
                  <c:v>1.3677999999999999</c:v>
                </c:pt>
                <c:pt idx="1200">
                  <c:v>1.3336000000000001</c:v>
                </c:pt>
                <c:pt idx="1201">
                  <c:v>1.3403999999999998</c:v>
                </c:pt>
                <c:pt idx="1202">
                  <c:v>1.3528</c:v>
                </c:pt>
                <c:pt idx="1203">
                  <c:v>1.3515000000000001</c:v>
                </c:pt>
                <c:pt idx="1204">
                  <c:v>1.3827</c:v>
                </c:pt>
                <c:pt idx="1205">
                  <c:v>1.3447</c:v>
                </c:pt>
                <c:pt idx="1206">
                  <c:v>1.2707999999999999</c:v>
                </c:pt>
                <c:pt idx="1207">
                  <c:v>1.2874000000000001</c:v>
                </c:pt>
                <c:pt idx="1208">
                  <c:v>1.2849000000000002</c:v>
                </c:pt>
                <c:pt idx="1209">
                  <c:v>1.3171000000000002</c:v>
                </c:pt>
                <c:pt idx="1210">
                  <c:v>1.3836000000000002</c:v>
                </c:pt>
                <c:pt idx="1211">
                  <c:v>1.4257</c:v>
                </c:pt>
                <c:pt idx="1212">
                  <c:v>1.4213999999999998</c:v>
                </c:pt>
                <c:pt idx="1213">
                  <c:v>1.4083000000000001</c:v>
                </c:pt>
                <c:pt idx="1214">
                  <c:v>1.4112</c:v>
                </c:pt>
                <c:pt idx="1215">
                  <c:v>1.4031</c:v>
                </c:pt>
                <c:pt idx="1216">
                  <c:v>1.3956</c:v>
                </c:pt>
                <c:pt idx="1217">
                  <c:v>1.3368</c:v>
                </c:pt>
                <c:pt idx="1218">
                  <c:v>1.3437000000000001</c:v>
                </c:pt>
                <c:pt idx="1219">
                  <c:v>1.3634999999999999</c:v>
                </c:pt>
                <c:pt idx="1220">
                  <c:v>1.3609</c:v>
                </c:pt>
                <c:pt idx="1221">
                  <c:v>1.385</c:v>
                </c:pt>
                <c:pt idx="1222">
                  <c:v>1.3862999999999999</c:v>
                </c:pt>
                <c:pt idx="1223">
                  <c:v>1.3854</c:v>
                </c:pt>
                <c:pt idx="1224">
                  <c:v>1.3984000000000001</c:v>
                </c:pt>
                <c:pt idx="1225">
                  <c:v>1.3652000000000002</c:v>
                </c:pt>
                <c:pt idx="1226">
                  <c:v>#N/A</c:v>
                </c:pt>
                <c:pt idx="1227">
                  <c:v>1.3866000000000001</c:v>
                </c:pt>
                <c:pt idx="1228">
                  <c:v>1.4102000000000001</c:v>
                </c:pt>
                <c:pt idx="1229">
                  <c:v>1.4186000000000001</c:v>
                </c:pt>
                <c:pt idx="1230">
                  <c:v>1.4635</c:v>
                </c:pt>
                <c:pt idx="1231">
                  <c:v>1.4502999999999999</c:v>
                </c:pt>
                <c:pt idx="1232">
                  <c:v>1.4603999999999999</c:v>
                </c:pt>
                <c:pt idx="1233">
                  <c:v>1.4437</c:v>
                </c:pt>
                <c:pt idx="1234">
                  <c:v>1.4103000000000001</c:v>
                </c:pt>
                <c:pt idx="1235">
                  <c:v>1.4458000000000002</c:v>
                </c:pt>
                <c:pt idx="1236">
                  <c:v>1.4312</c:v>
                </c:pt>
                <c:pt idx="1237">
                  <c:v>1.4421999999999999</c:v>
                </c:pt>
                <c:pt idx="1238">
                  <c:v>1.4663999999999999</c:v>
                </c:pt>
                <c:pt idx="1239">
                  <c:v>1.452</c:v>
                </c:pt>
                <c:pt idx="1240">
                  <c:v>1.3737999999999999</c:v>
                </c:pt>
                <c:pt idx="1241">
                  <c:v>1.3741999999999999</c:v>
                </c:pt>
                <c:pt idx="1242">
                  <c:v>1.4096000000000002</c:v>
                </c:pt>
                <c:pt idx="1243">
                  <c:v>1.4362999999999999</c:v>
                </c:pt>
                <c:pt idx="1244">
                  <c:v>1.4616999999999998</c:v>
                </c:pt>
                <c:pt idx="1245">
                  <c:v>1.4622999999999999</c:v>
                </c:pt>
                <c:pt idx="1246">
                  <c:v>1.4287999999999998</c:v>
                </c:pt>
                <c:pt idx="1247">
                  <c:v>1.3993</c:v>
                </c:pt>
                <c:pt idx="1248">
                  <c:v>1.3787</c:v>
                </c:pt>
                <c:pt idx="1249">
                  <c:v>1.3737000000000001</c:v>
                </c:pt>
                <c:pt idx="1250">
                  <c:v>1.4125000000000001</c:v>
                </c:pt>
                <c:pt idx="1251">
                  <c:v>1.4419999999999999</c:v>
                </c:pt>
                <c:pt idx="1252">
                  <c:v>1.3940999999999999</c:v>
                </c:pt>
                <c:pt idx="1253">
                  <c:v>1.3940000000000001</c:v>
                </c:pt>
                <c:pt idx="1254">
                  <c:v>#N/A</c:v>
                </c:pt>
                <c:pt idx="1255">
                  <c:v>1.3415999999999999</c:v>
                </c:pt>
                <c:pt idx="1256">
                  <c:v>1.3241999999999998</c:v>
                </c:pt>
                <c:pt idx="1257">
                  <c:v>1.3307</c:v>
                </c:pt>
                <c:pt idx="1258">
                  <c:v>1.3773</c:v>
                </c:pt>
                <c:pt idx="1259">
                  <c:v>1.3587</c:v>
                </c:pt>
                <c:pt idx="1260">
                  <c:v>1.3956999999999999</c:v>
                </c:pt>
                <c:pt idx="1261">
                  <c:v>#N/A</c:v>
                </c:pt>
                <c:pt idx="1262">
                  <c:v>1.4156</c:v>
                </c:pt>
                <c:pt idx="1263">
                  <c:v>1.4705000000000001</c:v>
                </c:pt>
                <c:pt idx="1264">
                  <c:v>1.4750999999999999</c:v>
                </c:pt>
                <c:pt idx="1265">
                  <c:v>1.4494</c:v>
                </c:pt>
                <c:pt idx="1266">
                  <c:v>1.3281000000000001</c:v>
                </c:pt>
                <c:pt idx="1267">
                  <c:v>1.3916999999999999</c:v>
                </c:pt>
                <c:pt idx="1268">
                  <c:v>1.371</c:v>
                </c:pt>
                <c:pt idx="1269">
                  <c:v>1.3755999999999999</c:v>
                </c:pt>
                <c:pt idx="1270">
                  <c:v>1.3622999999999998</c:v>
                </c:pt>
                <c:pt idx="1271">
                  <c:v>1.3291999999999999</c:v>
                </c:pt>
                <c:pt idx="1272">
                  <c:v>1.3634999999999999</c:v>
                </c:pt>
                <c:pt idx="1273">
                  <c:v>1.3963999999999999</c:v>
                </c:pt>
                <c:pt idx="1274">
                  <c:v>1.4036000000000002</c:v>
                </c:pt>
                <c:pt idx="1275">
                  <c:v>1.3818999999999999</c:v>
                </c:pt>
                <c:pt idx="1276">
                  <c:v>1.4180000000000001</c:v>
                </c:pt>
                <c:pt idx="1277">
                  <c:v>1.4175</c:v>
                </c:pt>
                <c:pt idx="1278">
                  <c:v>1.4138999999999999</c:v>
                </c:pt>
                <c:pt idx="1279">
                  <c:v>1.4478</c:v>
                </c:pt>
                <c:pt idx="1280">
                  <c:v>1.4559</c:v>
                </c:pt>
                <c:pt idx="1281">
                  <c:v>1.4786000000000001</c:v>
                </c:pt>
                <c:pt idx="1282">
                  <c:v>1.4783999999999999</c:v>
                </c:pt>
              </c:numCache>
            </c:numRef>
          </c:val>
          <c:smooth val="0"/>
          <c:extLst>
            <c:ext xmlns:c16="http://schemas.microsoft.com/office/drawing/2014/chart" uri="{C3380CC4-5D6E-409C-BE32-E72D297353CC}">
              <c16:uniqueId val="{00000001-38E9-3A47-88E1-C12090EB7153}"/>
            </c:ext>
          </c:extLst>
        </c:ser>
        <c:dLbls>
          <c:showLegendKey val="0"/>
          <c:showVal val="0"/>
          <c:showCatName val="0"/>
          <c:showSerName val="0"/>
          <c:showPercent val="0"/>
          <c:showBubbleSize val="0"/>
        </c:dLbls>
        <c:smooth val="0"/>
        <c:axId val="1711207231"/>
        <c:axId val="656224047"/>
      </c:lineChart>
      <c:dateAx>
        <c:axId val="1711207231"/>
        <c:scaling>
          <c:orientation val="minMax"/>
        </c:scaling>
        <c:delete val="0"/>
        <c:axPos val="b"/>
        <c:numFmt formatCode="[$-409]mmm\-yy;@" sourceLinked="0"/>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56224047"/>
        <c:crossesAt val="-1"/>
        <c:auto val="0"/>
        <c:lblOffset val="100"/>
        <c:baseTimeUnit val="days"/>
        <c:majorUnit val="6"/>
        <c:majorTimeUnit val="months"/>
      </c:dateAx>
      <c:valAx>
        <c:axId val="656224047"/>
        <c:scaling>
          <c:orientation val="minMax"/>
        </c:scaling>
        <c:delete val="0"/>
        <c:axPos val="l"/>
        <c:numFmt formatCode="0%;\(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7112072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spPr>
            <a:solidFill>
              <a:srgbClr val="0F3557"/>
            </a:solidFill>
            <a:ln>
              <a:noFill/>
            </a:ln>
            <a:effectLst/>
          </c:spPr>
          <c:invertIfNegative val="0"/>
          <c:dPt>
            <c:idx val="6"/>
            <c:invertIfNegative val="0"/>
            <c:bubble3D val="0"/>
            <c:spPr>
              <a:pattFill prst="wdUpDiag">
                <a:fgClr>
                  <a:srgbClr val="0F3557"/>
                </a:fgClr>
                <a:bgClr>
                  <a:schemeClr val="bg1"/>
                </a:bgClr>
              </a:pattFill>
              <a:ln>
                <a:solidFill>
                  <a:srgbClr val="0F3557"/>
                </a:solidFill>
              </a:ln>
              <a:effectLst/>
            </c:spPr>
            <c:extLst>
              <c:ext xmlns:c16="http://schemas.microsoft.com/office/drawing/2014/chart" uri="{C3380CC4-5D6E-409C-BE32-E72D297353CC}">
                <c16:uniqueId val="{00000001-FCED-F646-94E9-9D0DCC1ABAFC}"/>
              </c:ext>
            </c:extLst>
          </c:dPt>
          <c:dPt>
            <c:idx val="7"/>
            <c:invertIfNegative val="0"/>
            <c:bubble3D val="0"/>
            <c:spPr>
              <a:pattFill prst="wdUpDiag">
                <a:fgClr>
                  <a:srgbClr val="0F3557"/>
                </a:fgClr>
                <a:bgClr>
                  <a:schemeClr val="bg1"/>
                </a:bgClr>
              </a:pattFill>
              <a:ln>
                <a:solidFill>
                  <a:srgbClr val="0F3557"/>
                </a:solidFill>
              </a:ln>
              <a:effectLst/>
            </c:spPr>
            <c:extLst>
              <c:ext xmlns:c16="http://schemas.microsoft.com/office/drawing/2014/chart" uri="{C3380CC4-5D6E-409C-BE32-E72D297353CC}">
                <c16:uniqueId val="{00000003-FCED-F646-94E9-9D0DCC1ABAFC}"/>
              </c:ext>
            </c:extLst>
          </c:dPt>
          <c:dPt>
            <c:idx val="8"/>
            <c:invertIfNegative val="0"/>
            <c:bubble3D val="0"/>
            <c:spPr>
              <a:pattFill prst="wdUpDiag">
                <a:fgClr>
                  <a:srgbClr val="0F3557"/>
                </a:fgClr>
                <a:bgClr>
                  <a:schemeClr val="bg1"/>
                </a:bgClr>
              </a:pattFill>
              <a:ln>
                <a:solidFill>
                  <a:srgbClr val="0F3557"/>
                </a:solidFill>
              </a:ln>
              <a:effectLst/>
            </c:spPr>
            <c:extLst>
              <c:ext xmlns:c16="http://schemas.microsoft.com/office/drawing/2014/chart" uri="{C3380CC4-5D6E-409C-BE32-E72D297353CC}">
                <c16:uniqueId val="{00000005-FCED-F646-94E9-9D0DCC1ABAFC}"/>
              </c:ext>
            </c:extLst>
          </c:dPt>
          <c:dPt>
            <c:idx val="9"/>
            <c:invertIfNegative val="0"/>
            <c:bubble3D val="0"/>
            <c:spPr>
              <a:pattFill prst="wdUpDiag">
                <a:fgClr>
                  <a:srgbClr val="0F3557"/>
                </a:fgClr>
                <a:bgClr>
                  <a:schemeClr val="bg1"/>
                </a:bgClr>
              </a:pattFill>
              <a:ln>
                <a:solidFill>
                  <a:srgbClr val="0F3557"/>
                </a:solidFill>
              </a:ln>
              <a:effectLst/>
            </c:spPr>
            <c:extLst>
              <c:ext xmlns:c16="http://schemas.microsoft.com/office/drawing/2014/chart" uri="{C3380CC4-5D6E-409C-BE32-E72D297353CC}">
                <c16:uniqueId val="{00000007-FCED-F646-94E9-9D0DCC1ABAFC}"/>
              </c:ext>
            </c:extLst>
          </c:dPt>
          <c:dPt>
            <c:idx val="10"/>
            <c:invertIfNegative val="0"/>
            <c:bubble3D val="0"/>
            <c:spPr>
              <a:pattFill prst="wdUpDiag">
                <a:fgClr>
                  <a:srgbClr val="0F3557"/>
                </a:fgClr>
                <a:bgClr>
                  <a:schemeClr val="bg1"/>
                </a:bgClr>
              </a:pattFill>
              <a:ln>
                <a:solidFill>
                  <a:srgbClr val="0F3557"/>
                </a:solidFill>
              </a:ln>
              <a:effectLst/>
            </c:spPr>
            <c:extLst>
              <c:ext xmlns:c16="http://schemas.microsoft.com/office/drawing/2014/chart" uri="{C3380CC4-5D6E-409C-BE32-E72D297353CC}">
                <c16:uniqueId val="{00000009-FCED-F646-94E9-9D0DCC1ABAFC}"/>
              </c:ext>
            </c:extLst>
          </c:dPt>
          <c:dPt>
            <c:idx val="11"/>
            <c:invertIfNegative val="0"/>
            <c:bubble3D val="0"/>
            <c:spPr>
              <a:pattFill prst="wdUpDiag">
                <a:fgClr>
                  <a:srgbClr val="0F3557"/>
                </a:fgClr>
                <a:bgClr>
                  <a:schemeClr val="bg1"/>
                </a:bgClr>
              </a:pattFill>
              <a:ln>
                <a:solidFill>
                  <a:srgbClr val="0F3557"/>
                </a:solidFill>
              </a:ln>
              <a:effectLst/>
            </c:spPr>
            <c:extLst>
              <c:ext xmlns:c16="http://schemas.microsoft.com/office/drawing/2014/chart" uri="{C3380CC4-5D6E-409C-BE32-E72D297353CC}">
                <c16:uniqueId val="{0000000B-FCED-F646-94E9-9D0DCC1ABAFC}"/>
              </c:ext>
            </c:extLst>
          </c:dPt>
          <c:dPt>
            <c:idx val="12"/>
            <c:invertIfNegative val="0"/>
            <c:bubble3D val="0"/>
            <c:spPr>
              <a:pattFill prst="wdUpDiag">
                <a:fgClr>
                  <a:srgbClr val="0F3557"/>
                </a:fgClr>
                <a:bgClr>
                  <a:schemeClr val="bg1"/>
                </a:bgClr>
              </a:pattFill>
              <a:ln>
                <a:solidFill>
                  <a:srgbClr val="0F3557"/>
                </a:solidFill>
              </a:ln>
              <a:effectLst/>
            </c:spPr>
            <c:extLst>
              <c:ext xmlns:c16="http://schemas.microsoft.com/office/drawing/2014/chart" uri="{C3380CC4-5D6E-409C-BE32-E72D297353CC}">
                <c16:uniqueId val="{0000000D-FCED-F646-94E9-9D0DCC1ABAFC}"/>
              </c:ext>
            </c:extLst>
          </c:dPt>
          <c:dPt>
            <c:idx val="13"/>
            <c:invertIfNegative val="0"/>
            <c:bubble3D val="0"/>
            <c:spPr>
              <a:pattFill prst="wdUpDiag">
                <a:fgClr>
                  <a:srgbClr val="0F3557"/>
                </a:fgClr>
                <a:bgClr>
                  <a:schemeClr val="bg1"/>
                </a:bgClr>
              </a:pattFill>
              <a:ln>
                <a:solidFill>
                  <a:srgbClr val="0F3557"/>
                </a:solidFill>
              </a:ln>
              <a:effectLst/>
            </c:spPr>
            <c:extLst>
              <c:ext xmlns:c16="http://schemas.microsoft.com/office/drawing/2014/chart" uri="{C3380CC4-5D6E-409C-BE32-E72D297353CC}">
                <c16:uniqueId val="{0000000F-FCED-F646-94E9-9D0DCC1ABAFC}"/>
              </c:ext>
            </c:extLst>
          </c:dPt>
          <c:cat>
            <c:numRef>
              <c:f>'POS Growth'!$A$2:$A$15</c:f>
              <c:numCache>
                <c:formatCode>General</c:formatCode>
                <c:ptCount val="14"/>
                <c:pt idx="0">
                  <c:v>2019</c:v>
                </c:pt>
                <c:pt idx="1">
                  <c:v>2020</c:v>
                </c:pt>
                <c:pt idx="2">
                  <c:v>2021</c:v>
                </c:pt>
                <c:pt idx="3">
                  <c:v>2022</c:v>
                </c:pt>
                <c:pt idx="4">
                  <c:v>2023</c:v>
                </c:pt>
                <c:pt idx="5">
                  <c:v>2024</c:v>
                </c:pt>
                <c:pt idx="6">
                  <c:v>2025</c:v>
                </c:pt>
                <c:pt idx="7">
                  <c:v>2026</c:v>
                </c:pt>
                <c:pt idx="8">
                  <c:v>2027</c:v>
                </c:pt>
                <c:pt idx="9">
                  <c:v>2028</c:v>
                </c:pt>
                <c:pt idx="10">
                  <c:v>2029</c:v>
                </c:pt>
                <c:pt idx="11">
                  <c:v>2030</c:v>
                </c:pt>
                <c:pt idx="12">
                  <c:v>2031</c:v>
                </c:pt>
                <c:pt idx="13">
                  <c:v>2032</c:v>
                </c:pt>
              </c:numCache>
            </c:numRef>
          </c:cat>
          <c:val>
            <c:numRef>
              <c:f>'POS Growth'!$B$2:$B$15</c:f>
              <c:numCache>
                <c:formatCode>General</c:formatCode>
                <c:ptCount val="14"/>
                <c:pt idx="0">
                  <c:v>5</c:v>
                </c:pt>
                <c:pt idx="1">
                  <c:v>5.2</c:v>
                </c:pt>
                <c:pt idx="2">
                  <c:v>6</c:v>
                </c:pt>
                <c:pt idx="3">
                  <c:v>8.4700000000000006</c:v>
                </c:pt>
                <c:pt idx="4">
                  <c:v>9.8699999999999992</c:v>
                </c:pt>
                <c:pt idx="5">
                  <c:v>9.9499999999999993</c:v>
                </c:pt>
                <c:pt idx="6">
                  <c:v>12</c:v>
                </c:pt>
                <c:pt idx="7">
                  <c:v>14</c:v>
                </c:pt>
                <c:pt idx="8">
                  <c:v>20</c:v>
                </c:pt>
                <c:pt idx="9">
                  <c:v>23</c:v>
                </c:pt>
                <c:pt idx="10">
                  <c:v>30</c:v>
                </c:pt>
                <c:pt idx="11">
                  <c:v>38</c:v>
                </c:pt>
                <c:pt idx="12">
                  <c:v>50</c:v>
                </c:pt>
                <c:pt idx="13">
                  <c:v>70</c:v>
                </c:pt>
              </c:numCache>
            </c:numRef>
          </c:val>
          <c:extLst>
            <c:ext xmlns:c16="http://schemas.microsoft.com/office/drawing/2014/chart" uri="{C3380CC4-5D6E-409C-BE32-E72D297353CC}">
              <c16:uniqueId val="{00000010-FCED-F646-94E9-9D0DCC1ABAFC}"/>
            </c:ext>
          </c:extLst>
        </c:ser>
        <c:dLbls>
          <c:showLegendKey val="0"/>
          <c:showVal val="0"/>
          <c:showCatName val="0"/>
          <c:showSerName val="0"/>
          <c:showPercent val="0"/>
          <c:showBubbleSize val="0"/>
        </c:dLbls>
        <c:gapWidth val="269"/>
        <c:overlap val="-27"/>
        <c:axId val="1606052872"/>
        <c:axId val="1606038536"/>
      </c:barChart>
      <c:catAx>
        <c:axId val="160605287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mn-cs"/>
              </a:defRPr>
            </a:pPr>
            <a:endParaRPr lang="en-US"/>
          </a:p>
        </c:txPr>
        <c:crossAx val="1606038536"/>
        <c:crosses val="autoZero"/>
        <c:auto val="1"/>
        <c:lblAlgn val="ctr"/>
        <c:lblOffset val="100"/>
        <c:noMultiLvlLbl val="0"/>
      </c:catAx>
      <c:valAx>
        <c:axId val="1606038536"/>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mn-cs"/>
              </a:defRPr>
            </a:pPr>
            <a:endParaRPr lang="en-US"/>
          </a:p>
        </c:txPr>
        <c:crossAx val="16060528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ransaction Value'!$A$5</c:f>
              <c:strCache>
                <c:ptCount val="1"/>
                <c:pt idx="0">
                  <c:v>Total</c:v>
                </c:pt>
              </c:strCache>
            </c:strRef>
          </c:tx>
          <c:spPr>
            <a:solidFill>
              <a:srgbClr val="0F3557"/>
            </a:solidFill>
            <a:ln>
              <a:noFill/>
            </a:ln>
            <a:effectLst/>
          </c:spPr>
          <c:invertIfNegative val="0"/>
          <c:dPt>
            <c:idx val="8"/>
            <c:invertIfNegative val="0"/>
            <c:bubble3D val="0"/>
            <c:spPr>
              <a:pattFill prst="wdUpDiag">
                <a:fgClr>
                  <a:srgbClr val="0F3557"/>
                </a:fgClr>
                <a:bgClr>
                  <a:schemeClr val="bg1"/>
                </a:bgClr>
              </a:pattFill>
              <a:ln>
                <a:solidFill>
                  <a:srgbClr val="000000"/>
                </a:solidFill>
              </a:ln>
              <a:effectLst/>
            </c:spPr>
            <c:extLst>
              <c:ext xmlns:c16="http://schemas.microsoft.com/office/drawing/2014/chart" uri="{C3380CC4-5D6E-409C-BE32-E72D297353CC}">
                <c16:uniqueId val="{00000001-2FC2-9445-B5DB-BCE0A1599EFE}"/>
              </c:ext>
            </c:extLst>
          </c:dPt>
          <c:dPt>
            <c:idx val="9"/>
            <c:invertIfNegative val="0"/>
            <c:bubble3D val="0"/>
            <c:spPr>
              <a:pattFill prst="wdUpDiag">
                <a:fgClr>
                  <a:srgbClr val="0F3557"/>
                </a:fgClr>
                <a:bgClr>
                  <a:schemeClr val="bg1"/>
                </a:bgClr>
              </a:pattFill>
              <a:ln>
                <a:solidFill>
                  <a:srgbClr val="000000"/>
                </a:solidFill>
              </a:ln>
              <a:effectLst/>
            </c:spPr>
            <c:extLst>
              <c:ext xmlns:c16="http://schemas.microsoft.com/office/drawing/2014/chart" uri="{C3380CC4-5D6E-409C-BE32-E72D297353CC}">
                <c16:uniqueId val="{00000003-2FC2-9445-B5DB-BCE0A1599EFE}"/>
              </c:ext>
            </c:extLst>
          </c:dPt>
          <c:dPt>
            <c:idx val="10"/>
            <c:invertIfNegative val="0"/>
            <c:bubble3D val="0"/>
            <c:spPr>
              <a:pattFill prst="wdUpDiag">
                <a:fgClr>
                  <a:srgbClr val="0F3557"/>
                </a:fgClr>
                <a:bgClr>
                  <a:schemeClr val="bg1"/>
                </a:bgClr>
              </a:pattFill>
              <a:ln>
                <a:solidFill>
                  <a:srgbClr val="000000"/>
                </a:solidFill>
              </a:ln>
              <a:effectLst/>
            </c:spPr>
            <c:extLst>
              <c:ext xmlns:c16="http://schemas.microsoft.com/office/drawing/2014/chart" uri="{C3380CC4-5D6E-409C-BE32-E72D297353CC}">
                <c16:uniqueId val="{00000005-2FC2-9445-B5DB-BCE0A1599EFE}"/>
              </c:ext>
            </c:extLst>
          </c:dPt>
          <c:dPt>
            <c:idx val="11"/>
            <c:invertIfNegative val="0"/>
            <c:bubble3D val="0"/>
            <c:spPr>
              <a:pattFill prst="wdUpDiag">
                <a:fgClr>
                  <a:srgbClr val="0F3557"/>
                </a:fgClr>
                <a:bgClr>
                  <a:schemeClr val="bg1"/>
                </a:bgClr>
              </a:pattFill>
              <a:ln>
                <a:solidFill>
                  <a:srgbClr val="000000"/>
                </a:solidFill>
              </a:ln>
              <a:effectLst/>
            </c:spPr>
            <c:extLst>
              <c:ext xmlns:c16="http://schemas.microsoft.com/office/drawing/2014/chart" uri="{C3380CC4-5D6E-409C-BE32-E72D297353CC}">
                <c16:uniqueId val="{00000007-2FC2-9445-B5DB-BCE0A1599EFE}"/>
              </c:ext>
            </c:extLst>
          </c:dPt>
          <c:dPt>
            <c:idx val="12"/>
            <c:invertIfNegative val="0"/>
            <c:bubble3D val="0"/>
            <c:spPr>
              <a:pattFill prst="wdUpDiag">
                <a:fgClr>
                  <a:srgbClr val="0F3557"/>
                </a:fgClr>
                <a:bgClr>
                  <a:schemeClr val="bg1"/>
                </a:bgClr>
              </a:pattFill>
              <a:ln>
                <a:solidFill>
                  <a:srgbClr val="000000"/>
                </a:solidFill>
              </a:ln>
              <a:effectLst/>
            </c:spPr>
            <c:extLst>
              <c:ext xmlns:c16="http://schemas.microsoft.com/office/drawing/2014/chart" uri="{C3380CC4-5D6E-409C-BE32-E72D297353CC}">
                <c16:uniqueId val="{00000009-2FC2-9445-B5DB-BCE0A1599EFE}"/>
              </c:ext>
            </c:extLst>
          </c:dPt>
          <c:dLbls>
            <c:numFmt formatCode="&quot;$&quot;#,##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ansaction Value'!$B$3:$N$4</c:f>
              <c:strCache>
                <c:ptCount val="13"/>
                <c:pt idx="0">
                  <c:v>2017</c:v>
                </c:pt>
                <c:pt idx="1">
                  <c:v>2018</c:v>
                </c:pt>
                <c:pt idx="2">
                  <c:v>2019</c:v>
                </c:pt>
                <c:pt idx="3">
                  <c:v>2020</c:v>
                </c:pt>
                <c:pt idx="4">
                  <c:v>2021</c:v>
                </c:pt>
                <c:pt idx="5">
                  <c:v>2022</c:v>
                </c:pt>
                <c:pt idx="6">
                  <c:v>2023</c:v>
                </c:pt>
                <c:pt idx="7">
                  <c:v>2024</c:v>
                </c:pt>
                <c:pt idx="8">
                  <c:v>2025</c:v>
                </c:pt>
                <c:pt idx="9">
                  <c:v>2026</c:v>
                </c:pt>
                <c:pt idx="10">
                  <c:v>2027</c:v>
                </c:pt>
                <c:pt idx="11">
                  <c:v>2028</c:v>
                </c:pt>
                <c:pt idx="12">
                  <c:v>2029</c:v>
                </c:pt>
              </c:strCache>
            </c:strRef>
          </c:cat>
          <c:val>
            <c:numRef>
              <c:f>'Transaction Value'!$B$5:$N$5</c:f>
              <c:numCache>
                <c:formatCode>0.00</c:formatCode>
                <c:ptCount val="13"/>
                <c:pt idx="0">
                  <c:v>3.75</c:v>
                </c:pt>
                <c:pt idx="1">
                  <c:v>4.29</c:v>
                </c:pt>
                <c:pt idx="2">
                  <c:v>5.09</c:v>
                </c:pt>
                <c:pt idx="3">
                  <c:v>5.85</c:v>
                </c:pt>
                <c:pt idx="4">
                  <c:v>7.21</c:v>
                </c:pt>
                <c:pt idx="5">
                  <c:v>8.11</c:v>
                </c:pt>
                <c:pt idx="6">
                  <c:v>9.4</c:v>
                </c:pt>
                <c:pt idx="7">
                  <c:v>10.85</c:v>
                </c:pt>
                <c:pt idx="8">
                  <c:v>12.56</c:v>
                </c:pt>
                <c:pt idx="9">
                  <c:v>14.6</c:v>
                </c:pt>
                <c:pt idx="10">
                  <c:v>17.04</c:v>
                </c:pt>
                <c:pt idx="11">
                  <c:v>19.97</c:v>
                </c:pt>
                <c:pt idx="12">
                  <c:v>23.5</c:v>
                </c:pt>
              </c:numCache>
            </c:numRef>
          </c:val>
          <c:extLst>
            <c:ext xmlns:c16="http://schemas.microsoft.com/office/drawing/2014/chart" uri="{C3380CC4-5D6E-409C-BE32-E72D297353CC}">
              <c16:uniqueId val="{0000000A-2FC2-9445-B5DB-BCE0A1599EFE}"/>
            </c:ext>
          </c:extLst>
        </c:ser>
        <c:dLbls>
          <c:dLblPos val="outEnd"/>
          <c:showLegendKey val="0"/>
          <c:showVal val="1"/>
          <c:showCatName val="0"/>
          <c:showSerName val="0"/>
          <c:showPercent val="0"/>
          <c:showBubbleSize val="0"/>
        </c:dLbls>
        <c:gapWidth val="219"/>
        <c:overlap val="-27"/>
        <c:axId val="811555919"/>
        <c:axId val="472695679"/>
      </c:barChart>
      <c:catAx>
        <c:axId val="811555919"/>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72695679"/>
        <c:crosses val="autoZero"/>
        <c:auto val="1"/>
        <c:lblAlgn val="ctr"/>
        <c:lblOffset val="100"/>
        <c:noMultiLvlLbl val="0"/>
      </c:catAx>
      <c:valAx>
        <c:axId val="472695679"/>
        <c:scaling>
          <c:orientation val="minMax"/>
        </c:scaling>
        <c:delete val="0"/>
        <c:axPos val="l"/>
        <c:majorGridlines>
          <c:spPr>
            <a:ln w="9525" cap="flat" cmpd="sng" algn="ctr">
              <a:noFill/>
              <a:round/>
            </a:ln>
            <a:effectLst/>
          </c:spPr>
        </c:majorGridlines>
        <c:numFmt formatCode="0.00" sourceLinked="1"/>
        <c:majorTickMark val="out"/>
        <c:minorTickMark val="none"/>
        <c:tickLblPos val="nextTo"/>
        <c:spPr>
          <a:noFill/>
          <a:ln>
            <a:solidFill>
              <a:srgbClr val="0F3557"/>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1155591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oint-of-Sale (POS) Market Shar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DEC-43BA-A813-080CA8050BA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DEC-43BA-A813-080CA8050BA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DEC-43BA-A813-080CA8050BA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DEC-43BA-A813-080CA8050BA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DEC-43BA-A813-080CA8050BA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LSPD</c:v>
                </c:pt>
                <c:pt idx="1">
                  <c:v>Toast</c:v>
                </c:pt>
                <c:pt idx="2">
                  <c:v>Clover</c:v>
                </c:pt>
                <c:pt idx="3">
                  <c:v>Retail Sales Manager</c:v>
                </c:pt>
                <c:pt idx="4">
                  <c:v>Block</c:v>
                </c:pt>
              </c:strCache>
            </c:strRef>
          </c:cat>
          <c:val>
            <c:numRef>
              <c:f>Sheet1!$B$2:$B$6</c:f>
              <c:numCache>
                <c:formatCode>0.00%</c:formatCode>
                <c:ptCount val="5"/>
                <c:pt idx="0">
                  <c:v>7.4099999999999999E-2</c:v>
                </c:pt>
                <c:pt idx="1">
                  <c:v>0.24299999999999999</c:v>
                </c:pt>
                <c:pt idx="2">
                  <c:v>5.5199999999999999E-2</c:v>
                </c:pt>
                <c:pt idx="3">
                  <c:v>0.1065</c:v>
                </c:pt>
                <c:pt idx="4">
                  <c:v>0.28010000000000002</c:v>
                </c:pt>
              </c:numCache>
            </c:numRef>
          </c:val>
          <c:extLst>
            <c:ext xmlns:c16="http://schemas.microsoft.com/office/drawing/2014/chart" uri="{C3380CC4-5D6E-409C-BE32-E72D297353CC}">
              <c16:uniqueId val="{00000000-4EDC-3A4E-AEC2-493FE62D3511}"/>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5</c:f>
              <c:strCache>
                <c:ptCount val="1"/>
                <c:pt idx="0">
                  <c:v>Market Size (In USD Billions)</c:v>
                </c:pt>
              </c:strCache>
            </c:strRef>
          </c:tx>
          <c:spPr>
            <a:solidFill>
              <a:srgbClr val="0F3557"/>
            </a:solidFill>
            <a:ln>
              <a:solidFill>
                <a:schemeClr val="tx2"/>
              </a:solidFill>
              <a:prstDash val="solid"/>
            </a:ln>
            <a:effectLst/>
          </c:spPr>
          <c:invertIfNegative val="0"/>
          <c:dPt>
            <c:idx val="0"/>
            <c:invertIfNegative val="0"/>
            <c:bubble3D val="0"/>
            <c:spPr>
              <a:solidFill>
                <a:srgbClr val="244462"/>
              </a:solidFill>
              <a:ln>
                <a:solidFill>
                  <a:schemeClr val="tx2"/>
                </a:solidFill>
                <a:prstDash val="solid"/>
              </a:ln>
              <a:effectLst/>
            </c:spPr>
            <c:extLst>
              <c:ext xmlns:c16="http://schemas.microsoft.com/office/drawing/2014/chart" uri="{C3380CC4-5D6E-409C-BE32-E72D297353CC}">
                <c16:uniqueId val="{0000000A-12F5-4D43-AA5F-AC3EEBD7E6D8}"/>
              </c:ext>
            </c:extLst>
          </c:dPt>
          <c:dPt>
            <c:idx val="1"/>
            <c:invertIfNegative val="0"/>
            <c:bubble3D val="0"/>
            <c:spPr>
              <a:pattFill prst="wdDnDiag">
                <a:fgClr>
                  <a:srgbClr val="0F3557"/>
                </a:fgClr>
                <a:bgClr>
                  <a:schemeClr val="bg1"/>
                </a:bgClr>
              </a:pattFill>
              <a:ln>
                <a:solidFill>
                  <a:schemeClr val="tx2"/>
                </a:solidFill>
                <a:prstDash val="solid"/>
              </a:ln>
              <a:effectLst/>
            </c:spPr>
            <c:extLst>
              <c:ext xmlns:c16="http://schemas.microsoft.com/office/drawing/2014/chart" uri="{C3380CC4-5D6E-409C-BE32-E72D297353CC}">
                <c16:uniqueId val="{00000008-1E78-134A-851E-EA3A26957F09}"/>
              </c:ext>
            </c:extLst>
          </c:dPt>
          <c:dPt>
            <c:idx val="2"/>
            <c:invertIfNegative val="0"/>
            <c:bubble3D val="0"/>
            <c:spPr>
              <a:pattFill prst="wdDnDiag">
                <a:fgClr>
                  <a:srgbClr val="0F3557"/>
                </a:fgClr>
                <a:bgClr>
                  <a:schemeClr val="bg1"/>
                </a:bgClr>
              </a:pattFill>
              <a:ln>
                <a:solidFill>
                  <a:schemeClr val="tx2"/>
                </a:solidFill>
                <a:prstDash val="solid"/>
              </a:ln>
              <a:effectLst/>
            </c:spPr>
            <c:extLst>
              <c:ext xmlns:c16="http://schemas.microsoft.com/office/drawing/2014/chart" uri="{C3380CC4-5D6E-409C-BE32-E72D297353CC}">
                <c16:uniqueId val="{00000000-EA11-3E40-B00D-BA58385EA38B}"/>
              </c:ext>
            </c:extLst>
          </c:dPt>
          <c:dPt>
            <c:idx val="3"/>
            <c:invertIfNegative val="0"/>
            <c:bubble3D val="0"/>
            <c:spPr>
              <a:pattFill prst="wdDnDiag">
                <a:fgClr>
                  <a:srgbClr val="0F3557"/>
                </a:fgClr>
                <a:bgClr>
                  <a:schemeClr val="bg1"/>
                </a:bgClr>
              </a:pattFill>
              <a:ln>
                <a:solidFill>
                  <a:schemeClr val="tx2"/>
                </a:solidFill>
                <a:prstDash val="solid"/>
              </a:ln>
              <a:effectLst/>
            </c:spPr>
            <c:extLst>
              <c:ext xmlns:c16="http://schemas.microsoft.com/office/drawing/2014/chart" uri="{C3380CC4-5D6E-409C-BE32-E72D297353CC}">
                <c16:uniqueId val="{00000001-EA11-3E40-B00D-BA58385EA38B}"/>
              </c:ext>
            </c:extLst>
          </c:dPt>
          <c:dPt>
            <c:idx val="4"/>
            <c:invertIfNegative val="0"/>
            <c:bubble3D val="0"/>
            <c:spPr>
              <a:pattFill prst="wdDnDiag">
                <a:fgClr>
                  <a:srgbClr val="0F3557"/>
                </a:fgClr>
                <a:bgClr>
                  <a:schemeClr val="bg1"/>
                </a:bgClr>
              </a:pattFill>
              <a:ln>
                <a:solidFill>
                  <a:schemeClr val="tx2"/>
                </a:solidFill>
                <a:prstDash val="solid"/>
              </a:ln>
              <a:effectLst/>
            </c:spPr>
            <c:extLst>
              <c:ext xmlns:c16="http://schemas.microsoft.com/office/drawing/2014/chart" uri="{C3380CC4-5D6E-409C-BE32-E72D297353CC}">
                <c16:uniqueId val="{00000002-EA11-3E40-B00D-BA58385EA38B}"/>
              </c:ext>
            </c:extLst>
          </c:dPt>
          <c:dPt>
            <c:idx val="5"/>
            <c:invertIfNegative val="0"/>
            <c:bubble3D val="0"/>
            <c:spPr>
              <a:pattFill prst="wdDnDiag">
                <a:fgClr>
                  <a:srgbClr val="0F3557"/>
                </a:fgClr>
                <a:bgClr>
                  <a:schemeClr val="bg1"/>
                </a:bgClr>
              </a:pattFill>
              <a:ln>
                <a:solidFill>
                  <a:schemeClr val="tx2"/>
                </a:solidFill>
                <a:prstDash val="solid"/>
              </a:ln>
              <a:effectLst/>
            </c:spPr>
            <c:extLst>
              <c:ext xmlns:c16="http://schemas.microsoft.com/office/drawing/2014/chart" uri="{C3380CC4-5D6E-409C-BE32-E72D297353CC}">
                <c16:uniqueId val="{00000003-EA11-3E40-B00D-BA58385EA38B}"/>
              </c:ext>
            </c:extLst>
          </c:dPt>
          <c:cat>
            <c:numRef>
              <c:f>Sheet1!$B$6:$B$11</c:f>
              <c:numCache>
                <c:formatCode>General</c:formatCode>
                <c:ptCount val="6"/>
                <c:pt idx="0">
                  <c:v>2024</c:v>
                </c:pt>
                <c:pt idx="1">
                  <c:v>2025</c:v>
                </c:pt>
                <c:pt idx="2">
                  <c:v>2026</c:v>
                </c:pt>
                <c:pt idx="3">
                  <c:v>2027</c:v>
                </c:pt>
                <c:pt idx="4">
                  <c:v>2028</c:v>
                </c:pt>
                <c:pt idx="5">
                  <c:v>2029</c:v>
                </c:pt>
              </c:numCache>
            </c:numRef>
          </c:cat>
          <c:val>
            <c:numRef>
              <c:f>Sheet1!$C$6:$C$11</c:f>
              <c:numCache>
                <c:formatCode>_("$"* #,##0.00_);_("$"* \(#,##0.00\);_("$"* "-"??_);_(@_)</c:formatCode>
                <c:ptCount val="6"/>
                <c:pt idx="0">
                  <c:v>5384.78</c:v>
                </c:pt>
                <c:pt idx="1">
                  <c:v>5713.2515799999992</c:v>
                </c:pt>
                <c:pt idx="2">
                  <c:v>6061.7599263799984</c:v>
                </c:pt>
                <c:pt idx="3">
                  <c:v>6431.5272818891781</c:v>
                </c:pt>
                <c:pt idx="4">
                  <c:v>6823.8504460844179</c:v>
                </c:pt>
                <c:pt idx="5">
                  <c:v>7240.1053232955674</c:v>
                </c:pt>
              </c:numCache>
            </c:numRef>
          </c:val>
          <c:extLst>
            <c:ext xmlns:c16="http://schemas.microsoft.com/office/drawing/2014/chart" uri="{C3380CC4-5D6E-409C-BE32-E72D297353CC}">
              <c16:uniqueId val="{00000000-1A75-864D-801C-D5B1D6EF69C2}"/>
            </c:ext>
          </c:extLst>
        </c:ser>
        <c:dLbls>
          <c:showLegendKey val="0"/>
          <c:showVal val="0"/>
          <c:showCatName val="0"/>
          <c:showSerName val="0"/>
          <c:showPercent val="0"/>
          <c:showBubbleSize val="0"/>
        </c:dLbls>
        <c:gapWidth val="219"/>
        <c:overlap val="-27"/>
        <c:axId val="1980525456"/>
        <c:axId val="1980523824"/>
      </c:barChart>
      <c:catAx>
        <c:axId val="1980525456"/>
        <c:scaling>
          <c:orientation val="minMax"/>
        </c:scaling>
        <c:delete val="0"/>
        <c:axPos val="b"/>
        <c:numFmt formatCode="General" sourceLinked="1"/>
        <c:majorTickMark val="out"/>
        <c:minorTickMark val="none"/>
        <c:tickLblPos val="nextTo"/>
        <c:spPr>
          <a:solidFill>
            <a:schemeClr val="bg1"/>
          </a:solidFill>
          <a:ln w="9525" cap="flat" cmpd="sng" algn="ctr">
            <a:solidFill>
              <a:schemeClr val="tx2"/>
            </a:solidFill>
            <a:prstDash val="solid"/>
            <a:round/>
          </a:ln>
          <a:effectLst/>
        </c:spPr>
        <c:txPr>
          <a:bodyPr rot="-60000000" spcFirstLastPara="1" vertOverflow="ellipsis" vert="horz" wrap="square" anchor="ctr" anchorCtr="1"/>
          <a:lstStyle/>
          <a:p>
            <a:pPr>
              <a:defRPr sz="900" b="0" i="0" u="none" strike="noStrike" kern="1200" baseline="0">
                <a:ln>
                  <a:noFill/>
                </a:ln>
                <a:solidFill>
                  <a:schemeClr val="tx1"/>
                </a:solidFill>
                <a:latin typeface="Arial" panose="020B0604020202020204" pitchFamily="34" charset="0"/>
                <a:ea typeface="+mn-ea"/>
                <a:cs typeface="Arial" panose="020B0604020202020204" pitchFamily="34" charset="0"/>
              </a:defRPr>
            </a:pPr>
            <a:endParaRPr lang="en-US"/>
          </a:p>
        </c:txPr>
        <c:crossAx val="1980523824"/>
        <c:crosses val="autoZero"/>
        <c:auto val="1"/>
        <c:lblAlgn val="ctr"/>
        <c:lblOffset val="100"/>
        <c:noMultiLvlLbl val="0"/>
      </c:catAx>
      <c:valAx>
        <c:axId val="1980523824"/>
        <c:scaling>
          <c:orientation val="minMax"/>
          <c:min val="5000"/>
        </c:scaling>
        <c:delete val="0"/>
        <c:axPos val="l"/>
        <c:numFmt formatCode="#,##0" sourceLinked="0"/>
        <c:majorTickMark val="out"/>
        <c:minorTickMark val="none"/>
        <c:tickLblPos val="nextTo"/>
        <c:spPr>
          <a:noFill/>
          <a:ln cap="flat">
            <a:solidFill>
              <a:schemeClr val="tx2"/>
            </a:solidFill>
            <a:prstDash val="solid"/>
            <a:round/>
            <a:headEnd type="none"/>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80525456"/>
        <c:crosses val="autoZero"/>
        <c:crossBetween val="between"/>
      </c:valAx>
      <c:spPr>
        <a:noFill/>
        <a:ln w="25400">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tx2"/>
            </a:solidFill>
            <a:ln>
              <a:noFill/>
            </a:ln>
            <a:effectLst/>
          </c:spPr>
          <c:invertIfNegative val="0"/>
          <c:dPt>
            <c:idx val="0"/>
            <c:invertIfNegative val="0"/>
            <c:bubble3D val="0"/>
            <c:spPr>
              <a:solidFill>
                <a:srgbClr val="244462"/>
              </a:solidFill>
              <a:ln>
                <a:noFill/>
              </a:ln>
              <a:effectLst/>
            </c:spPr>
            <c:extLst>
              <c:ext xmlns:c16="http://schemas.microsoft.com/office/drawing/2014/chart" uri="{C3380CC4-5D6E-409C-BE32-E72D297353CC}">
                <c16:uniqueId val="{00000004-8A93-3448-9C40-A408EBC4EBE9}"/>
              </c:ext>
            </c:extLst>
          </c:dPt>
          <c:dPt>
            <c:idx val="1"/>
            <c:invertIfNegative val="0"/>
            <c:bubble3D val="0"/>
            <c:spPr>
              <a:solidFill>
                <a:srgbClr val="244462"/>
              </a:solidFill>
              <a:ln>
                <a:noFill/>
              </a:ln>
              <a:effectLst/>
            </c:spPr>
            <c:extLst>
              <c:ext xmlns:c16="http://schemas.microsoft.com/office/drawing/2014/chart" uri="{C3380CC4-5D6E-409C-BE32-E72D297353CC}">
                <c16:uniqueId val="{00000005-8A93-3448-9C40-A408EBC4EBE9}"/>
              </c:ext>
            </c:extLst>
          </c:dPt>
          <c:dPt>
            <c:idx val="2"/>
            <c:invertIfNegative val="0"/>
            <c:bubble3D val="0"/>
            <c:spPr>
              <a:solidFill>
                <a:srgbClr val="244462"/>
              </a:solidFill>
              <a:ln>
                <a:noFill/>
              </a:ln>
              <a:effectLst/>
            </c:spPr>
            <c:extLst>
              <c:ext xmlns:c16="http://schemas.microsoft.com/office/drawing/2014/chart" uri="{C3380CC4-5D6E-409C-BE32-E72D297353CC}">
                <c16:uniqueId val="{00000006-8A93-3448-9C40-A408EBC4EBE9}"/>
              </c:ext>
            </c:extLst>
          </c:dPt>
          <c:dPt>
            <c:idx val="3"/>
            <c:invertIfNegative val="0"/>
            <c:bubble3D val="0"/>
            <c:spPr>
              <a:solidFill>
                <a:srgbClr val="244462"/>
              </a:solidFill>
              <a:ln>
                <a:noFill/>
              </a:ln>
              <a:effectLst/>
            </c:spPr>
            <c:extLst>
              <c:ext xmlns:c16="http://schemas.microsoft.com/office/drawing/2014/chart" uri="{C3380CC4-5D6E-409C-BE32-E72D297353CC}">
                <c16:uniqueId val="{00000007-8A93-3448-9C40-A408EBC4EBE9}"/>
              </c:ext>
            </c:extLst>
          </c:dPt>
          <c:dPt>
            <c:idx val="4"/>
            <c:invertIfNegative val="0"/>
            <c:bubble3D val="0"/>
            <c:spPr>
              <a:solidFill>
                <a:srgbClr val="244462"/>
              </a:solidFill>
              <a:ln>
                <a:noFill/>
              </a:ln>
              <a:effectLst/>
            </c:spPr>
            <c:extLst>
              <c:ext xmlns:c16="http://schemas.microsoft.com/office/drawing/2014/chart" uri="{C3380CC4-5D6E-409C-BE32-E72D297353CC}">
                <c16:uniqueId val="{00000008-8A93-3448-9C40-A408EBC4EBE9}"/>
              </c:ext>
            </c:extLst>
          </c:dPt>
          <c:dPt>
            <c:idx val="5"/>
            <c:invertIfNegative val="0"/>
            <c:bubble3D val="0"/>
            <c:spPr>
              <a:pattFill prst="wdDnDiag">
                <a:fgClr>
                  <a:srgbClr val="244462"/>
                </a:fgClr>
                <a:bgClr>
                  <a:schemeClr val="bg1"/>
                </a:bgClr>
              </a:pattFill>
              <a:ln>
                <a:solidFill>
                  <a:schemeClr val="accent1"/>
                </a:solidFill>
              </a:ln>
              <a:effectLst/>
            </c:spPr>
            <c:extLst>
              <c:ext xmlns:c16="http://schemas.microsoft.com/office/drawing/2014/chart" uri="{C3380CC4-5D6E-409C-BE32-E72D297353CC}">
                <c16:uniqueId val="{00000001-E608-1B4F-B5C2-91E446C58A05}"/>
              </c:ext>
            </c:extLst>
          </c:dPt>
          <c:dPt>
            <c:idx val="6"/>
            <c:invertIfNegative val="0"/>
            <c:bubble3D val="0"/>
            <c:spPr>
              <a:pattFill prst="wdDnDiag">
                <a:fgClr>
                  <a:srgbClr val="244462"/>
                </a:fgClr>
                <a:bgClr>
                  <a:schemeClr val="bg1"/>
                </a:bgClr>
              </a:pattFill>
              <a:ln>
                <a:solidFill>
                  <a:schemeClr val="accent1"/>
                </a:solidFill>
              </a:ln>
              <a:effectLst/>
            </c:spPr>
            <c:extLst>
              <c:ext xmlns:c16="http://schemas.microsoft.com/office/drawing/2014/chart" uri="{C3380CC4-5D6E-409C-BE32-E72D297353CC}">
                <c16:uniqueId val="{00000003-E608-1B4F-B5C2-91E446C58A0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eat Sub Forecast'!$D$29:$J$29</c:f>
              <c:numCache>
                <c:formatCode>General</c:formatCode>
                <c:ptCount val="7"/>
                <c:pt idx="0">
                  <c:v>2020</c:v>
                </c:pt>
                <c:pt idx="1">
                  <c:v>2021</c:v>
                </c:pt>
                <c:pt idx="2">
                  <c:v>2022</c:v>
                </c:pt>
                <c:pt idx="3">
                  <c:v>2023</c:v>
                </c:pt>
                <c:pt idx="4">
                  <c:v>2024</c:v>
                </c:pt>
                <c:pt idx="5">
                  <c:v>2025</c:v>
                </c:pt>
                <c:pt idx="6">
                  <c:v>2026</c:v>
                </c:pt>
              </c:numCache>
            </c:numRef>
          </c:cat>
          <c:val>
            <c:numRef>
              <c:f>'Meat Sub Forecast'!$D$30:$J$30</c:f>
              <c:numCache>
                <c:formatCode>General</c:formatCode>
                <c:ptCount val="7"/>
                <c:pt idx="0">
                  <c:v>5.58</c:v>
                </c:pt>
                <c:pt idx="1">
                  <c:v>6.58</c:v>
                </c:pt>
                <c:pt idx="2">
                  <c:v>7</c:v>
                </c:pt>
                <c:pt idx="3">
                  <c:v>7.18</c:v>
                </c:pt>
                <c:pt idx="4">
                  <c:v>7.43</c:v>
                </c:pt>
                <c:pt idx="5">
                  <c:v>7.66</c:v>
                </c:pt>
                <c:pt idx="6">
                  <c:v>7.89</c:v>
                </c:pt>
              </c:numCache>
            </c:numRef>
          </c:val>
          <c:extLst>
            <c:ext xmlns:c16="http://schemas.microsoft.com/office/drawing/2014/chart" uri="{C3380CC4-5D6E-409C-BE32-E72D297353CC}">
              <c16:uniqueId val="{00000004-E608-1B4F-B5C2-91E446C58A05}"/>
            </c:ext>
          </c:extLst>
        </c:ser>
        <c:dLbls>
          <c:dLblPos val="outEnd"/>
          <c:showLegendKey val="0"/>
          <c:showVal val="1"/>
          <c:showCatName val="0"/>
          <c:showSerName val="0"/>
          <c:showPercent val="0"/>
          <c:showBubbleSize val="0"/>
        </c:dLbls>
        <c:gapWidth val="219"/>
        <c:overlap val="-27"/>
        <c:axId val="789772720"/>
        <c:axId val="757855008"/>
      </c:barChart>
      <c:catAx>
        <c:axId val="789772720"/>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57855008"/>
        <c:crosses val="autoZero"/>
        <c:auto val="1"/>
        <c:lblAlgn val="ctr"/>
        <c:lblOffset val="100"/>
        <c:noMultiLvlLbl val="0"/>
      </c:catAx>
      <c:valAx>
        <c:axId val="757855008"/>
        <c:scaling>
          <c:orientation val="minMax"/>
        </c:scaling>
        <c:delete val="0"/>
        <c:axPos val="l"/>
        <c:numFmt formatCode="General"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897727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Market Share'!$A$50</c:f>
              <c:strCache>
                <c:ptCount val="1"/>
                <c:pt idx="0">
                  <c:v>Paypal</c:v>
                </c:pt>
              </c:strCache>
            </c:strRef>
          </c:tx>
          <c:spPr>
            <a:ln w="28575" cap="rnd">
              <a:solidFill>
                <a:srgbClr val="2E89DB"/>
              </a:solidFill>
              <a:round/>
            </a:ln>
            <a:effectLst/>
          </c:spPr>
          <c:marker>
            <c:symbol val="none"/>
          </c:marker>
          <c:cat>
            <c:numRef>
              <c:f>'Market Share'!$B$49:$F$49</c:f>
              <c:numCache>
                <c:formatCode>General</c:formatCode>
                <c:ptCount val="5"/>
                <c:pt idx="0">
                  <c:v>2020</c:v>
                </c:pt>
                <c:pt idx="1">
                  <c:v>2021</c:v>
                </c:pt>
                <c:pt idx="2">
                  <c:v>2022</c:v>
                </c:pt>
                <c:pt idx="3">
                  <c:v>2023</c:v>
                </c:pt>
                <c:pt idx="4">
                  <c:v>2024</c:v>
                </c:pt>
              </c:numCache>
            </c:numRef>
          </c:cat>
          <c:val>
            <c:numRef>
              <c:f>'Market Share'!$B$50:$F$50</c:f>
              <c:numCache>
                <c:formatCode>"$"#,##0.00</c:formatCode>
                <c:ptCount val="5"/>
                <c:pt idx="0">
                  <c:v>0.80958490566037733</c:v>
                </c:pt>
                <c:pt idx="1">
                  <c:v>0.82106796116504854</c:v>
                </c:pt>
                <c:pt idx="2">
                  <c:v>0.92033444816053511</c:v>
                </c:pt>
                <c:pt idx="3">
                  <c:v>1.0945220588235294</c:v>
                </c:pt>
                <c:pt idx="4">
                  <c:v>1.3031557377049181</c:v>
                </c:pt>
              </c:numCache>
            </c:numRef>
          </c:val>
          <c:smooth val="0"/>
          <c:extLst>
            <c:ext xmlns:c16="http://schemas.microsoft.com/office/drawing/2014/chart" uri="{C3380CC4-5D6E-409C-BE32-E72D297353CC}">
              <c16:uniqueId val="{00000000-B587-F948-A841-590486B81458}"/>
            </c:ext>
          </c:extLst>
        </c:ser>
        <c:ser>
          <c:idx val="1"/>
          <c:order val="1"/>
          <c:tx>
            <c:strRef>
              <c:f>'Market Share'!$A$51</c:f>
              <c:strCache>
                <c:ptCount val="1"/>
                <c:pt idx="0">
                  <c:v>Block</c:v>
                </c:pt>
              </c:strCache>
            </c:strRef>
          </c:tx>
          <c:spPr>
            <a:ln w="28575" cap="rnd">
              <a:solidFill>
                <a:srgbClr val="74B1E7"/>
              </a:solidFill>
              <a:round/>
            </a:ln>
            <a:effectLst/>
          </c:spPr>
          <c:marker>
            <c:symbol val="none"/>
          </c:marker>
          <c:cat>
            <c:numRef>
              <c:f>'Market Share'!$B$49:$F$49</c:f>
              <c:numCache>
                <c:formatCode>General</c:formatCode>
                <c:ptCount val="5"/>
                <c:pt idx="0">
                  <c:v>2020</c:v>
                </c:pt>
                <c:pt idx="1">
                  <c:v>2021</c:v>
                </c:pt>
                <c:pt idx="2">
                  <c:v>2022</c:v>
                </c:pt>
                <c:pt idx="3">
                  <c:v>2023</c:v>
                </c:pt>
                <c:pt idx="4">
                  <c:v>2024</c:v>
                </c:pt>
              </c:numCache>
            </c:numRef>
          </c:cat>
          <c:val>
            <c:numRef>
              <c:f>'Market Share'!$B$51:$F$51</c:f>
              <c:numCache>
                <c:formatCode>"$"#,##0.00</c:formatCode>
                <c:ptCount val="5"/>
                <c:pt idx="0">
                  <c:v>1.7340880043819611</c:v>
                </c:pt>
                <c:pt idx="1">
                  <c:v>2.0726675272855299</c:v>
                </c:pt>
                <c:pt idx="2">
                  <c:v>1.4106533633730285</c:v>
                </c:pt>
                <c:pt idx="3">
                  <c:v>1.6877628032345013</c:v>
                </c:pt>
                <c:pt idx="4">
                  <c:v>1.8376203311513284</c:v>
                </c:pt>
              </c:numCache>
            </c:numRef>
          </c:val>
          <c:smooth val="0"/>
          <c:extLst>
            <c:ext xmlns:c16="http://schemas.microsoft.com/office/drawing/2014/chart" uri="{C3380CC4-5D6E-409C-BE32-E72D297353CC}">
              <c16:uniqueId val="{00000001-B587-F948-A841-590486B81458}"/>
            </c:ext>
          </c:extLst>
        </c:ser>
        <c:ser>
          <c:idx val="2"/>
          <c:order val="2"/>
          <c:tx>
            <c:strRef>
              <c:f>'Market Share'!$A$52</c:f>
              <c:strCache>
                <c:ptCount val="1"/>
                <c:pt idx="0">
                  <c:v>Shopify</c:v>
                </c:pt>
              </c:strCache>
            </c:strRef>
          </c:tx>
          <c:spPr>
            <a:ln w="28575" cap="rnd">
              <a:solidFill>
                <a:srgbClr val="DDD9C3"/>
              </a:solidFill>
              <a:round/>
            </a:ln>
            <a:effectLst/>
          </c:spPr>
          <c:marker>
            <c:symbol val="none"/>
          </c:marker>
          <c:cat>
            <c:numRef>
              <c:f>'Market Share'!$B$49:$F$49</c:f>
              <c:numCache>
                <c:formatCode>General</c:formatCode>
                <c:ptCount val="5"/>
                <c:pt idx="0">
                  <c:v>2020</c:v>
                </c:pt>
                <c:pt idx="1">
                  <c:v>2021</c:v>
                </c:pt>
                <c:pt idx="2">
                  <c:v>2022</c:v>
                </c:pt>
                <c:pt idx="3">
                  <c:v>2023</c:v>
                </c:pt>
                <c:pt idx="4">
                  <c:v>2024</c:v>
                </c:pt>
              </c:numCache>
            </c:numRef>
          </c:cat>
          <c:val>
            <c:numRef>
              <c:f>'Market Share'!$B$52:$F$52</c:f>
              <c:numCache>
                <c:formatCode>"$"#,##0.00</c:formatCode>
                <c:ptCount val="5"/>
                <c:pt idx="0">
                  <c:v>0.41849999999999998</c:v>
                </c:pt>
                <c:pt idx="1">
                  <c:v>0.46115</c:v>
                </c:pt>
                <c:pt idx="2">
                  <c:v>0.48275862068965519</c:v>
                </c:pt>
                <c:pt idx="3">
                  <c:v>0.85060240963855427</c:v>
                </c:pt>
                <c:pt idx="4">
                  <c:v>1.0962962962962963</c:v>
                </c:pt>
              </c:numCache>
            </c:numRef>
          </c:val>
          <c:smooth val="0"/>
          <c:extLst>
            <c:ext xmlns:c16="http://schemas.microsoft.com/office/drawing/2014/chart" uri="{C3380CC4-5D6E-409C-BE32-E72D297353CC}">
              <c16:uniqueId val="{00000002-B587-F948-A841-590486B81458}"/>
            </c:ext>
          </c:extLst>
        </c:ser>
        <c:ser>
          <c:idx val="3"/>
          <c:order val="3"/>
          <c:tx>
            <c:strRef>
              <c:f>'Market Share'!$A$53</c:f>
              <c:strCache>
                <c:ptCount val="1"/>
                <c:pt idx="0">
                  <c:v>Toast</c:v>
                </c:pt>
              </c:strCache>
            </c:strRef>
          </c:tx>
          <c:spPr>
            <a:ln w="28575" cap="rnd">
              <a:solidFill>
                <a:srgbClr val="DDDDDD"/>
              </a:solidFill>
              <a:round/>
            </a:ln>
            <a:effectLst/>
          </c:spPr>
          <c:marker>
            <c:symbol val="none"/>
          </c:marker>
          <c:cat>
            <c:numRef>
              <c:f>'Market Share'!$B$49:$F$49</c:f>
              <c:numCache>
                <c:formatCode>General</c:formatCode>
                <c:ptCount val="5"/>
                <c:pt idx="0">
                  <c:v>2020</c:v>
                </c:pt>
                <c:pt idx="1">
                  <c:v>2021</c:v>
                </c:pt>
                <c:pt idx="2">
                  <c:v>2022</c:v>
                </c:pt>
                <c:pt idx="3">
                  <c:v>2023</c:v>
                </c:pt>
                <c:pt idx="4">
                  <c:v>2024</c:v>
                </c:pt>
              </c:numCache>
            </c:numRef>
          </c:cat>
          <c:val>
            <c:numRef>
              <c:f>'Market Share'!$B$53:$F$53</c:f>
              <c:numCache>
                <c:formatCode>"$"#,##0.00</c:formatCode>
                <c:ptCount val="5"/>
                <c:pt idx="0">
                  <c:v>0.41149999999999998</c:v>
                </c:pt>
                <c:pt idx="1">
                  <c:v>0.53751576292559899</c:v>
                </c:pt>
                <c:pt idx="2">
                  <c:v>0.60688888888888892</c:v>
                </c:pt>
                <c:pt idx="3">
                  <c:v>0.70272727272727276</c:v>
                </c:pt>
                <c:pt idx="4">
                  <c:v>0.74743260590500638</c:v>
                </c:pt>
              </c:numCache>
            </c:numRef>
          </c:val>
          <c:smooth val="0"/>
          <c:extLst>
            <c:ext xmlns:c16="http://schemas.microsoft.com/office/drawing/2014/chart" uri="{C3380CC4-5D6E-409C-BE32-E72D297353CC}">
              <c16:uniqueId val="{00000003-B587-F948-A841-590486B81458}"/>
            </c:ext>
          </c:extLst>
        </c:ser>
        <c:ser>
          <c:idx val="4"/>
          <c:order val="4"/>
          <c:tx>
            <c:strRef>
              <c:f>'Market Share'!$A$54</c:f>
              <c:strCache>
                <c:ptCount val="1"/>
                <c:pt idx="0">
                  <c:v>LSPD</c:v>
                </c:pt>
              </c:strCache>
            </c:strRef>
          </c:tx>
          <c:spPr>
            <a:ln w="28575" cap="rnd">
              <a:solidFill>
                <a:srgbClr val="0F3557"/>
              </a:solidFill>
              <a:round/>
            </a:ln>
            <a:effectLst/>
          </c:spPr>
          <c:marker>
            <c:symbol val="none"/>
          </c:marker>
          <c:cat>
            <c:numRef>
              <c:f>'Market Share'!$B$49:$F$49</c:f>
              <c:numCache>
                <c:formatCode>General</c:formatCode>
                <c:ptCount val="5"/>
                <c:pt idx="0">
                  <c:v>2020</c:v>
                </c:pt>
                <c:pt idx="1">
                  <c:v>2021</c:v>
                </c:pt>
                <c:pt idx="2">
                  <c:v>2022</c:v>
                </c:pt>
                <c:pt idx="3">
                  <c:v>2023</c:v>
                </c:pt>
                <c:pt idx="4">
                  <c:v>2024</c:v>
                </c:pt>
              </c:numCache>
            </c:numRef>
          </c:cat>
          <c:val>
            <c:numRef>
              <c:f>'Market Share'!$B$54:$F$54</c:f>
              <c:numCache>
                <c:formatCode>"$"#,##0.00</c:formatCode>
                <c:ptCount val="5"/>
                <c:pt idx="0">
                  <c:v>0.10968181818181817</c:v>
                </c:pt>
                <c:pt idx="1">
                  <c:v>0.12317777777777776</c:v>
                </c:pt>
                <c:pt idx="2">
                  <c:v>0.18279000000000001</c:v>
                </c:pt>
                <c:pt idx="3">
                  <c:v>0.24349999999999999</c:v>
                </c:pt>
                <c:pt idx="4">
                  <c:v>0.36082142857142857</c:v>
                </c:pt>
              </c:numCache>
            </c:numRef>
          </c:val>
          <c:smooth val="0"/>
          <c:extLst>
            <c:ext xmlns:c16="http://schemas.microsoft.com/office/drawing/2014/chart" uri="{C3380CC4-5D6E-409C-BE32-E72D297353CC}">
              <c16:uniqueId val="{00000004-B587-F948-A841-590486B81458}"/>
            </c:ext>
          </c:extLst>
        </c:ser>
        <c:dLbls>
          <c:showLegendKey val="0"/>
          <c:showVal val="0"/>
          <c:showCatName val="0"/>
          <c:showSerName val="0"/>
          <c:showPercent val="0"/>
          <c:showBubbleSize val="0"/>
        </c:dLbls>
        <c:smooth val="0"/>
        <c:axId val="2100804928"/>
        <c:axId val="2100638576"/>
      </c:lineChart>
      <c:catAx>
        <c:axId val="2100804928"/>
        <c:scaling>
          <c:orientation val="minMax"/>
        </c:scaling>
        <c:delete val="0"/>
        <c:axPos val="b"/>
        <c:numFmt formatCode="General" sourceLinked="1"/>
        <c:majorTickMark val="out"/>
        <c:minorTickMark val="none"/>
        <c:tickLblPos val="nextTo"/>
        <c:spPr>
          <a:noFill/>
          <a:ln w="9525" cap="flat" cmpd="sng" algn="ctr">
            <a:solidFill>
              <a:srgbClr val="0F3557"/>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00638576"/>
        <c:crosses val="autoZero"/>
        <c:auto val="1"/>
        <c:lblAlgn val="ctr"/>
        <c:lblOffset val="100"/>
        <c:noMultiLvlLbl val="0"/>
      </c:catAx>
      <c:valAx>
        <c:axId val="2100638576"/>
        <c:scaling>
          <c:orientation val="minMax"/>
        </c:scaling>
        <c:delete val="0"/>
        <c:axPos val="l"/>
        <c:numFmt formatCode="#,##0" sourceLinked="0"/>
        <c:majorTickMark val="out"/>
        <c:minorTickMark val="none"/>
        <c:tickLblPos val="nextTo"/>
        <c:spPr>
          <a:noFill/>
          <a:ln>
            <a:solidFill>
              <a:srgbClr val="0F3557"/>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00804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Market Share'!$A$28</c:f>
              <c:strCache>
                <c:ptCount val="1"/>
                <c:pt idx="0">
                  <c:v># of Deals</c:v>
                </c:pt>
              </c:strCache>
            </c:strRef>
          </c:tx>
          <c:spPr>
            <a:solidFill>
              <a:srgbClr val="0F3557"/>
            </a:solidFill>
            <a:ln>
              <a:noFill/>
            </a:ln>
            <a:effectLst/>
          </c:spPr>
          <c:invertIfNegative val="0"/>
          <c:dLbls>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rket Share'!$B$27:$D$27</c:f>
              <c:numCache>
                <c:formatCode>General</c:formatCode>
                <c:ptCount val="3"/>
                <c:pt idx="0">
                  <c:v>2019</c:v>
                </c:pt>
                <c:pt idx="1">
                  <c:v>2020</c:v>
                </c:pt>
                <c:pt idx="2">
                  <c:v>2021</c:v>
                </c:pt>
              </c:numCache>
            </c:numRef>
          </c:cat>
          <c:val>
            <c:numRef>
              <c:f>'Market Share'!$B$28:$D$28</c:f>
              <c:numCache>
                <c:formatCode>#,##0_);\(#,##0\)</c:formatCode>
                <c:ptCount val="3"/>
                <c:pt idx="0">
                  <c:v>3</c:v>
                </c:pt>
                <c:pt idx="1">
                  <c:v>3</c:v>
                </c:pt>
                <c:pt idx="2">
                  <c:v>3</c:v>
                </c:pt>
              </c:numCache>
            </c:numRef>
          </c:val>
          <c:extLst>
            <c:ext xmlns:c16="http://schemas.microsoft.com/office/drawing/2014/chart" uri="{C3380CC4-5D6E-409C-BE32-E72D297353CC}">
              <c16:uniqueId val="{00000000-2795-C54B-92DE-10CDA931CBC1}"/>
            </c:ext>
          </c:extLst>
        </c:ser>
        <c:dLbls>
          <c:showLegendKey val="0"/>
          <c:showVal val="0"/>
          <c:showCatName val="0"/>
          <c:showSerName val="0"/>
          <c:showPercent val="0"/>
          <c:showBubbleSize val="0"/>
        </c:dLbls>
        <c:gapWidth val="150"/>
        <c:axId val="2081538544"/>
        <c:axId val="182491343"/>
      </c:barChart>
      <c:lineChart>
        <c:grouping val="standard"/>
        <c:varyColors val="0"/>
        <c:ser>
          <c:idx val="1"/>
          <c:order val="1"/>
          <c:tx>
            <c:strRef>
              <c:f>'Market Share'!$A$29</c:f>
              <c:strCache>
                <c:ptCount val="1"/>
                <c:pt idx="0">
                  <c:v>Total Spent, usd mm</c:v>
                </c:pt>
              </c:strCache>
            </c:strRef>
          </c:tx>
          <c:spPr>
            <a:ln w="28575" cap="rnd">
              <a:solidFill>
                <a:srgbClr val="2E89DB"/>
              </a:solidFill>
              <a:round/>
            </a:ln>
            <a:effectLst/>
          </c:spPr>
          <c:marker>
            <c:symbol val="none"/>
          </c:marker>
          <c:cat>
            <c:numRef>
              <c:f>'Market Share'!$B$27:$D$27</c:f>
              <c:numCache>
                <c:formatCode>General</c:formatCode>
                <c:ptCount val="3"/>
                <c:pt idx="0">
                  <c:v>2019</c:v>
                </c:pt>
                <c:pt idx="1">
                  <c:v>2020</c:v>
                </c:pt>
                <c:pt idx="2">
                  <c:v>2021</c:v>
                </c:pt>
              </c:numCache>
            </c:numRef>
          </c:cat>
          <c:val>
            <c:numRef>
              <c:f>'Market Share'!$B$29:$D$29</c:f>
              <c:numCache>
                <c:formatCode>#,##0_);\(#,##0\)</c:formatCode>
                <c:ptCount val="3"/>
                <c:pt idx="0">
                  <c:v>94.92</c:v>
                </c:pt>
                <c:pt idx="1">
                  <c:v>949.85</c:v>
                </c:pt>
                <c:pt idx="2">
                  <c:v>1321.63</c:v>
                </c:pt>
              </c:numCache>
            </c:numRef>
          </c:val>
          <c:smooth val="0"/>
          <c:extLst>
            <c:ext xmlns:c16="http://schemas.microsoft.com/office/drawing/2014/chart" uri="{C3380CC4-5D6E-409C-BE32-E72D297353CC}">
              <c16:uniqueId val="{00000001-2795-C54B-92DE-10CDA931CBC1}"/>
            </c:ext>
          </c:extLst>
        </c:ser>
        <c:dLbls>
          <c:showLegendKey val="0"/>
          <c:showVal val="0"/>
          <c:showCatName val="0"/>
          <c:showSerName val="0"/>
          <c:showPercent val="0"/>
          <c:showBubbleSize val="0"/>
        </c:dLbls>
        <c:marker val="1"/>
        <c:smooth val="0"/>
        <c:axId val="2068680976"/>
        <c:axId val="2068437008"/>
      </c:lineChart>
      <c:catAx>
        <c:axId val="208153854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82491343"/>
        <c:crosses val="autoZero"/>
        <c:auto val="1"/>
        <c:lblAlgn val="ctr"/>
        <c:lblOffset val="100"/>
        <c:noMultiLvlLbl val="0"/>
      </c:catAx>
      <c:valAx>
        <c:axId val="182491343"/>
        <c:scaling>
          <c:orientation val="minMax"/>
        </c:scaling>
        <c:delete val="0"/>
        <c:axPos val="l"/>
        <c:numFmt formatCode="#,##0_);\(#,##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81538544"/>
        <c:crosses val="autoZero"/>
        <c:crossBetween val="between"/>
      </c:valAx>
      <c:valAx>
        <c:axId val="2068437008"/>
        <c:scaling>
          <c:orientation val="minMax"/>
        </c:scaling>
        <c:delete val="0"/>
        <c:axPos val="r"/>
        <c:numFmt formatCode="#,##0_);\(#,##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68680976"/>
        <c:crosses val="max"/>
        <c:crossBetween val="between"/>
      </c:valAx>
      <c:catAx>
        <c:axId val="2068680976"/>
        <c:scaling>
          <c:orientation val="minMax"/>
        </c:scaling>
        <c:delete val="1"/>
        <c:axPos val="b"/>
        <c:numFmt formatCode="General" sourceLinked="1"/>
        <c:majorTickMark val="none"/>
        <c:minorTickMark val="none"/>
        <c:tickLblPos val="nextTo"/>
        <c:crossAx val="206843700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46440707219725"/>
          <c:y val="6.1776000311312126E-2"/>
          <c:w val="0.85018247112092638"/>
          <c:h val="0.81478431906662963"/>
        </c:manualLayout>
      </c:layout>
      <c:barChart>
        <c:barDir val="col"/>
        <c:grouping val="clustered"/>
        <c:varyColors val="0"/>
        <c:ser>
          <c:idx val="0"/>
          <c:order val="0"/>
          <c:tx>
            <c:strRef>
              <c:f>Sheet1!$A$34</c:f>
              <c:strCache>
                <c:ptCount val="1"/>
                <c:pt idx="0">
                  <c:v>Operating Expenses</c:v>
                </c:pt>
              </c:strCache>
            </c:strRef>
          </c:tx>
          <c:spPr>
            <a:pattFill prst="dkUpDiag">
              <a:fgClr>
                <a:srgbClr val="0F3557"/>
              </a:fgClr>
              <a:bgClr>
                <a:schemeClr val="bg1"/>
              </a:bgClr>
            </a:pattFill>
            <a:ln>
              <a:solidFill>
                <a:srgbClr val="0F3557"/>
              </a:solidFill>
            </a:ln>
            <a:effectLst/>
          </c:spPr>
          <c:invertIfNegative val="0"/>
          <c:dPt>
            <c:idx val="0"/>
            <c:invertIfNegative val="0"/>
            <c:bubble3D val="0"/>
            <c:spPr>
              <a:solidFill>
                <a:srgbClr val="0F3557"/>
              </a:solidFill>
              <a:ln>
                <a:solidFill>
                  <a:srgbClr val="0F3557"/>
                </a:solidFill>
              </a:ln>
              <a:effectLst/>
            </c:spPr>
            <c:extLst>
              <c:ext xmlns:c16="http://schemas.microsoft.com/office/drawing/2014/chart" uri="{C3380CC4-5D6E-409C-BE32-E72D297353CC}">
                <c16:uniqueId val="{00000001-2C0A-114F-A0EF-A13F30B9F83C}"/>
              </c:ext>
            </c:extLst>
          </c:dPt>
          <c:dPt>
            <c:idx val="1"/>
            <c:invertIfNegative val="0"/>
            <c:bubble3D val="0"/>
            <c:spPr>
              <a:solidFill>
                <a:srgbClr val="0F3557"/>
              </a:solidFill>
              <a:ln>
                <a:solidFill>
                  <a:srgbClr val="0F3557"/>
                </a:solidFill>
              </a:ln>
              <a:effectLst/>
            </c:spPr>
            <c:extLst>
              <c:ext xmlns:c16="http://schemas.microsoft.com/office/drawing/2014/chart" uri="{C3380CC4-5D6E-409C-BE32-E72D297353CC}">
                <c16:uniqueId val="{00000003-2C0A-114F-A0EF-A13F30B9F83C}"/>
              </c:ext>
            </c:extLst>
          </c:dPt>
          <c:dPt>
            <c:idx val="2"/>
            <c:invertIfNegative val="0"/>
            <c:bubble3D val="0"/>
            <c:spPr>
              <a:solidFill>
                <a:srgbClr val="0F3557"/>
              </a:solidFill>
              <a:ln>
                <a:solidFill>
                  <a:srgbClr val="0F3557"/>
                </a:solidFill>
              </a:ln>
              <a:effectLst/>
            </c:spPr>
            <c:extLst>
              <c:ext xmlns:c16="http://schemas.microsoft.com/office/drawing/2014/chart" uri="{C3380CC4-5D6E-409C-BE32-E72D297353CC}">
                <c16:uniqueId val="{00000005-2C0A-114F-A0EF-A13F30B9F83C}"/>
              </c:ext>
            </c:extLst>
          </c:dPt>
          <c:dPt>
            <c:idx val="3"/>
            <c:invertIfNegative val="0"/>
            <c:bubble3D val="0"/>
            <c:spPr>
              <a:solidFill>
                <a:srgbClr val="0F3557"/>
              </a:solidFill>
              <a:ln>
                <a:solidFill>
                  <a:srgbClr val="0F3557"/>
                </a:solidFill>
              </a:ln>
              <a:effectLst/>
            </c:spPr>
            <c:extLst>
              <c:ext xmlns:c16="http://schemas.microsoft.com/office/drawing/2014/chart" uri="{C3380CC4-5D6E-409C-BE32-E72D297353CC}">
                <c16:uniqueId val="{00000007-2C0A-114F-A0EF-A13F30B9F83C}"/>
              </c:ext>
            </c:extLst>
          </c:dPt>
          <c:dPt>
            <c:idx val="4"/>
            <c:invertIfNegative val="0"/>
            <c:bubble3D val="0"/>
            <c:spPr>
              <a:solidFill>
                <a:srgbClr val="0F3557"/>
              </a:solidFill>
              <a:ln>
                <a:solidFill>
                  <a:srgbClr val="0F3557"/>
                </a:solidFill>
              </a:ln>
              <a:effectLst/>
            </c:spPr>
            <c:extLst>
              <c:ext xmlns:c16="http://schemas.microsoft.com/office/drawing/2014/chart" uri="{C3380CC4-5D6E-409C-BE32-E72D297353CC}">
                <c16:uniqueId val="{00000009-2C0A-114F-A0EF-A13F30B9F83C}"/>
              </c:ext>
            </c:extLst>
          </c:dPt>
          <c:dLbls>
            <c:numFmt formatCode="#,##0_);\(#,##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59:$P$59</c:f>
              <c:numCache>
                <c:formatCode>General</c:formatCode>
                <c:ptCount val="15"/>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numCache>
            </c:numRef>
          </c:cat>
          <c:val>
            <c:numRef>
              <c:f>Sheet1!$B$63:$P$63</c:f>
              <c:numCache>
                <c:formatCode>0.00_);\(0.00\)</c:formatCode>
                <c:ptCount val="15"/>
                <c:pt idx="0">
                  <c:v>107.66200000000001</c:v>
                </c:pt>
                <c:pt idx="1">
                  <c:v>173.54500000000002</c:v>
                </c:pt>
                <c:pt idx="2">
                  <c:v>390.84399999999994</c:v>
                </c:pt>
                <c:pt idx="3">
                  <c:v>486.06400000000002</c:v>
                </c:pt>
                <c:pt idx="4">
                  <c:v>469.649</c:v>
                </c:pt>
                <c:pt idx="5" formatCode="_(* #,##0_);_(* \(#,##0\);_(* &quot;-&quot;??_);_(@_)">
                  <c:v>596.70946730640003</c:v>
                </c:pt>
                <c:pt idx="6" formatCode="_(* #,##0_);_(* \(#,##0\);_(* &quot;-&quot;??_);_(@_)">
                  <c:v>689.45441809238025</c:v>
                </c:pt>
                <c:pt idx="7" formatCode="_(* #,##0_);_(* \(#,##0\);_(* &quot;-&quot;??_);_(@_)">
                  <c:v>782.51118818972361</c:v>
                </c:pt>
                <c:pt idx="8" formatCode="_(* #,##0_);_(* \(#,##0\);_(* &quot;-&quot;??_);_(@_)">
                  <c:v>887.36799923896865</c:v>
                </c:pt>
                <c:pt idx="9" formatCode="_(* #,##0_);_(* \(#,##0\);_(* &quot;-&quot;??_);_(@_)">
                  <c:v>998.28321825638204</c:v>
                </c:pt>
                <c:pt idx="10" formatCode="_(* #,##0_);_(* \(#,##0\);_(* &quot;-&quot;??_);_(@_)">
                  <c:v>1117.9977105351304</c:v>
                </c:pt>
                <c:pt idx="11" formatCode="_(* #,##0_);_(* \(#,##0\);_(* &quot;-&quot;??_);_(@_)">
                  <c:v>1218.7350840010265</c:v>
                </c:pt>
                <c:pt idx="12" formatCode="_(* #,##0_);_(* \(#,##0\);_(* &quot;-&quot;??_);_(@_)">
                  <c:v>1338.4991108034847</c:v>
                </c:pt>
                <c:pt idx="13" formatCode="_(* #,##0_);_(* \(#,##0\);_(* &quot;-&quot;??_);_(@_)">
                  <c:v>1465.8267100706767</c:v>
                </c:pt>
                <c:pt idx="14" formatCode="_(* #,##0_);_(* \(#,##0\);_(* &quot;-&quot;??_);_(@_)">
                  <c:v>1588.9809341357486</c:v>
                </c:pt>
              </c:numCache>
            </c:numRef>
          </c:val>
          <c:extLst>
            <c:ext xmlns:c16="http://schemas.microsoft.com/office/drawing/2014/chart" uri="{C3380CC4-5D6E-409C-BE32-E72D297353CC}">
              <c16:uniqueId val="{0000000A-2C0A-114F-A0EF-A13F30B9F83C}"/>
            </c:ext>
          </c:extLst>
        </c:ser>
        <c:dLbls>
          <c:showLegendKey val="0"/>
          <c:showVal val="0"/>
          <c:showCatName val="0"/>
          <c:showSerName val="0"/>
          <c:showPercent val="0"/>
          <c:showBubbleSize val="0"/>
        </c:dLbls>
        <c:gapWidth val="219"/>
        <c:overlap val="-27"/>
        <c:axId val="1267307039"/>
        <c:axId val="1267262495"/>
      </c:barChart>
      <c:catAx>
        <c:axId val="1267307039"/>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67262495"/>
        <c:crosses val="autoZero"/>
        <c:auto val="1"/>
        <c:lblAlgn val="ctr"/>
        <c:lblOffset val="100"/>
        <c:tickLblSkip val="2"/>
        <c:noMultiLvlLbl val="0"/>
      </c:catAx>
      <c:valAx>
        <c:axId val="1267262495"/>
        <c:scaling>
          <c:orientation val="minMax"/>
        </c:scaling>
        <c:delete val="0"/>
        <c:axPos val="l"/>
        <c:numFmt formatCode="#,##0_);\(#,##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67307039"/>
        <c:crossesAt val="1"/>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34</c:f>
              <c:strCache>
                <c:ptCount val="1"/>
                <c:pt idx="0">
                  <c:v>Operating Expenses</c:v>
                </c:pt>
              </c:strCache>
            </c:strRef>
          </c:tx>
          <c:spPr>
            <a:pattFill prst="dkUpDiag">
              <a:fgClr>
                <a:srgbClr val="0F3557"/>
              </a:fgClr>
              <a:bgClr>
                <a:schemeClr val="bg1"/>
              </a:bgClr>
            </a:pattFill>
            <a:ln>
              <a:solidFill>
                <a:srgbClr val="0F3557"/>
              </a:solidFill>
            </a:ln>
            <a:effectLst/>
          </c:spPr>
          <c:invertIfNegative val="0"/>
          <c:dPt>
            <c:idx val="0"/>
            <c:invertIfNegative val="0"/>
            <c:bubble3D val="0"/>
            <c:spPr>
              <a:solidFill>
                <a:srgbClr val="0F3557"/>
              </a:solidFill>
              <a:ln>
                <a:solidFill>
                  <a:srgbClr val="0F3557"/>
                </a:solidFill>
              </a:ln>
              <a:effectLst/>
            </c:spPr>
            <c:extLst>
              <c:ext xmlns:c16="http://schemas.microsoft.com/office/drawing/2014/chart" uri="{C3380CC4-5D6E-409C-BE32-E72D297353CC}">
                <c16:uniqueId val="{00000001-2BF4-1B43-AC8C-953C1C098437}"/>
              </c:ext>
            </c:extLst>
          </c:dPt>
          <c:dPt>
            <c:idx val="1"/>
            <c:invertIfNegative val="0"/>
            <c:bubble3D val="0"/>
            <c:spPr>
              <a:solidFill>
                <a:srgbClr val="0F3557"/>
              </a:solidFill>
              <a:ln>
                <a:solidFill>
                  <a:srgbClr val="0F3557"/>
                </a:solidFill>
              </a:ln>
              <a:effectLst/>
            </c:spPr>
            <c:extLst>
              <c:ext xmlns:c16="http://schemas.microsoft.com/office/drawing/2014/chart" uri="{C3380CC4-5D6E-409C-BE32-E72D297353CC}">
                <c16:uniqueId val="{00000003-2BF4-1B43-AC8C-953C1C098437}"/>
              </c:ext>
            </c:extLst>
          </c:dPt>
          <c:dPt>
            <c:idx val="2"/>
            <c:invertIfNegative val="0"/>
            <c:bubble3D val="0"/>
            <c:spPr>
              <a:solidFill>
                <a:srgbClr val="0F3557"/>
              </a:solidFill>
              <a:ln>
                <a:solidFill>
                  <a:srgbClr val="0F3557"/>
                </a:solidFill>
              </a:ln>
              <a:effectLst/>
            </c:spPr>
            <c:extLst>
              <c:ext xmlns:c16="http://schemas.microsoft.com/office/drawing/2014/chart" uri="{C3380CC4-5D6E-409C-BE32-E72D297353CC}">
                <c16:uniqueId val="{00000005-2BF4-1B43-AC8C-953C1C098437}"/>
              </c:ext>
            </c:extLst>
          </c:dPt>
          <c:dPt>
            <c:idx val="3"/>
            <c:invertIfNegative val="0"/>
            <c:bubble3D val="0"/>
            <c:spPr>
              <a:solidFill>
                <a:srgbClr val="0F3557"/>
              </a:solidFill>
              <a:ln>
                <a:solidFill>
                  <a:srgbClr val="0F3557"/>
                </a:solidFill>
              </a:ln>
              <a:effectLst/>
            </c:spPr>
            <c:extLst>
              <c:ext xmlns:c16="http://schemas.microsoft.com/office/drawing/2014/chart" uri="{C3380CC4-5D6E-409C-BE32-E72D297353CC}">
                <c16:uniqueId val="{00000007-2BF4-1B43-AC8C-953C1C098437}"/>
              </c:ext>
            </c:extLst>
          </c:dPt>
          <c:dPt>
            <c:idx val="4"/>
            <c:invertIfNegative val="0"/>
            <c:bubble3D val="0"/>
            <c:spPr>
              <a:solidFill>
                <a:srgbClr val="0F3557"/>
              </a:solidFill>
              <a:ln w="12700">
                <a:solidFill>
                  <a:srgbClr val="0F3557"/>
                </a:solidFill>
              </a:ln>
              <a:effectLst/>
            </c:spPr>
            <c:extLst>
              <c:ext xmlns:c16="http://schemas.microsoft.com/office/drawing/2014/chart" uri="{C3380CC4-5D6E-409C-BE32-E72D297353CC}">
                <c16:uniqueId val="{00000009-2BF4-1B43-AC8C-953C1C09843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59:$P$59</c:f>
              <c:numCache>
                <c:formatCode>General</c:formatCode>
                <c:ptCount val="15"/>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numCache>
            </c:numRef>
          </c:cat>
          <c:val>
            <c:numRef>
              <c:f>Sheet1!$B$60:$P$60</c:f>
              <c:numCache>
                <c:formatCode>0.00_);\(0.00\)</c:formatCode>
                <c:ptCount val="15"/>
                <c:pt idx="0">
                  <c:v>120.64999999999999</c:v>
                </c:pt>
                <c:pt idx="1">
                  <c:v>222.72107383673242</c:v>
                </c:pt>
                <c:pt idx="2">
                  <c:v>549.57554679356667</c:v>
                </c:pt>
                <c:pt idx="3">
                  <c:v>731.00761953143865</c:v>
                </c:pt>
                <c:pt idx="4">
                  <c:v>909.27</c:v>
                </c:pt>
                <c:pt idx="5">
                  <c:v>1089.6867890000001</c:v>
                </c:pt>
                <c:pt idx="6">
                  <c:v>1293.5355477045</c:v>
                </c:pt>
                <c:pt idx="7">
                  <c:v>1523.2779112035821</c:v>
                </c:pt>
                <c:pt idx="8">
                  <c:v>1779.3581059655648</c:v>
                </c:pt>
                <c:pt idx="9">
                  <c:v>2054.925443193702</c:v>
                </c:pt>
                <c:pt idx="10">
                  <c:v>2336.4534234074645</c:v>
                </c:pt>
                <c:pt idx="11">
                  <c:v>2631.1212935048552</c:v>
                </c:pt>
                <c:pt idx="12">
                  <c:v>2937.2379346432576</c:v>
                </c:pt>
                <c:pt idx="13">
                  <c:v>3257.3863811767515</c:v>
                </c:pt>
                <c:pt idx="14">
                  <c:v>3570.7449488249954</c:v>
                </c:pt>
              </c:numCache>
            </c:numRef>
          </c:val>
          <c:extLst>
            <c:ext xmlns:c16="http://schemas.microsoft.com/office/drawing/2014/chart" uri="{C3380CC4-5D6E-409C-BE32-E72D297353CC}">
              <c16:uniqueId val="{0000000A-2BF4-1B43-AC8C-953C1C098437}"/>
            </c:ext>
          </c:extLst>
        </c:ser>
        <c:dLbls>
          <c:showLegendKey val="0"/>
          <c:showVal val="0"/>
          <c:showCatName val="0"/>
          <c:showSerName val="0"/>
          <c:showPercent val="0"/>
          <c:showBubbleSize val="0"/>
        </c:dLbls>
        <c:gapWidth val="219"/>
        <c:overlap val="-27"/>
        <c:axId val="1267307039"/>
        <c:axId val="1267262495"/>
      </c:barChart>
      <c:catAx>
        <c:axId val="1267307039"/>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67262495"/>
        <c:crosses val="autoZero"/>
        <c:auto val="1"/>
        <c:lblAlgn val="ctr"/>
        <c:lblOffset val="100"/>
        <c:tickLblSkip val="2"/>
        <c:noMultiLvlLbl val="0"/>
      </c:catAx>
      <c:valAx>
        <c:axId val="1267262495"/>
        <c:scaling>
          <c:orientation val="minMax"/>
        </c:scaling>
        <c:delete val="0"/>
        <c:axPos val="l"/>
        <c:numFmt formatCode="#,##0_);\(#,##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67307039"/>
        <c:crossesAt val="1"/>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4</c:f>
              <c:strCache>
                <c:ptCount val="1"/>
                <c:pt idx="0">
                  <c:v>Revenue</c:v>
                </c:pt>
              </c:strCache>
            </c:strRef>
          </c:tx>
          <c:spPr>
            <a:solidFill>
              <a:srgbClr val="0F3557"/>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3:$K$3</c:f>
              <c:numCache>
                <c:formatCode>General</c:formatCode>
                <c:ptCount val="10"/>
                <c:pt idx="0">
                  <c:v>2025</c:v>
                </c:pt>
                <c:pt idx="1">
                  <c:v>2026</c:v>
                </c:pt>
                <c:pt idx="2">
                  <c:v>2027</c:v>
                </c:pt>
                <c:pt idx="3">
                  <c:v>2028</c:v>
                </c:pt>
                <c:pt idx="4">
                  <c:v>2029</c:v>
                </c:pt>
                <c:pt idx="5">
                  <c:v>2030</c:v>
                </c:pt>
                <c:pt idx="6">
                  <c:v>2031</c:v>
                </c:pt>
                <c:pt idx="7">
                  <c:v>2032</c:v>
                </c:pt>
                <c:pt idx="8">
                  <c:v>2033</c:v>
                </c:pt>
                <c:pt idx="9">
                  <c:v>2034</c:v>
                </c:pt>
              </c:numCache>
            </c:numRef>
          </c:cat>
          <c:val>
            <c:numRef>
              <c:f>Sheet1!$B$4:$K$4</c:f>
              <c:numCache>
                <c:formatCode>0</c:formatCode>
                <c:ptCount val="10"/>
                <c:pt idx="0">
                  <c:v>1089.6867890000001</c:v>
                </c:pt>
                <c:pt idx="1">
                  <c:v>1293.5355477045</c:v>
                </c:pt>
                <c:pt idx="2">
                  <c:v>1523.2779112035821</c:v>
                </c:pt>
                <c:pt idx="3">
                  <c:v>1779.3581059655648</c:v>
                </c:pt>
                <c:pt idx="4">
                  <c:v>2054.925443193702</c:v>
                </c:pt>
                <c:pt idx="5">
                  <c:v>2336.4534234074645</c:v>
                </c:pt>
                <c:pt idx="6">
                  <c:v>2631.1212935048552</c:v>
                </c:pt>
                <c:pt idx="7">
                  <c:v>2937.2379346432576</c:v>
                </c:pt>
                <c:pt idx="8">
                  <c:v>3257.3863811767515</c:v>
                </c:pt>
                <c:pt idx="9">
                  <c:v>3570.7449488249954</c:v>
                </c:pt>
              </c:numCache>
            </c:numRef>
          </c:val>
          <c:extLst>
            <c:ext xmlns:c16="http://schemas.microsoft.com/office/drawing/2014/chart" uri="{C3380CC4-5D6E-409C-BE32-E72D297353CC}">
              <c16:uniqueId val="{00000000-D27D-B348-98FB-2AC8B4F15AF3}"/>
            </c:ext>
          </c:extLst>
        </c:ser>
        <c:dLbls>
          <c:showLegendKey val="0"/>
          <c:showVal val="0"/>
          <c:showCatName val="0"/>
          <c:showSerName val="0"/>
          <c:showPercent val="0"/>
          <c:showBubbleSize val="0"/>
        </c:dLbls>
        <c:gapWidth val="219"/>
        <c:overlap val="-27"/>
        <c:axId val="1130055039"/>
        <c:axId val="1130265855"/>
      </c:barChart>
      <c:lineChart>
        <c:grouping val="standard"/>
        <c:varyColors val="0"/>
        <c:ser>
          <c:idx val="1"/>
          <c:order val="1"/>
          <c:tx>
            <c:strRef>
              <c:f>Sheet1!$A$5</c:f>
              <c:strCache>
                <c:ptCount val="1"/>
                <c:pt idx="0">
                  <c:v>% Growth</c:v>
                </c:pt>
              </c:strCache>
            </c:strRef>
          </c:tx>
          <c:spPr>
            <a:ln w="28575" cap="rnd">
              <a:solidFill>
                <a:srgbClr val="2E89DB"/>
              </a:solidFill>
              <a:round/>
            </a:ln>
            <a:effectLst/>
          </c:spPr>
          <c:marker>
            <c:symbol val="none"/>
          </c:marker>
          <c:cat>
            <c:numRef>
              <c:f>Sheet1!$B$3:$K$3</c:f>
              <c:numCache>
                <c:formatCode>General</c:formatCode>
                <c:ptCount val="10"/>
                <c:pt idx="0">
                  <c:v>2025</c:v>
                </c:pt>
                <c:pt idx="1">
                  <c:v>2026</c:v>
                </c:pt>
                <c:pt idx="2">
                  <c:v>2027</c:v>
                </c:pt>
                <c:pt idx="3">
                  <c:v>2028</c:v>
                </c:pt>
                <c:pt idx="4">
                  <c:v>2029</c:v>
                </c:pt>
                <c:pt idx="5">
                  <c:v>2030</c:v>
                </c:pt>
                <c:pt idx="6">
                  <c:v>2031</c:v>
                </c:pt>
                <c:pt idx="7">
                  <c:v>2032</c:v>
                </c:pt>
                <c:pt idx="8">
                  <c:v>2033</c:v>
                </c:pt>
                <c:pt idx="9">
                  <c:v>2034</c:v>
                </c:pt>
              </c:numCache>
            </c:numRef>
          </c:cat>
          <c:val>
            <c:numRef>
              <c:f>Sheet1!$B$5:$K$5</c:f>
              <c:numCache>
                <c:formatCode>0.00%</c:formatCode>
                <c:ptCount val="10"/>
                <c:pt idx="0">
                  <c:v>0.16556756567230449</c:v>
                </c:pt>
                <c:pt idx="1">
                  <c:v>0.15759038015325411</c:v>
                </c:pt>
                <c:pt idx="2">
                  <c:v>0.15082104310011074</c:v>
                </c:pt>
                <c:pt idx="3">
                  <c:v>0.14391717659499539</c:v>
                </c:pt>
                <c:pt idx="4">
                  <c:v>0.13410089312041359</c:v>
                </c:pt>
                <c:pt idx="5">
                  <c:v>0.12049372668562953</c:v>
                </c:pt>
                <c:pt idx="6">
                  <c:v>0.11199326721455344</c:v>
                </c:pt>
                <c:pt idx="7">
                  <c:v>0.10421921817361447</c:v>
                </c:pt>
                <c:pt idx="8">
                  <c:v>9.828384142069084E-2</c:v>
                </c:pt>
                <c:pt idx="9">
                  <c:v>8.7757196926473019E-2</c:v>
                </c:pt>
              </c:numCache>
            </c:numRef>
          </c:val>
          <c:smooth val="0"/>
          <c:extLst>
            <c:ext xmlns:c16="http://schemas.microsoft.com/office/drawing/2014/chart" uri="{C3380CC4-5D6E-409C-BE32-E72D297353CC}">
              <c16:uniqueId val="{00000001-D27D-B348-98FB-2AC8B4F15AF3}"/>
            </c:ext>
          </c:extLst>
        </c:ser>
        <c:dLbls>
          <c:showLegendKey val="0"/>
          <c:showVal val="0"/>
          <c:showCatName val="0"/>
          <c:showSerName val="0"/>
          <c:showPercent val="0"/>
          <c:showBubbleSize val="0"/>
        </c:dLbls>
        <c:marker val="1"/>
        <c:smooth val="0"/>
        <c:axId val="1523520352"/>
        <c:axId val="864382240"/>
      </c:lineChart>
      <c:catAx>
        <c:axId val="1130055039"/>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30265855"/>
        <c:crosses val="autoZero"/>
        <c:auto val="1"/>
        <c:lblAlgn val="ctr"/>
        <c:lblOffset val="100"/>
        <c:noMultiLvlLbl val="0"/>
      </c:catAx>
      <c:valAx>
        <c:axId val="1130265855"/>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30055039"/>
        <c:crosses val="autoZero"/>
        <c:crossBetween val="between"/>
      </c:valAx>
      <c:valAx>
        <c:axId val="864382240"/>
        <c:scaling>
          <c:orientation val="minMax"/>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523520352"/>
        <c:crosses val="max"/>
        <c:crossBetween val="between"/>
      </c:valAx>
      <c:catAx>
        <c:axId val="1523520352"/>
        <c:scaling>
          <c:orientation val="minMax"/>
        </c:scaling>
        <c:delete val="1"/>
        <c:axPos val="b"/>
        <c:numFmt formatCode="General" sourceLinked="1"/>
        <c:majorTickMark val="none"/>
        <c:minorTickMark val="none"/>
        <c:tickLblPos val="nextTo"/>
        <c:crossAx val="86438224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53270846617654"/>
          <c:y val="6.8134340350313349E-2"/>
          <c:w val="0.86380419852590196"/>
          <c:h val="0.78816324825138051"/>
        </c:manualLayout>
      </c:layout>
      <c:barChart>
        <c:barDir val="col"/>
        <c:grouping val="clustered"/>
        <c:varyColors val="0"/>
        <c:ser>
          <c:idx val="0"/>
          <c:order val="0"/>
          <c:tx>
            <c:strRef>
              <c:f>Sheet1!$B$1</c:f>
              <c:strCache>
                <c:ptCount val="1"/>
                <c:pt idx="0">
                  <c:v>Revenue</c:v>
                </c:pt>
              </c:strCache>
            </c:strRef>
          </c:tx>
          <c:spPr>
            <a:solidFill>
              <a:schemeClr val="accent1"/>
            </a:solidFill>
            <a:ln>
              <a:noFill/>
            </a:ln>
            <a:effectLst/>
          </c:spPr>
          <c:invertIfNegative val="0"/>
          <c:dPt>
            <c:idx val="5"/>
            <c:invertIfNegative val="0"/>
            <c:bubble3D val="0"/>
            <c:spPr>
              <a:pattFill prst="wdDnDiag">
                <a:fgClr>
                  <a:schemeClr val="accent1"/>
                </a:fgClr>
                <a:bgClr>
                  <a:schemeClr val="bg1"/>
                </a:bgClr>
              </a:pattFill>
              <a:ln>
                <a:solidFill>
                  <a:srgbClr val="0F3555"/>
                </a:solidFill>
              </a:ln>
              <a:effectLst/>
            </c:spPr>
            <c:extLst>
              <c:ext xmlns:c16="http://schemas.microsoft.com/office/drawing/2014/chart" uri="{C3380CC4-5D6E-409C-BE32-E72D297353CC}">
                <c16:uniqueId val="{00000006-322C-448D-B616-207B8154025E}"/>
              </c:ext>
            </c:extLst>
          </c:dPt>
          <c:dPt>
            <c:idx val="6"/>
            <c:invertIfNegative val="0"/>
            <c:bubble3D val="0"/>
            <c:spPr>
              <a:pattFill prst="wdDnDiag">
                <a:fgClr>
                  <a:schemeClr val="accent1"/>
                </a:fgClr>
                <a:bgClr>
                  <a:schemeClr val="bg1"/>
                </a:bgClr>
              </a:pattFill>
              <a:ln>
                <a:solidFill>
                  <a:srgbClr val="0F3555"/>
                </a:solidFill>
              </a:ln>
              <a:effectLst/>
            </c:spPr>
            <c:extLst>
              <c:ext xmlns:c16="http://schemas.microsoft.com/office/drawing/2014/chart" uri="{C3380CC4-5D6E-409C-BE32-E72D297353CC}">
                <c16:uniqueId val="{00000007-322C-448D-B616-207B8154025E}"/>
              </c:ext>
            </c:extLst>
          </c:dPt>
          <c:dPt>
            <c:idx val="7"/>
            <c:invertIfNegative val="0"/>
            <c:bubble3D val="0"/>
            <c:spPr>
              <a:pattFill prst="wdDnDiag">
                <a:fgClr>
                  <a:schemeClr val="accent1"/>
                </a:fgClr>
                <a:bgClr>
                  <a:schemeClr val="bg1"/>
                </a:bgClr>
              </a:pattFill>
              <a:ln>
                <a:solidFill>
                  <a:srgbClr val="0F3555"/>
                </a:solidFill>
              </a:ln>
              <a:effectLst/>
            </c:spPr>
            <c:extLst>
              <c:ext xmlns:c16="http://schemas.microsoft.com/office/drawing/2014/chart" uri="{C3380CC4-5D6E-409C-BE32-E72D297353CC}">
                <c16:uniqueId val="{00000008-322C-448D-B616-207B8154025E}"/>
              </c:ext>
            </c:extLst>
          </c:dPt>
          <c:dPt>
            <c:idx val="8"/>
            <c:invertIfNegative val="0"/>
            <c:bubble3D val="0"/>
            <c:spPr>
              <a:pattFill prst="wdDnDiag">
                <a:fgClr>
                  <a:schemeClr val="accent1"/>
                </a:fgClr>
                <a:bgClr>
                  <a:schemeClr val="bg1"/>
                </a:bgClr>
              </a:pattFill>
              <a:ln>
                <a:solidFill>
                  <a:srgbClr val="0F3555"/>
                </a:solidFill>
              </a:ln>
              <a:effectLst/>
            </c:spPr>
            <c:extLst>
              <c:ext xmlns:c16="http://schemas.microsoft.com/office/drawing/2014/chart" uri="{C3380CC4-5D6E-409C-BE32-E72D297353CC}">
                <c16:uniqueId val="{00000009-322C-448D-B616-207B8154025E}"/>
              </c:ext>
            </c:extLst>
          </c:dPt>
          <c:cat>
            <c:numRef>
              <c:f>Sheet1!$A$2:$A$10</c:f>
              <c:numCache>
                <c:formatCode>General</c:formatCode>
                <c:ptCount val="9"/>
                <c:pt idx="0">
                  <c:v>2020</c:v>
                </c:pt>
                <c:pt idx="1">
                  <c:v>2021</c:v>
                </c:pt>
                <c:pt idx="2">
                  <c:v>2022</c:v>
                </c:pt>
                <c:pt idx="3">
                  <c:v>2023</c:v>
                </c:pt>
                <c:pt idx="4">
                  <c:v>2024</c:v>
                </c:pt>
                <c:pt idx="5">
                  <c:v>2025</c:v>
                </c:pt>
                <c:pt idx="6">
                  <c:v>2026</c:v>
                </c:pt>
                <c:pt idx="7">
                  <c:v>2027</c:v>
                </c:pt>
                <c:pt idx="8">
                  <c:v>2028</c:v>
                </c:pt>
              </c:numCache>
            </c:numRef>
          </c:cat>
          <c:val>
            <c:numRef>
              <c:f>Sheet1!$B$2:$B$10</c:f>
              <c:numCache>
                <c:formatCode>General</c:formatCode>
                <c:ptCount val="9"/>
                <c:pt idx="0">
                  <c:v>170.9</c:v>
                </c:pt>
                <c:pt idx="1">
                  <c:v>314.10000000000002</c:v>
                </c:pt>
                <c:pt idx="2">
                  <c:v>776.9</c:v>
                </c:pt>
                <c:pt idx="3" formatCode="#,##0.00">
                  <c:v>1035</c:v>
                </c:pt>
                <c:pt idx="4" formatCode="#,##0.00">
                  <c:v>1492.8</c:v>
                </c:pt>
                <c:pt idx="5" formatCode="#,##0.00">
                  <c:v>1548.56</c:v>
                </c:pt>
                <c:pt idx="6" formatCode="#,##0.00">
                  <c:v>1794.69</c:v>
                </c:pt>
                <c:pt idx="7" formatCode="#,##0.00">
                  <c:v>2053.88</c:v>
                </c:pt>
                <c:pt idx="8">
                  <c:v>2350.4602720000003</c:v>
                </c:pt>
              </c:numCache>
            </c:numRef>
          </c:val>
          <c:extLst>
            <c:ext xmlns:c16="http://schemas.microsoft.com/office/drawing/2014/chart" uri="{C3380CC4-5D6E-409C-BE32-E72D297353CC}">
              <c16:uniqueId val="{00000000-322C-448D-B616-207B8154025E}"/>
            </c:ext>
          </c:extLst>
        </c:ser>
        <c:dLbls>
          <c:showLegendKey val="0"/>
          <c:showVal val="0"/>
          <c:showCatName val="0"/>
          <c:showSerName val="0"/>
          <c:showPercent val="0"/>
          <c:showBubbleSize val="0"/>
        </c:dLbls>
        <c:gapWidth val="219"/>
        <c:overlap val="-27"/>
        <c:axId val="985049871"/>
        <c:axId val="985049391"/>
      </c:barChart>
      <c:catAx>
        <c:axId val="98504987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ln>
                  <a:noFill/>
                </a:ln>
                <a:solidFill>
                  <a:schemeClr val="tx1"/>
                </a:solidFill>
                <a:latin typeface="+mn-lt"/>
                <a:ea typeface="+mn-ea"/>
                <a:cs typeface="+mn-cs"/>
              </a:defRPr>
            </a:pPr>
            <a:endParaRPr lang="en-US"/>
          </a:p>
        </c:txPr>
        <c:crossAx val="985049391"/>
        <c:crosses val="autoZero"/>
        <c:auto val="1"/>
        <c:lblAlgn val="ctr"/>
        <c:lblOffset val="100"/>
        <c:tickLblSkip val="1"/>
        <c:noMultiLvlLbl val="0"/>
      </c:catAx>
      <c:valAx>
        <c:axId val="985049391"/>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9850498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34</c:f>
              <c:strCache>
                <c:ptCount val="1"/>
                <c:pt idx="0">
                  <c:v>Operating Expenses</c:v>
                </c:pt>
              </c:strCache>
            </c:strRef>
          </c:tx>
          <c:spPr>
            <a:solidFill>
              <a:srgbClr val="0F3557"/>
            </a:solidFill>
            <a:ln>
              <a:noFill/>
            </a:ln>
            <a:effectLst/>
          </c:spPr>
          <c:invertIfNegative val="0"/>
          <c:dLbls>
            <c:numFmt formatCode="#,##0_);\(#,##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33:$K$33</c:f>
              <c:numCache>
                <c:formatCode>General</c:formatCode>
                <c:ptCount val="10"/>
                <c:pt idx="0">
                  <c:v>2025</c:v>
                </c:pt>
                <c:pt idx="1">
                  <c:v>2026</c:v>
                </c:pt>
                <c:pt idx="2">
                  <c:v>2027</c:v>
                </c:pt>
                <c:pt idx="3">
                  <c:v>2028</c:v>
                </c:pt>
                <c:pt idx="4">
                  <c:v>2029</c:v>
                </c:pt>
                <c:pt idx="5">
                  <c:v>2030</c:v>
                </c:pt>
                <c:pt idx="6">
                  <c:v>2031</c:v>
                </c:pt>
                <c:pt idx="7">
                  <c:v>2032</c:v>
                </c:pt>
                <c:pt idx="8">
                  <c:v>2033</c:v>
                </c:pt>
                <c:pt idx="9">
                  <c:v>2034</c:v>
                </c:pt>
              </c:numCache>
            </c:numRef>
          </c:cat>
          <c:val>
            <c:numRef>
              <c:f>Sheet1!$B$34:$K$34</c:f>
              <c:numCache>
                <c:formatCode>0</c:formatCode>
                <c:ptCount val="10"/>
                <c:pt idx="0">
                  <c:v>596.70946730640003</c:v>
                </c:pt>
                <c:pt idx="1">
                  <c:v>689.45441809238025</c:v>
                </c:pt>
                <c:pt idx="2">
                  <c:v>782.51118818972361</c:v>
                </c:pt>
                <c:pt idx="3">
                  <c:v>887.36799923896865</c:v>
                </c:pt>
                <c:pt idx="4">
                  <c:v>998.28321825638204</c:v>
                </c:pt>
                <c:pt idx="5">
                  <c:v>1117.9977105351304</c:v>
                </c:pt>
                <c:pt idx="6">
                  <c:v>1218.7350840010265</c:v>
                </c:pt>
                <c:pt idx="7">
                  <c:v>1338.4991108034847</c:v>
                </c:pt>
                <c:pt idx="8">
                  <c:v>1465.8267100706767</c:v>
                </c:pt>
                <c:pt idx="9">
                  <c:v>1588.9809341357486</c:v>
                </c:pt>
              </c:numCache>
            </c:numRef>
          </c:val>
          <c:extLst>
            <c:ext xmlns:c16="http://schemas.microsoft.com/office/drawing/2014/chart" uri="{C3380CC4-5D6E-409C-BE32-E72D297353CC}">
              <c16:uniqueId val="{00000000-B423-4D48-89FF-E0B4A2859CB7}"/>
            </c:ext>
          </c:extLst>
        </c:ser>
        <c:dLbls>
          <c:showLegendKey val="0"/>
          <c:showVal val="0"/>
          <c:showCatName val="0"/>
          <c:showSerName val="0"/>
          <c:showPercent val="0"/>
          <c:showBubbleSize val="0"/>
        </c:dLbls>
        <c:gapWidth val="219"/>
        <c:overlap val="-27"/>
        <c:axId val="1267307039"/>
        <c:axId val="1267262495"/>
      </c:barChart>
      <c:lineChart>
        <c:grouping val="standard"/>
        <c:varyColors val="0"/>
        <c:ser>
          <c:idx val="1"/>
          <c:order val="1"/>
          <c:tx>
            <c:strRef>
              <c:f>Sheet1!$A$35</c:f>
              <c:strCache>
                <c:ptCount val="1"/>
                <c:pt idx="0">
                  <c:v>% of Revenue</c:v>
                </c:pt>
              </c:strCache>
            </c:strRef>
          </c:tx>
          <c:spPr>
            <a:ln w="28575" cap="rnd">
              <a:solidFill>
                <a:srgbClr val="2E89DB"/>
              </a:solidFill>
              <a:round/>
            </a:ln>
            <a:effectLst/>
          </c:spPr>
          <c:marker>
            <c:symbol val="none"/>
          </c:marker>
          <c:cat>
            <c:numRef>
              <c:f>Sheet1!$B$33:$K$33</c:f>
              <c:numCache>
                <c:formatCode>General</c:formatCode>
                <c:ptCount val="10"/>
                <c:pt idx="0">
                  <c:v>2025</c:v>
                </c:pt>
                <c:pt idx="1">
                  <c:v>2026</c:v>
                </c:pt>
                <c:pt idx="2">
                  <c:v>2027</c:v>
                </c:pt>
                <c:pt idx="3">
                  <c:v>2028</c:v>
                </c:pt>
                <c:pt idx="4">
                  <c:v>2029</c:v>
                </c:pt>
                <c:pt idx="5">
                  <c:v>2030</c:v>
                </c:pt>
                <c:pt idx="6">
                  <c:v>2031</c:v>
                </c:pt>
                <c:pt idx="7">
                  <c:v>2032</c:v>
                </c:pt>
                <c:pt idx="8">
                  <c:v>2033</c:v>
                </c:pt>
                <c:pt idx="9">
                  <c:v>2034</c:v>
                </c:pt>
              </c:numCache>
            </c:numRef>
          </c:cat>
          <c:val>
            <c:numRef>
              <c:f>Sheet1!$B$35:$K$35</c:f>
              <c:numCache>
                <c:formatCode>0.00%</c:formatCode>
                <c:ptCount val="10"/>
                <c:pt idx="0">
                  <c:v>0.54759723007562311</c:v>
                </c:pt>
                <c:pt idx="1">
                  <c:v>0.53299997770906393</c:v>
                </c:pt>
                <c:pt idx="2">
                  <c:v>0.51370218292697545</c:v>
                </c:pt>
                <c:pt idx="3">
                  <c:v>0.49870118682907866</c:v>
                </c:pt>
                <c:pt idx="4">
                  <c:v>0.48580021312348975</c:v>
                </c:pt>
                <c:pt idx="5">
                  <c:v>0.47850203189783758</c:v>
                </c:pt>
                <c:pt idx="6">
                  <c:v>0.46319988630306663</c:v>
                </c:pt>
                <c:pt idx="7">
                  <c:v>0.45569992645694607</c:v>
                </c:pt>
                <c:pt idx="8">
                  <c:v>0.45000087141677603</c:v>
                </c:pt>
                <c:pt idx="9">
                  <c:v>0.44499984090396194</c:v>
                </c:pt>
              </c:numCache>
            </c:numRef>
          </c:val>
          <c:smooth val="0"/>
          <c:extLst>
            <c:ext xmlns:c16="http://schemas.microsoft.com/office/drawing/2014/chart" uri="{C3380CC4-5D6E-409C-BE32-E72D297353CC}">
              <c16:uniqueId val="{00000001-B423-4D48-89FF-E0B4A2859CB7}"/>
            </c:ext>
          </c:extLst>
        </c:ser>
        <c:dLbls>
          <c:showLegendKey val="0"/>
          <c:showVal val="0"/>
          <c:showCatName val="0"/>
          <c:showSerName val="0"/>
          <c:showPercent val="0"/>
          <c:showBubbleSize val="0"/>
        </c:dLbls>
        <c:marker val="1"/>
        <c:smooth val="0"/>
        <c:axId val="1130238495"/>
        <c:axId val="1266912607"/>
      </c:lineChart>
      <c:catAx>
        <c:axId val="1267307039"/>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67262495"/>
        <c:crossesAt val="0"/>
        <c:auto val="1"/>
        <c:lblAlgn val="ctr"/>
        <c:lblOffset val="100"/>
        <c:noMultiLvlLbl val="0"/>
      </c:catAx>
      <c:valAx>
        <c:axId val="1267262495"/>
        <c:scaling>
          <c:orientation val="minMax"/>
        </c:scaling>
        <c:delete val="0"/>
        <c:axPos val="l"/>
        <c:numFmt formatCode="#,##0_);\(#,##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67307039"/>
        <c:crosses val="autoZero"/>
        <c:crossBetween val="between"/>
      </c:valAx>
      <c:valAx>
        <c:axId val="1266912607"/>
        <c:scaling>
          <c:orientation val="minMax"/>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30238495"/>
        <c:crosses val="max"/>
        <c:crossBetween val="between"/>
      </c:valAx>
      <c:catAx>
        <c:axId val="1130238495"/>
        <c:scaling>
          <c:orientation val="minMax"/>
        </c:scaling>
        <c:delete val="1"/>
        <c:axPos val="b"/>
        <c:numFmt formatCode="General" sourceLinked="1"/>
        <c:majorTickMark val="none"/>
        <c:minorTickMark val="none"/>
        <c:tickLblPos val="nextTo"/>
        <c:crossAx val="126691260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23316615641937"/>
          <c:y val="6.2211403880263756E-2"/>
          <c:w val="0.75009386741135631"/>
          <c:h val="0.81347890000262735"/>
        </c:manualLayout>
      </c:layout>
      <c:barChart>
        <c:barDir val="bar"/>
        <c:grouping val="stacked"/>
        <c:varyColors val="0"/>
        <c:ser>
          <c:idx val="0"/>
          <c:order val="0"/>
          <c:tx>
            <c:strRef>
              <c:f>Sheet1!$Q$3</c:f>
              <c:strCache>
                <c:ptCount val="1"/>
                <c:pt idx="0">
                  <c:v>Open</c:v>
                </c:pt>
              </c:strCache>
            </c:strRef>
          </c:tx>
          <c:spPr>
            <a:noFill/>
            <a:ln>
              <a:noFill/>
            </a:ln>
            <a:effectLst/>
          </c:spPr>
          <c:invertIfNegative val="0"/>
          <c:cat>
            <c:strRef>
              <c:f>Sheet1!$P$4:$P$6</c:f>
              <c:strCache>
                <c:ptCount val="3"/>
                <c:pt idx="0">
                  <c:v>TFSIG</c:v>
                </c:pt>
                <c:pt idx="1">
                  <c:v>Street</c:v>
                </c:pt>
                <c:pt idx="2">
                  <c:v>52 Wk H/L</c:v>
                </c:pt>
              </c:strCache>
            </c:strRef>
          </c:cat>
          <c:val>
            <c:numRef>
              <c:f>Sheet1!$Q$4:$Q$6</c:f>
              <c:numCache>
                <c:formatCode>"$"#,##0.00_);\("$"#,##0.00\)</c:formatCode>
                <c:ptCount val="3"/>
                <c:pt idx="0">
                  <c:v>15.97</c:v>
                </c:pt>
                <c:pt idx="1">
                  <c:v>17</c:v>
                </c:pt>
                <c:pt idx="2">
                  <c:v>11.06</c:v>
                </c:pt>
              </c:numCache>
            </c:numRef>
          </c:val>
          <c:extLst>
            <c:ext xmlns:c16="http://schemas.microsoft.com/office/drawing/2014/chart" uri="{C3380CC4-5D6E-409C-BE32-E72D297353CC}">
              <c16:uniqueId val="{00000000-F5B8-674F-B063-D55311BE03A0}"/>
            </c:ext>
          </c:extLst>
        </c:ser>
        <c:ser>
          <c:idx val="1"/>
          <c:order val="1"/>
          <c:tx>
            <c:strRef>
              <c:f>Sheet1!$R$3</c:f>
              <c:strCache>
                <c:ptCount val="1"/>
                <c:pt idx="0">
                  <c:v>Low</c:v>
                </c:pt>
              </c:strCache>
            </c:strRef>
          </c:tx>
          <c:spPr>
            <a:solidFill>
              <a:srgbClr val="2E89DB"/>
            </a:solidFill>
            <a:ln>
              <a:noFill/>
            </a:ln>
            <a:effectLst/>
          </c:spPr>
          <c:invertIfNegative val="0"/>
          <c:dLbls>
            <c:dLbl>
              <c:idx val="0"/>
              <c:layout>
                <c:manualLayout>
                  <c:x val="-0.1041346066079697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5B8-674F-B063-D55311BE03A0}"/>
                </c:ext>
              </c:extLst>
            </c:dLbl>
            <c:dLbl>
              <c:idx val="1"/>
              <c:layout>
                <c:manualLayout>
                  <c:x val="-0.11595622645605504"/>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5B8-674F-B063-D55311BE03A0}"/>
                </c:ext>
              </c:extLst>
            </c:dLbl>
            <c:dLbl>
              <c:idx val="2"/>
              <c:layout>
                <c:manualLayout>
                  <c:x val="-8.8178380151914745E-2"/>
                  <c:y val="-5.655582170933069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5B8-674F-B063-D55311BE03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P$4:$P$6</c:f>
              <c:strCache>
                <c:ptCount val="3"/>
                <c:pt idx="0">
                  <c:v>TFSIG</c:v>
                </c:pt>
                <c:pt idx="1">
                  <c:v>Street</c:v>
                </c:pt>
                <c:pt idx="2">
                  <c:v>52 Wk H/L</c:v>
                </c:pt>
              </c:strCache>
            </c:strRef>
          </c:cat>
          <c:val>
            <c:numRef>
              <c:f>Sheet1!$R$4:$R$6</c:f>
              <c:numCache>
                <c:formatCode>"$"#,##0.00_);\("$"#,##0.00\)</c:formatCode>
                <c:ptCount val="3"/>
                <c:pt idx="0">
                  <c:v>15.97</c:v>
                </c:pt>
                <c:pt idx="1">
                  <c:v>17</c:v>
                </c:pt>
                <c:pt idx="2">
                  <c:v>11.06</c:v>
                </c:pt>
              </c:numCache>
            </c:numRef>
          </c:val>
          <c:extLst>
            <c:ext xmlns:c16="http://schemas.microsoft.com/office/drawing/2014/chart" uri="{C3380CC4-5D6E-409C-BE32-E72D297353CC}">
              <c16:uniqueId val="{00000004-F5B8-674F-B063-D55311BE03A0}"/>
            </c:ext>
          </c:extLst>
        </c:ser>
        <c:ser>
          <c:idx val="2"/>
          <c:order val="2"/>
          <c:tx>
            <c:strRef>
              <c:f>Sheet1!$S$3</c:f>
              <c:strCache>
                <c:ptCount val="1"/>
                <c:pt idx="0">
                  <c:v>High</c:v>
                </c:pt>
              </c:strCache>
            </c:strRef>
          </c:tx>
          <c:spPr>
            <a:solidFill>
              <a:srgbClr val="2E89DB"/>
            </a:solidFill>
            <a:ln>
              <a:noFill/>
            </a:ln>
            <a:effectLst/>
          </c:spPr>
          <c:invertIfNegative val="0"/>
          <c:dLbls>
            <c:dLbl>
              <c:idx val="0"/>
              <c:layout>
                <c:manualLayout>
                  <c:x val="0.15171193929331778"/>
                  <c:y val="0"/>
                </c:manualLayout>
              </c:layout>
              <c:tx>
                <c:rich>
                  <a:bodyPr/>
                  <a:lstStyle/>
                  <a:p>
                    <a:r>
                      <a:rPr lang="en-US"/>
                      <a:t>$26.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5B8-674F-B063-D55311BE03A0}"/>
                </c:ext>
              </c:extLst>
            </c:dLbl>
            <c:dLbl>
              <c:idx val="1"/>
              <c:layout>
                <c:manualLayout>
                  <c:x val="0.1333334155649683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5B8-674F-B063-D55311BE03A0}"/>
                </c:ext>
              </c:extLst>
            </c:dLbl>
            <c:dLbl>
              <c:idx val="2"/>
              <c:layout>
                <c:manualLayout>
                  <c:x val="0.1294899089449105"/>
                  <c:y val="-2.592111884046645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5B8-674F-B063-D55311BE03A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P$4:$P$6</c:f>
              <c:strCache>
                <c:ptCount val="3"/>
                <c:pt idx="0">
                  <c:v>TFSIG</c:v>
                </c:pt>
                <c:pt idx="1">
                  <c:v>Street</c:v>
                </c:pt>
                <c:pt idx="2">
                  <c:v>52 Wk H/L</c:v>
                </c:pt>
              </c:strCache>
            </c:strRef>
          </c:cat>
          <c:val>
            <c:numRef>
              <c:f>Sheet1!$S$4:$S$6</c:f>
              <c:numCache>
                <c:formatCode>"$"#,##0.00_);\("$"#,##0.00\)</c:formatCode>
                <c:ptCount val="3"/>
                <c:pt idx="0">
                  <c:v>26.43</c:v>
                </c:pt>
                <c:pt idx="1">
                  <c:v>20</c:v>
                </c:pt>
                <c:pt idx="2">
                  <c:v>18.96</c:v>
                </c:pt>
              </c:numCache>
            </c:numRef>
          </c:val>
          <c:extLst>
            <c:ext xmlns:c16="http://schemas.microsoft.com/office/drawing/2014/chart" uri="{C3380CC4-5D6E-409C-BE32-E72D297353CC}">
              <c16:uniqueId val="{00000008-F5B8-674F-B063-D55311BE03A0}"/>
            </c:ext>
          </c:extLst>
        </c:ser>
        <c:ser>
          <c:idx val="3"/>
          <c:order val="3"/>
          <c:tx>
            <c:strRef>
              <c:f>Sheet1!$T$3</c:f>
              <c:strCache>
                <c:ptCount val="1"/>
                <c:pt idx="0">
                  <c:v>Close</c:v>
                </c:pt>
              </c:strCache>
            </c:strRef>
          </c:tx>
          <c:spPr>
            <a:noFill/>
            <a:ln>
              <a:noFill/>
            </a:ln>
            <a:effectLst/>
          </c:spPr>
          <c:invertIfNegative val="0"/>
          <c:cat>
            <c:strRef>
              <c:f>Sheet1!$P$4:$P$6</c:f>
              <c:strCache>
                <c:ptCount val="3"/>
                <c:pt idx="0">
                  <c:v>TFSIG</c:v>
                </c:pt>
                <c:pt idx="1">
                  <c:v>Street</c:v>
                </c:pt>
                <c:pt idx="2">
                  <c:v>52 Wk H/L</c:v>
                </c:pt>
              </c:strCache>
            </c:strRef>
          </c:cat>
          <c:val>
            <c:numRef>
              <c:f>Sheet1!$T$4:$T$6</c:f>
              <c:numCache>
                <c:formatCode>"$"#,##0.00_);\("$"#,##0.00\)</c:formatCode>
                <c:ptCount val="3"/>
                <c:pt idx="0">
                  <c:v>26.43</c:v>
                </c:pt>
                <c:pt idx="1">
                  <c:v>20</c:v>
                </c:pt>
                <c:pt idx="2">
                  <c:v>18.96</c:v>
                </c:pt>
              </c:numCache>
            </c:numRef>
          </c:val>
          <c:extLst>
            <c:ext xmlns:c16="http://schemas.microsoft.com/office/drawing/2014/chart" uri="{C3380CC4-5D6E-409C-BE32-E72D297353CC}">
              <c16:uniqueId val="{00000009-F5B8-674F-B063-D55311BE03A0}"/>
            </c:ext>
          </c:extLst>
        </c:ser>
        <c:dLbls>
          <c:showLegendKey val="0"/>
          <c:showVal val="0"/>
          <c:showCatName val="0"/>
          <c:showSerName val="0"/>
          <c:showPercent val="0"/>
          <c:showBubbleSize val="0"/>
        </c:dLbls>
        <c:gapWidth val="150"/>
        <c:overlap val="100"/>
        <c:axId val="1286052911"/>
        <c:axId val="1286407663"/>
      </c:barChart>
      <c:catAx>
        <c:axId val="1286052911"/>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86407663"/>
        <c:crosses val="autoZero"/>
        <c:auto val="1"/>
        <c:lblAlgn val="ctr"/>
        <c:lblOffset val="100"/>
        <c:noMultiLvlLbl val="0"/>
      </c:catAx>
      <c:valAx>
        <c:axId val="1286407663"/>
        <c:scaling>
          <c:orientation val="minMax"/>
        </c:scaling>
        <c:delete val="0"/>
        <c:axPos val="b"/>
        <c:numFmt formatCode="&quot;$&quot;#,##0.00_);\(&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860529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solidFill>
              <a:srgbClr val="44B3E1"/>
            </a:solidFill>
          </c:spPr>
          <c:dPt>
            <c:idx val="0"/>
            <c:bubble3D val="0"/>
            <c:spPr>
              <a:solidFill>
                <a:srgbClr val="2E89DB"/>
              </a:solidFill>
              <a:ln w="19050">
                <a:solidFill>
                  <a:schemeClr val="lt1"/>
                </a:solidFill>
              </a:ln>
              <a:effectLst/>
            </c:spPr>
            <c:extLst>
              <c:ext xmlns:c16="http://schemas.microsoft.com/office/drawing/2014/chart" uri="{C3380CC4-5D6E-409C-BE32-E72D297353CC}">
                <c16:uniqueId val="{00000001-1B72-4697-9FA1-E5496D7A0CF9}"/>
              </c:ext>
            </c:extLst>
          </c:dPt>
          <c:dPt>
            <c:idx val="1"/>
            <c:bubble3D val="0"/>
            <c:spPr>
              <a:solidFill>
                <a:srgbClr val="0F3557"/>
              </a:solidFill>
              <a:ln w="19050">
                <a:solidFill>
                  <a:schemeClr val="lt1"/>
                </a:solidFill>
              </a:ln>
              <a:effectLst/>
            </c:spPr>
            <c:extLst>
              <c:ext xmlns:c16="http://schemas.microsoft.com/office/drawing/2014/chart" uri="{C3380CC4-5D6E-409C-BE32-E72D297353CC}">
                <c16:uniqueId val="{00000003-1B72-4697-9FA1-E5496D7A0CF9}"/>
              </c:ext>
            </c:extLst>
          </c:dPt>
          <c:dLbls>
            <c:dLbl>
              <c:idx val="0"/>
              <c:tx>
                <c:rich>
                  <a:bodyPr/>
                  <a:lstStyle/>
                  <a:p>
                    <a:fld id="{3E0E82B1-1C15-467C-BA48-68EFDDA5E4CE}" type="VALUE">
                      <a:rPr lang="en-US" baseline="0" smtClean="0"/>
                      <a:pPr/>
                      <a:t>[VALUE]</a:t>
                    </a:fld>
                    <a:endParaRPr lang="en-US"/>
                  </a:p>
                </c:rich>
              </c:tx>
              <c:dLblPos val="outEnd"/>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B72-4697-9FA1-E5496D7A0CF9}"/>
                </c:ext>
              </c:extLst>
            </c:dLbl>
            <c:dLbl>
              <c:idx val="1"/>
              <c:tx>
                <c:rich>
                  <a:bodyPr/>
                  <a:lstStyle/>
                  <a:p>
                    <a:fld id="{424C2158-E903-4108-A3F6-889204C62BD8}" type="VALUE">
                      <a:rPr lang="en-US" baseline="0" smtClean="0"/>
                      <a:pPr/>
                      <a:t>[VALUE]</a:t>
                    </a:fld>
                    <a:endParaRPr lang="en-US"/>
                  </a:p>
                </c:rich>
              </c:tx>
              <c:dLblPos val="outEnd"/>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B72-4697-9FA1-E5496D7A0CF9}"/>
                </c:ext>
              </c:extLst>
            </c:dLbl>
            <c:numFmt formatCode="0%" sourceLinked="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egmented Business revenu'!$B$7:$B$8</c:f>
              <c:strCache>
                <c:ptCount val="2"/>
                <c:pt idx="0">
                  <c:v>Hospitality</c:v>
                </c:pt>
                <c:pt idx="1">
                  <c:v>Retail</c:v>
                </c:pt>
              </c:strCache>
            </c:strRef>
          </c:cat>
          <c:val>
            <c:numRef>
              <c:f>'Segmented Business revenu'!$C$7:$C$8</c:f>
              <c:numCache>
                <c:formatCode>0.0%</c:formatCode>
                <c:ptCount val="2"/>
                <c:pt idx="0">
                  <c:v>0.37</c:v>
                </c:pt>
                <c:pt idx="1">
                  <c:v>0.63</c:v>
                </c:pt>
              </c:numCache>
            </c:numRef>
          </c:val>
          <c:extLst>
            <c:ext xmlns:c16="http://schemas.microsoft.com/office/drawing/2014/chart" uri="{C3380CC4-5D6E-409C-BE32-E72D297353CC}">
              <c16:uniqueId val="{00000004-1B72-4697-9FA1-E5496D7A0CF9}"/>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tock</c:v>
                </c:pt>
              </c:strCache>
            </c:strRef>
          </c:tx>
          <c:spPr>
            <a:solidFill>
              <a:srgbClr val="0F3557"/>
            </a:solidFill>
            <a:ln w="19050">
              <a:solidFill>
                <a:schemeClr val="lt1"/>
              </a:solidFill>
            </a:ln>
            <a:effectLst/>
          </c:spPr>
          <c:invertIfNegative val="0"/>
          <c:dPt>
            <c:idx val="0"/>
            <c:invertIfNegative val="0"/>
            <c:bubble3D val="0"/>
            <c:spPr>
              <a:solidFill>
                <a:srgbClr val="0F3557"/>
              </a:solidFill>
              <a:ln w="19050">
                <a:solidFill>
                  <a:schemeClr val="lt1"/>
                </a:solidFill>
              </a:ln>
              <a:effectLst/>
            </c:spPr>
            <c:extLst>
              <c:ext xmlns:c16="http://schemas.microsoft.com/office/drawing/2014/chart" uri="{C3380CC4-5D6E-409C-BE32-E72D297353CC}">
                <c16:uniqueId val="{00000003-D6CD-4AB4-848E-6A93FB515575}"/>
              </c:ext>
            </c:extLst>
          </c:dPt>
          <c:dPt>
            <c:idx val="1"/>
            <c:invertIfNegative val="0"/>
            <c:bubble3D val="0"/>
            <c:spPr>
              <a:pattFill prst="wdUpDiag">
                <a:fgClr>
                  <a:srgbClr val="0F3557"/>
                </a:fgClr>
                <a:bgClr>
                  <a:schemeClr val="bg1"/>
                </a:bgClr>
              </a:pattFill>
              <a:ln w="12700">
                <a:solidFill>
                  <a:schemeClr val="accent1"/>
                </a:solidFill>
              </a:ln>
              <a:effectLst/>
            </c:spPr>
            <c:extLst>
              <c:ext xmlns:c16="http://schemas.microsoft.com/office/drawing/2014/chart" uri="{C3380CC4-5D6E-409C-BE32-E72D297353CC}">
                <c16:uniqueId val="{00000002-D6CD-4AB4-848E-6A93FB515575}"/>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6CD-4AB4-848E-6A93FB515575}"/>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6CD-4AB4-848E-6A93FB51557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Q4' 25</c:v>
                </c:pt>
                <c:pt idx="1">
                  <c:v>Q1' 26</c:v>
                </c:pt>
              </c:strCache>
            </c:strRef>
          </c:cat>
          <c:val>
            <c:numRef>
              <c:f>Sheet1!$B$2:$B$3</c:f>
              <c:numCache>
                <c:formatCode>0</c:formatCode>
                <c:ptCount val="2"/>
                <c:pt idx="0">
                  <c:v>100</c:v>
                </c:pt>
                <c:pt idx="1">
                  <c:v>300</c:v>
                </c:pt>
              </c:numCache>
            </c:numRef>
          </c:val>
          <c:extLst>
            <c:ext xmlns:c16="http://schemas.microsoft.com/office/drawing/2014/chart" uri="{C3380CC4-5D6E-409C-BE32-E72D297353CC}">
              <c16:uniqueId val="{00000000-D6CD-4AB4-848E-6A93FB515575}"/>
            </c:ext>
          </c:extLst>
        </c:ser>
        <c:dLbls>
          <c:showLegendKey val="0"/>
          <c:showVal val="0"/>
          <c:showCatName val="0"/>
          <c:showSerName val="0"/>
          <c:showPercent val="0"/>
          <c:showBubbleSize val="0"/>
        </c:dLbls>
        <c:gapWidth val="100"/>
        <c:axId val="2118094479"/>
        <c:axId val="2118095919"/>
      </c:barChart>
      <c:catAx>
        <c:axId val="2118094479"/>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18095919"/>
        <c:crosses val="autoZero"/>
        <c:auto val="1"/>
        <c:lblAlgn val="ctr"/>
        <c:lblOffset val="100"/>
        <c:noMultiLvlLbl val="0"/>
      </c:catAx>
      <c:valAx>
        <c:axId val="2118095919"/>
        <c:scaling>
          <c:orientation val="minMax"/>
        </c:scaling>
        <c:delete val="0"/>
        <c:axPos val="l"/>
        <c:numFmt formatCode="0"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180944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djusted EBITDA </c:v>
                </c:pt>
              </c:strCache>
            </c:strRef>
          </c:tx>
          <c:spPr>
            <a:solidFill>
              <a:schemeClr val="accent1"/>
            </a:solidFill>
            <a:ln>
              <a:noFill/>
            </a:ln>
            <a:effectLst/>
          </c:spPr>
          <c:invertIfNegative val="0"/>
          <c:cat>
            <c:strRef>
              <c:f>Sheet1!$A$2:$A$6</c:f>
              <c:strCache>
                <c:ptCount val="5"/>
                <c:pt idx="0">
                  <c:v>Q3 '24</c:v>
                </c:pt>
                <c:pt idx="1">
                  <c:v>Q4'24</c:v>
                </c:pt>
                <c:pt idx="2">
                  <c:v>Q1'25</c:v>
                </c:pt>
                <c:pt idx="3">
                  <c:v>Q2'25</c:v>
                </c:pt>
                <c:pt idx="4">
                  <c:v>Q3 '25</c:v>
                </c:pt>
              </c:strCache>
            </c:strRef>
          </c:cat>
          <c:val>
            <c:numRef>
              <c:f>Sheet1!$B$2:$B$6</c:f>
              <c:numCache>
                <c:formatCode>0.00</c:formatCode>
                <c:ptCount val="5"/>
                <c:pt idx="0">
                  <c:v>3.6</c:v>
                </c:pt>
                <c:pt idx="1">
                  <c:v>4.4000000000000004</c:v>
                </c:pt>
                <c:pt idx="2">
                  <c:v>10.199999999999999</c:v>
                </c:pt>
                <c:pt idx="3">
                  <c:v>14</c:v>
                </c:pt>
                <c:pt idx="4">
                  <c:v>16.600000000000001</c:v>
                </c:pt>
              </c:numCache>
            </c:numRef>
          </c:val>
          <c:extLst>
            <c:ext xmlns:c16="http://schemas.microsoft.com/office/drawing/2014/chart" uri="{C3380CC4-5D6E-409C-BE32-E72D297353CC}">
              <c16:uniqueId val="{00000000-B150-4116-B02E-BE75A5CA49FB}"/>
            </c:ext>
          </c:extLst>
        </c:ser>
        <c:dLbls>
          <c:showLegendKey val="0"/>
          <c:showVal val="0"/>
          <c:showCatName val="0"/>
          <c:showSerName val="0"/>
          <c:showPercent val="0"/>
          <c:showBubbleSize val="0"/>
        </c:dLbls>
        <c:gapWidth val="219"/>
        <c:overlap val="-27"/>
        <c:axId val="541423504"/>
        <c:axId val="541422544"/>
      </c:barChart>
      <c:catAx>
        <c:axId val="541423504"/>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41422544"/>
        <c:crossesAt val="0"/>
        <c:auto val="1"/>
        <c:lblAlgn val="ctr"/>
        <c:lblOffset val="100"/>
        <c:noMultiLvlLbl val="0"/>
      </c:catAx>
      <c:valAx>
        <c:axId val="541422544"/>
        <c:scaling>
          <c:orientation val="minMax"/>
        </c:scaling>
        <c:delete val="0"/>
        <c:axPos val="l"/>
        <c:numFmt formatCode="#,##0" sourceLinked="0"/>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41423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 of Feature Available</c:v>
                </c:pt>
              </c:strCache>
            </c:strRef>
          </c:tx>
          <c:spPr>
            <a:solidFill>
              <a:schemeClr val="accent1"/>
            </a:solidFill>
            <a:ln>
              <a:noFill/>
            </a:ln>
            <a:effectLst/>
          </c:spPr>
          <c:invertIfNegative val="0"/>
          <c:dPt>
            <c:idx val="0"/>
            <c:invertIfNegative val="0"/>
            <c:bubble3D val="0"/>
            <c:spPr>
              <a:pattFill prst="wdDnDiag">
                <a:fgClr>
                  <a:schemeClr val="accent1"/>
                </a:fgClr>
                <a:bgClr>
                  <a:schemeClr val="bg1"/>
                </a:bgClr>
              </a:pattFill>
              <a:ln>
                <a:solidFill>
                  <a:schemeClr val="accent1"/>
                </a:solidFill>
              </a:ln>
              <a:effectLst/>
            </c:spPr>
            <c:extLst>
              <c:ext xmlns:c16="http://schemas.microsoft.com/office/drawing/2014/chart" uri="{C3380CC4-5D6E-409C-BE32-E72D297353CC}">
                <c16:uniqueId val="{00000003-F71F-4E54-9EF5-A83023162E05}"/>
              </c:ext>
            </c:extLst>
          </c:dPt>
          <c:cat>
            <c:strRef>
              <c:f>Sheet1!$A$2:$A$9</c:f>
              <c:strCache>
                <c:ptCount val="8"/>
                <c:pt idx="0">
                  <c:v>Lightspeed</c:v>
                </c:pt>
                <c:pt idx="1">
                  <c:v>Square</c:v>
                </c:pt>
                <c:pt idx="2">
                  <c:v>Retail Pro</c:v>
                </c:pt>
                <c:pt idx="3">
                  <c:v>Micros</c:v>
                </c:pt>
                <c:pt idx="4">
                  <c:v>Clover</c:v>
                </c:pt>
                <c:pt idx="5">
                  <c:v>TouchBistro</c:v>
                </c:pt>
                <c:pt idx="6">
                  <c:v>Shopify</c:v>
                </c:pt>
                <c:pt idx="7">
                  <c:v>Toast </c:v>
                </c:pt>
              </c:strCache>
            </c:strRef>
          </c:cat>
          <c:val>
            <c:numRef>
              <c:f>Sheet1!$B$2:$B$9</c:f>
              <c:numCache>
                <c:formatCode>General</c:formatCode>
                <c:ptCount val="8"/>
                <c:pt idx="0">
                  <c:v>33</c:v>
                </c:pt>
                <c:pt idx="1">
                  <c:v>20</c:v>
                </c:pt>
                <c:pt idx="2">
                  <c:v>12</c:v>
                </c:pt>
                <c:pt idx="3">
                  <c:v>12</c:v>
                </c:pt>
                <c:pt idx="4">
                  <c:v>12</c:v>
                </c:pt>
                <c:pt idx="5">
                  <c:v>11</c:v>
                </c:pt>
                <c:pt idx="6">
                  <c:v>11</c:v>
                </c:pt>
                <c:pt idx="7">
                  <c:v>9</c:v>
                </c:pt>
              </c:numCache>
            </c:numRef>
          </c:val>
          <c:extLst>
            <c:ext xmlns:c16="http://schemas.microsoft.com/office/drawing/2014/chart" uri="{C3380CC4-5D6E-409C-BE32-E72D297353CC}">
              <c16:uniqueId val="{00000000-F71F-4E54-9EF5-A83023162E05}"/>
            </c:ext>
          </c:extLst>
        </c:ser>
        <c:dLbls>
          <c:showLegendKey val="0"/>
          <c:showVal val="0"/>
          <c:showCatName val="0"/>
          <c:showSerName val="0"/>
          <c:showPercent val="0"/>
          <c:showBubbleSize val="0"/>
        </c:dLbls>
        <c:gapWidth val="219"/>
        <c:overlap val="-27"/>
        <c:axId val="1069807983"/>
        <c:axId val="1069809423"/>
      </c:barChart>
      <c:catAx>
        <c:axId val="1069807983"/>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069809423"/>
        <c:crosses val="autoZero"/>
        <c:auto val="1"/>
        <c:lblAlgn val="ctr"/>
        <c:lblOffset val="100"/>
        <c:noMultiLvlLbl val="0"/>
      </c:catAx>
      <c:valAx>
        <c:axId val="1069809423"/>
        <c:scaling>
          <c:orientation val="minMax"/>
        </c:scaling>
        <c:delete val="0"/>
        <c:axPos val="l"/>
        <c:numFmt formatCode="General"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0698079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24446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I$40:$I$44</c:f>
              <c:strCache>
                <c:ptCount val="5"/>
                <c:pt idx="0">
                  <c:v>United States</c:v>
                </c:pt>
                <c:pt idx="1">
                  <c:v>Canada</c:v>
                </c:pt>
                <c:pt idx="2">
                  <c:v>Australia</c:v>
                </c:pt>
                <c:pt idx="3">
                  <c:v>United Kingdom</c:v>
                </c:pt>
                <c:pt idx="4">
                  <c:v>Other</c:v>
                </c:pt>
              </c:strCache>
            </c:strRef>
          </c:cat>
          <c:val>
            <c:numRef>
              <c:f>Sheet1!$J$40:$J$44</c:f>
              <c:numCache>
                <c:formatCode>0</c:formatCode>
                <c:ptCount val="5"/>
                <c:pt idx="0">
                  <c:v>16.899999999999999</c:v>
                </c:pt>
                <c:pt idx="1">
                  <c:v>38.299999999999997</c:v>
                </c:pt>
                <c:pt idx="2">
                  <c:v>48.5</c:v>
                </c:pt>
                <c:pt idx="3">
                  <c:v>56.2</c:v>
                </c:pt>
                <c:pt idx="4">
                  <c:v>40.4</c:v>
                </c:pt>
              </c:numCache>
            </c:numRef>
          </c:val>
          <c:extLst>
            <c:ext xmlns:c16="http://schemas.microsoft.com/office/drawing/2014/chart" uri="{C3380CC4-5D6E-409C-BE32-E72D297353CC}">
              <c16:uniqueId val="{00000000-45F0-154A-AA0C-7D8B8A9E89FA}"/>
            </c:ext>
          </c:extLst>
        </c:ser>
        <c:dLbls>
          <c:dLblPos val="outEnd"/>
          <c:showLegendKey val="0"/>
          <c:showVal val="1"/>
          <c:showCatName val="0"/>
          <c:showSerName val="0"/>
          <c:showPercent val="0"/>
          <c:showBubbleSize val="0"/>
        </c:dLbls>
        <c:gapWidth val="219"/>
        <c:overlap val="-27"/>
        <c:axId val="108560991"/>
        <c:axId val="883622511"/>
      </c:barChart>
      <c:catAx>
        <c:axId val="108560991"/>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83622511"/>
        <c:crosses val="autoZero"/>
        <c:auto val="1"/>
        <c:lblAlgn val="ctr"/>
        <c:lblOffset val="100"/>
        <c:noMultiLvlLbl val="0"/>
      </c:catAx>
      <c:valAx>
        <c:axId val="883622511"/>
        <c:scaling>
          <c:orientation val="minMax"/>
          <c:min val="0"/>
        </c:scaling>
        <c:delete val="0"/>
        <c:axPos val="l"/>
        <c:numFmt formatCode="#,##0" sourceLinked="0"/>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85609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0F3557"/>
              </a:solidFill>
              <a:ln w="19050">
                <a:solidFill>
                  <a:schemeClr val="lt1"/>
                </a:solidFill>
              </a:ln>
              <a:effectLst/>
            </c:spPr>
            <c:extLst>
              <c:ext xmlns:c16="http://schemas.microsoft.com/office/drawing/2014/chart" uri="{C3380CC4-5D6E-409C-BE32-E72D297353CC}">
                <c16:uniqueId val="{00000001-E331-D045-9125-9CB6A357DCD0}"/>
              </c:ext>
            </c:extLst>
          </c:dPt>
          <c:dPt>
            <c:idx val="1"/>
            <c:bubble3D val="0"/>
            <c:spPr>
              <a:solidFill>
                <a:srgbClr val="418FDA"/>
              </a:solidFill>
              <a:ln w="19050">
                <a:solidFill>
                  <a:schemeClr val="lt1"/>
                </a:solidFill>
              </a:ln>
              <a:effectLst/>
            </c:spPr>
            <c:extLst>
              <c:ext xmlns:c16="http://schemas.microsoft.com/office/drawing/2014/chart" uri="{C3380CC4-5D6E-409C-BE32-E72D297353CC}">
                <c16:uniqueId val="{00000003-E331-D045-9125-9CB6A357DCD0}"/>
              </c:ext>
            </c:extLst>
          </c:dPt>
          <c:dPt>
            <c:idx val="2"/>
            <c:bubble3D val="0"/>
            <c:spPr>
              <a:solidFill>
                <a:srgbClr val="7CB3E4"/>
              </a:solidFill>
              <a:ln w="19050">
                <a:solidFill>
                  <a:schemeClr val="lt1"/>
                </a:solidFill>
              </a:ln>
              <a:effectLst/>
            </c:spPr>
            <c:extLst>
              <c:ext xmlns:c16="http://schemas.microsoft.com/office/drawing/2014/chart" uri="{C3380CC4-5D6E-409C-BE32-E72D297353CC}">
                <c16:uniqueId val="{00000005-E331-D045-9125-9CB6A357DCD0}"/>
              </c:ext>
            </c:extLst>
          </c:dPt>
          <c:dPt>
            <c:idx val="3"/>
            <c:bubble3D val="0"/>
            <c:spPr>
              <a:solidFill>
                <a:srgbClr val="DBD7C3"/>
              </a:solidFill>
              <a:ln w="19050">
                <a:solidFill>
                  <a:schemeClr val="lt1"/>
                </a:solidFill>
              </a:ln>
              <a:effectLst/>
            </c:spPr>
            <c:extLst>
              <c:ext xmlns:c16="http://schemas.microsoft.com/office/drawing/2014/chart" uri="{C3380CC4-5D6E-409C-BE32-E72D297353CC}">
                <c16:uniqueId val="{00000007-E331-D045-9125-9CB6A357DCD0}"/>
              </c:ext>
            </c:extLst>
          </c:dPt>
          <c:dPt>
            <c:idx val="4"/>
            <c:bubble3D val="0"/>
            <c:spPr>
              <a:solidFill>
                <a:srgbClr val="DBDBDB"/>
              </a:solidFill>
              <a:ln w="19050">
                <a:solidFill>
                  <a:schemeClr val="lt1"/>
                </a:solidFill>
              </a:ln>
              <a:effectLst/>
            </c:spPr>
            <c:extLst>
              <c:ext xmlns:c16="http://schemas.microsoft.com/office/drawing/2014/chart" uri="{C3380CC4-5D6E-409C-BE32-E72D297353CC}">
                <c16:uniqueId val="{00000009-E331-D045-9125-9CB6A357DCD0}"/>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I$24:$I$28</c:f>
              <c:strCache>
                <c:ptCount val="5"/>
                <c:pt idx="0">
                  <c:v>United States</c:v>
                </c:pt>
                <c:pt idx="1">
                  <c:v>Canada</c:v>
                </c:pt>
                <c:pt idx="2">
                  <c:v>Australia</c:v>
                </c:pt>
                <c:pt idx="3">
                  <c:v>United Kingdom</c:v>
                </c:pt>
                <c:pt idx="4">
                  <c:v>Other</c:v>
                </c:pt>
              </c:strCache>
            </c:strRef>
          </c:cat>
          <c:val>
            <c:numRef>
              <c:f>Sheet1!$J$24:$J$28</c:f>
              <c:numCache>
                <c:formatCode>0%</c:formatCode>
                <c:ptCount val="5"/>
                <c:pt idx="0">
                  <c:v>0.67815720303100291</c:v>
                </c:pt>
                <c:pt idx="1">
                  <c:v>7.1566201458312703E-2</c:v>
                </c:pt>
                <c:pt idx="2">
                  <c:v>7.4002221562352213E-2</c:v>
                </c:pt>
                <c:pt idx="3">
                  <c:v>5.1946066624874894E-2</c:v>
                </c:pt>
                <c:pt idx="4">
                  <c:v>0.12432830732345729</c:v>
                </c:pt>
              </c:numCache>
            </c:numRef>
          </c:val>
          <c:extLst>
            <c:ext xmlns:c16="http://schemas.microsoft.com/office/drawing/2014/chart" uri="{C3380CC4-5D6E-409C-BE32-E72D297353CC}">
              <c16:uniqueId val="{0000000A-E331-D045-9125-9CB6A357DCD0}"/>
            </c:ext>
          </c:extLst>
        </c:ser>
        <c:dLbls>
          <c:showLegendKey val="0"/>
          <c:showVal val="0"/>
          <c:showCatName val="0"/>
          <c:showSerName val="0"/>
          <c:showPercent val="1"/>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dPt>
            <c:idx val="0"/>
            <c:bubble3D val="0"/>
            <c:spPr>
              <a:solidFill>
                <a:srgbClr val="0F3557"/>
              </a:solidFill>
              <a:ln w="19050">
                <a:solidFill>
                  <a:schemeClr val="lt1"/>
                </a:solidFill>
              </a:ln>
              <a:effectLst/>
            </c:spPr>
            <c:extLst>
              <c:ext xmlns:c16="http://schemas.microsoft.com/office/drawing/2014/chart" uri="{C3380CC4-5D6E-409C-BE32-E72D297353CC}">
                <c16:uniqueId val="{00000001-935B-3E4C-AA45-A0B99E111B2A}"/>
              </c:ext>
            </c:extLst>
          </c:dPt>
          <c:dPt>
            <c:idx val="1"/>
            <c:bubble3D val="0"/>
            <c:spPr>
              <a:solidFill>
                <a:srgbClr val="418FDA"/>
              </a:solidFill>
              <a:ln w="19050">
                <a:solidFill>
                  <a:schemeClr val="lt1"/>
                </a:solidFill>
              </a:ln>
              <a:effectLst/>
            </c:spPr>
            <c:extLst>
              <c:ext xmlns:c16="http://schemas.microsoft.com/office/drawing/2014/chart" uri="{C3380CC4-5D6E-409C-BE32-E72D297353CC}">
                <c16:uniqueId val="{00000003-935B-3E4C-AA45-A0B99E111B2A}"/>
              </c:ext>
            </c:extLst>
          </c:dPt>
          <c:dPt>
            <c:idx val="2"/>
            <c:bubble3D val="0"/>
            <c:spPr>
              <a:solidFill>
                <a:srgbClr val="7CB3E4"/>
              </a:solidFill>
              <a:ln w="19050">
                <a:solidFill>
                  <a:schemeClr val="lt1"/>
                </a:solidFill>
              </a:ln>
              <a:effectLst/>
            </c:spPr>
            <c:extLst>
              <c:ext xmlns:c16="http://schemas.microsoft.com/office/drawing/2014/chart" uri="{C3380CC4-5D6E-409C-BE32-E72D297353CC}">
                <c16:uniqueId val="{00000005-935B-3E4C-AA45-A0B99E111B2A}"/>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4:$B$6</c:f>
              <c:strCache>
                <c:ptCount val="3"/>
                <c:pt idx="0">
                  <c:v>Transaction-based Revenue</c:v>
                </c:pt>
                <c:pt idx="1">
                  <c:v>Subscription-based Revenue</c:v>
                </c:pt>
                <c:pt idx="2">
                  <c:v>Hardware &amp; Other Revenue </c:v>
                </c:pt>
              </c:strCache>
            </c:strRef>
          </c:cat>
          <c:val>
            <c:numRef>
              <c:f>Sheet1!$C$4:$C$6</c:f>
              <c:numCache>
                <c:formatCode>0%</c:formatCode>
                <c:ptCount val="3"/>
                <c:pt idx="0">
                  <c:v>0.6</c:v>
                </c:pt>
                <c:pt idx="1">
                  <c:v>0.35399999999999998</c:v>
                </c:pt>
                <c:pt idx="2" formatCode="0.00%">
                  <c:v>4.5999999999999999E-2</c:v>
                </c:pt>
              </c:numCache>
            </c:numRef>
          </c:val>
          <c:extLst>
            <c:ext xmlns:c16="http://schemas.microsoft.com/office/drawing/2014/chart" uri="{C3380CC4-5D6E-409C-BE32-E72D297353CC}">
              <c16:uniqueId val="{00000006-935B-3E4C-AA45-A0B99E111B2A}"/>
            </c:ext>
          </c:extLst>
        </c:ser>
        <c:dLbls>
          <c:showLegendKey val="0"/>
          <c:showVal val="0"/>
          <c:showCatName val="0"/>
          <c:showSerName val="0"/>
          <c:showPercent val="1"/>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5723A2-FF58-4D9B-972D-0206EF51FD4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CA"/>
        </a:p>
      </dgm:t>
    </dgm:pt>
    <dgm:pt modelId="{CBAF6999-F821-4F2A-8B84-48FF7DC77AE8}">
      <dgm:prSet custT="1"/>
      <dgm:spPr/>
      <dgm:t>
        <a:bodyPr/>
        <a:lstStyle/>
        <a:p>
          <a:r>
            <a:rPr lang="en-CA" sz="900"/>
            <a:t>Complete Inventory System </a:t>
          </a:r>
        </a:p>
      </dgm:t>
    </dgm:pt>
    <dgm:pt modelId="{94A74ABC-1DFE-4ECE-801A-D81E5D85C106}" type="parTrans" cxnId="{D94EA564-A74D-4AD1-BB09-91F8513548FF}">
      <dgm:prSet/>
      <dgm:spPr/>
      <dgm:t>
        <a:bodyPr/>
        <a:lstStyle/>
        <a:p>
          <a:endParaRPr lang="en-CA"/>
        </a:p>
      </dgm:t>
    </dgm:pt>
    <dgm:pt modelId="{7F3768DB-DED9-4A85-9F81-A76F05FF08ED}" type="sibTrans" cxnId="{D94EA564-A74D-4AD1-BB09-91F8513548FF}">
      <dgm:prSet/>
      <dgm:spPr/>
      <dgm:t>
        <a:bodyPr/>
        <a:lstStyle/>
        <a:p>
          <a:endParaRPr lang="en-CA"/>
        </a:p>
      </dgm:t>
    </dgm:pt>
    <dgm:pt modelId="{96A46632-9256-47AF-99F9-A6B63E0A7014}">
      <dgm:prSet custT="1"/>
      <dgm:spPr/>
      <dgm:t>
        <a:bodyPr/>
        <a:lstStyle/>
        <a:p>
          <a:r>
            <a:rPr lang="en-CA" sz="900"/>
            <a:t>Integrated Payment Reporting</a:t>
          </a:r>
        </a:p>
      </dgm:t>
    </dgm:pt>
    <dgm:pt modelId="{9F1E6D8B-EDE2-43AB-B71D-869808C82490}" type="parTrans" cxnId="{82204013-0605-42A2-AB7B-A4FA6808DCE6}">
      <dgm:prSet/>
      <dgm:spPr/>
      <dgm:t>
        <a:bodyPr/>
        <a:lstStyle/>
        <a:p>
          <a:endParaRPr lang="en-CA"/>
        </a:p>
      </dgm:t>
    </dgm:pt>
    <dgm:pt modelId="{A91B8C60-E4B8-40A9-9407-EDA9D53BD78A}" type="sibTrans" cxnId="{82204013-0605-42A2-AB7B-A4FA6808DCE6}">
      <dgm:prSet/>
      <dgm:spPr/>
      <dgm:t>
        <a:bodyPr/>
        <a:lstStyle/>
        <a:p>
          <a:endParaRPr lang="en-CA"/>
        </a:p>
      </dgm:t>
    </dgm:pt>
    <dgm:pt modelId="{1888164F-43EC-40E2-A90A-64688A99A386}">
      <dgm:prSet custT="1"/>
      <dgm:spPr/>
      <dgm:t>
        <a:bodyPr/>
        <a:lstStyle/>
        <a:p>
          <a:r>
            <a:rPr lang="en-CA" sz="900"/>
            <a:t>Cloud-Based Across All Devices</a:t>
          </a:r>
        </a:p>
      </dgm:t>
    </dgm:pt>
    <dgm:pt modelId="{AD1E575E-CC7D-4E99-9290-5805EF03EFDA}" type="parTrans" cxnId="{C12675DF-038B-43CA-A160-FD6C03E3472C}">
      <dgm:prSet/>
      <dgm:spPr/>
      <dgm:t>
        <a:bodyPr/>
        <a:lstStyle/>
        <a:p>
          <a:endParaRPr lang="en-CA"/>
        </a:p>
      </dgm:t>
    </dgm:pt>
    <dgm:pt modelId="{D89B6921-AE27-4C9D-9916-E3F52C9AE361}" type="sibTrans" cxnId="{C12675DF-038B-43CA-A160-FD6C03E3472C}">
      <dgm:prSet/>
      <dgm:spPr/>
      <dgm:t>
        <a:bodyPr/>
        <a:lstStyle/>
        <a:p>
          <a:endParaRPr lang="en-CA"/>
        </a:p>
      </dgm:t>
    </dgm:pt>
    <dgm:pt modelId="{8E38ADFB-E995-4BE5-89F9-1275F69E54C1}">
      <dgm:prSet custT="1"/>
      <dgm:spPr/>
      <dgm:t>
        <a:bodyPr/>
        <a:lstStyle/>
        <a:p>
          <a:r>
            <a:rPr lang="en-CA" sz="900"/>
            <a:t>Fast Integrated Payment Processing</a:t>
          </a:r>
        </a:p>
      </dgm:t>
    </dgm:pt>
    <dgm:pt modelId="{B25D23B6-8FF2-45D1-946B-BF86BD1CEA9C}" type="parTrans" cxnId="{BC6FAF38-A1E6-4F56-9524-D24E3A881EC7}">
      <dgm:prSet/>
      <dgm:spPr/>
      <dgm:t>
        <a:bodyPr/>
        <a:lstStyle/>
        <a:p>
          <a:endParaRPr lang="en-CA"/>
        </a:p>
      </dgm:t>
    </dgm:pt>
    <dgm:pt modelId="{9EB9364D-1F61-4034-9081-6231B753DB23}" type="sibTrans" cxnId="{BC6FAF38-A1E6-4F56-9524-D24E3A881EC7}">
      <dgm:prSet/>
      <dgm:spPr/>
      <dgm:t>
        <a:bodyPr/>
        <a:lstStyle/>
        <a:p>
          <a:endParaRPr lang="en-CA"/>
        </a:p>
      </dgm:t>
    </dgm:pt>
    <dgm:pt modelId="{0EEAD0DF-E8C6-417E-A921-A09B1A488F3B}">
      <dgm:prSet custT="1"/>
      <dgm:spPr/>
      <dgm:t>
        <a:bodyPr/>
        <a:lstStyle/>
        <a:p>
          <a:r>
            <a:rPr lang="en-CA" sz="900"/>
            <a:t>Multi-Location Payment Processing</a:t>
          </a:r>
        </a:p>
      </dgm:t>
    </dgm:pt>
    <dgm:pt modelId="{FF010C98-32DE-4D46-B8BF-675DE805FDE1}" type="parTrans" cxnId="{7B063FAF-A8A3-4BF3-98EA-222697D0E10C}">
      <dgm:prSet/>
      <dgm:spPr/>
      <dgm:t>
        <a:bodyPr/>
        <a:lstStyle/>
        <a:p>
          <a:endParaRPr lang="en-CA"/>
        </a:p>
      </dgm:t>
    </dgm:pt>
    <dgm:pt modelId="{A4379573-091A-462E-A9F8-5C5DC9EBFD0D}" type="sibTrans" cxnId="{7B063FAF-A8A3-4BF3-98EA-222697D0E10C}">
      <dgm:prSet/>
      <dgm:spPr/>
      <dgm:t>
        <a:bodyPr/>
        <a:lstStyle/>
        <a:p>
          <a:endParaRPr lang="en-CA"/>
        </a:p>
      </dgm:t>
    </dgm:pt>
    <dgm:pt modelId="{E4AAC160-8CB0-4BE4-A283-6427E495D0A8}">
      <dgm:prSet custT="1"/>
      <dgm:spPr/>
      <dgm:t>
        <a:bodyPr/>
        <a:lstStyle/>
        <a:p>
          <a:r>
            <a:rPr lang="en-CA" sz="900"/>
            <a:t>Advanced Inventory Management</a:t>
          </a:r>
        </a:p>
      </dgm:t>
    </dgm:pt>
    <dgm:pt modelId="{CCC5F3CF-3264-40C5-ABF4-BCEDC72A2464}" type="parTrans" cxnId="{A6F66DA7-E095-4D2F-80B7-388C17634684}">
      <dgm:prSet/>
      <dgm:spPr/>
      <dgm:t>
        <a:bodyPr/>
        <a:lstStyle/>
        <a:p>
          <a:endParaRPr lang="en-CA"/>
        </a:p>
      </dgm:t>
    </dgm:pt>
    <dgm:pt modelId="{448BB018-8727-4C98-9597-F9B64B9DBBDF}" type="sibTrans" cxnId="{A6F66DA7-E095-4D2F-80B7-388C17634684}">
      <dgm:prSet/>
      <dgm:spPr/>
      <dgm:t>
        <a:bodyPr/>
        <a:lstStyle/>
        <a:p>
          <a:endParaRPr lang="en-CA"/>
        </a:p>
      </dgm:t>
    </dgm:pt>
    <dgm:pt modelId="{211137D0-1526-4967-88D5-626A81082853}">
      <dgm:prSet custT="1"/>
      <dgm:spPr/>
      <dgm:t>
        <a:bodyPr/>
        <a:lstStyle/>
        <a:p>
          <a:r>
            <a:rPr lang="en-CA" sz="900"/>
            <a:t>Order And Pay at Table </a:t>
          </a:r>
        </a:p>
      </dgm:t>
    </dgm:pt>
    <dgm:pt modelId="{AB1F7450-7DD7-41A2-B604-F8CD83C5179A}" type="parTrans" cxnId="{AD2F1F9C-1B89-40D4-B025-FD3B686588CD}">
      <dgm:prSet/>
      <dgm:spPr/>
      <dgm:t>
        <a:bodyPr/>
        <a:lstStyle/>
        <a:p>
          <a:endParaRPr lang="en-CA"/>
        </a:p>
      </dgm:t>
    </dgm:pt>
    <dgm:pt modelId="{14AFF0BA-D270-45B1-88EE-7374CEEFCE2E}" type="sibTrans" cxnId="{AD2F1F9C-1B89-40D4-B025-FD3B686588CD}">
      <dgm:prSet/>
      <dgm:spPr/>
      <dgm:t>
        <a:bodyPr/>
        <a:lstStyle/>
        <a:p>
          <a:endParaRPr lang="en-CA"/>
        </a:p>
      </dgm:t>
    </dgm:pt>
    <dgm:pt modelId="{4BBF38B8-A289-48F9-8DB0-246C632565F8}">
      <dgm:prSet custT="1"/>
      <dgm:spPr/>
      <dgm:t>
        <a:bodyPr/>
        <a:lstStyle/>
        <a:p>
          <a:r>
            <a:rPr lang="en-CA" sz="900"/>
            <a:t>Customer Relationship Management </a:t>
          </a:r>
        </a:p>
      </dgm:t>
    </dgm:pt>
    <dgm:pt modelId="{0A0826CA-C2B9-436A-BE79-3040FE919ED3}" type="parTrans" cxnId="{74879AC1-48B7-43E9-8769-1B1CD72C7155}">
      <dgm:prSet/>
      <dgm:spPr/>
      <dgm:t>
        <a:bodyPr/>
        <a:lstStyle/>
        <a:p>
          <a:endParaRPr lang="en-CA"/>
        </a:p>
      </dgm:t>
    </dgm:pt>
    <dgm:pt modelId="{F4D4D96F-A79E-4561-8284-8CF5A501CC3B}" type="sibTrans" cxnId="{74879AC1-48B7-43E9-8769-1B1CD72C7155}">
      <dgm:prSet/>
      <dgm:spPr/>
      <dgm:t>
        <a:bodyPr/>
        <a:lstStyle/>
        <a:p>
          <a:endParaRPr lang="en-CA"/>
        </a:p>
      </dgm:t>
    </dgm:pt>
    <dgm:pt modelId="{CB50A158-D214-4E3C-9639-1B1EA9E7D1EF}">
      <dgm:prSet custT="1"/>
      <dgm:spPr/>
      <dgm:t>
        <a:bodyPr/>
        <a:lstStyle/>
        <a:p>
          <a:r>
            <a:rPr lang="en-CA" sz="900"/>
            <a:t>Complete Omnichannel Solution</a:t>
          </a:r>
        </a:p>
      </dgm:t>
    </dgm:pt>
    <dgm:pt modelId="{83B69232-D213-413B-9360-4F35BF9161B7}" type="parTrans" cxnId="{04622A89-783C-4777-9825-3ECD9FF33A39}">
      <dgm:prSet/>
      <dgm:spPr/>
      <dgm:t>
        <a:bodyPr/>
        <a:lstStyle/>
        <a:p>
          <a:endParaRPr lang="en-CA"/>
        </a:p>
      </dgm:t>
    </dgm:pt>
    <dgm:pt modelId="{8D8039A2-94F5-4C9F-91F6-F39F407FC978}" type="sibTrans" cxnId="{04622A89-783C-4777-9825-3ECD9FF33A39}">
      <dgm:prSet/>
      <dgm:spPr/>
      <dgm:t>
        <a:bodyPr/>
        <a:lstStyle/>
        <a:p>
          <a:endParaRPr lang="en-CA"/>
        </a:p>
      </dgm:t>
    </dgm:pt>
    <dgm:pt modelId="{C8E2375D-CEDD-4B99-8E03-92E553198347}">
      <dgm:prSet custT="1"/>
      <dgm:spPr/>
      <dgm:t>
        <a:bodyPr/>
        <a:lstStyle/>
        <a:p>
          <a:r>
            <a:rPr lang="en-CA" sz="900"/>
            <a:t>Integrated Omnichannel Loyalty Program</a:t>
          </a:r>
        </a:p>
      </dgm:t>
    </dgm:pt>
    <dgm:pt modelId="{31807640-89E4-41BB-8193-E1149EEE8148}" type="parTrans" cxnId="{88D65F23-FDFE-4C66-BF9E-7AA7281EAF69}">
      <dgm:prSet/>
      <dgm:spPr/>
      <dgm:t>
        <a:bodyPr/>
        <a:lstStyle/>
        <a:p>
          <a:endParaRPr lang="en-CA"/>
        </a:p>
      </dgm:t>
    </dgm:pt>
    <dgm:pt modelId="{235F662C-9B3C-43A0-A1DC-151E1778FB6F}" type="sibTrans" cxnId="{88D65F23-FDFE-4C66-BF9E-7AA7281EAF69}">
      <dgm:prSet/>
      <dgm:spPr/>
      <dgm:t>
        <a:bodyPr/>
        <a:lstStyle/>
        <a:p>
          <a:endParaRPr lang="en-CA"/>
        </a:p>
      </dgm:t>
    </dgm:pt>
    <dgm:pt modelId="{56C0285C-EC6D-4B8E-9B35-C0919CDE0177}" type="pres">
      <dgm:prSet presAssocID="{525723A2-FF58-4D9B-972D-0206EF51FD46}" presName="diagram" presStyleCnt="0">
        <dgm:presLayoutVars>
          <dgm:dir/>
          <dgm:resizeHandles val="exact"/>
        </dgm:presLayoutVars>
      </dgm:prSet>
      <dgm:spPr/>
    </dgm:pt>
    <dgm:pt modelId="{8A498FAE-C363-4A22-8F9D-B76485F96535}" type="pres">
      <dgm:prSet presAssocID="{CBAF6999-F821-4F2A-8B84-48FF7DC77AE8}" presName="node" presStyleLbl="node1" presStyleIdx="0" presStyleCnt="10">
        <dgm:presLayoutVars>
          <dgm:bulletEnabled val="1"/>
        </dgm:presLayoutVars>
      </dgm:prSet>
      <dgm:spPr/>
    </dgm:pt>
    <dgm:pt modelId="{4438E0A2-888A-4055-8A6D-11F362B8E41D}" type="pres">
      <dgm:prSet presAssocID="{7F3768DB-DED9-4A85-9F81-A76F05FF08ED}" presName="sibTrans" presStyleCnt="0"/>
      <dgm:spPr/>
    </dgm:pt>
    <dgm:pt modelId="{1D471953-8F7A-4041-B409-379EA5FF5CD8}" type="pres">
      <dgm:prSet presAssocID="{96A46632-9256-47AF-99F9-A6B63E0A7014}" presName="node" presStyleLbl="node1" presStyleIdx="1" presStyleCnt="10">
        <dgm:presLayoutVars>
          <dgm:bulletEnabled val="1"/>
        </dgm:presLayoutVars>
      </dgm:prSet>
      <dgm:spPr/>
    </dgm:pt>
    <dgm:pt modelId="{0062F0AC-8F6F-40B3-8157-6E5A5A976B45}" type="pres">
      <dgm:prSet presAssocID="{A91B8C60-E4B8-40A9-9407-EDA9D53BD78A}" presName="sibTrans" presStyleCnt="0"/>
      <dgm:spPr/>
    </dgm:pt>
    <dgm:pt modelId="{9C3A3D04-A0EE-463D-9373-A22D9090C776}" type="pres">
      <dgm:prSet presAssocID="{1888164F-43EC-40E2-A90A-64688A99A386}" presName="node" presStyleLbl="node1" presStyleIdx="2" presStyleCnt="10">
        <dgm:presLayoutVars>
          <dgm:bulletEnabled val="1"/>
        </dgm:presLayoutVars>
      </dgm:prSet>
      <dgm:spPr/>
    </dgm:pt>
    <dgm:pt modelId="{82540FE4-11DE-4852-B0A8-301975C8928D}" type="pres">
      <dgm:prSet presAssocID="{D89B6921-AE27-4C9D-9916-E3F52C9AE361}" presName="sibTrans" presStyleCnt="0"/>
      <dgm:spPr/>
    </dgm:pt>
    <dgm:pt modelId="{D9D8D212-8BF9-4786-B006-DE73C936353F}" type="pres">
      <dgm:prSet presAssocID="{8E38ADFB-E995-4BE5-89F9-1275F69E54C1}" presName="node" presStyleLbl="node1" presStyleIdx="3" presStyleCnt="10">
        <dgm:presLayoutVars>
          <dgm:bulletEnabled val="1"/>
        </dgm:presLayoutVars>
      </dgm:prSet>
      <dgm:spPr/>
    </dgm:pt>
    <dgm:pt modelId="{1903510C-D13B-420A-BCFD-9E232B9C69E7}" type="pres">
      <dgm:prSet presAssocID="{9EB9364D-1F61-4034-9081-6231B753DB23}" presName="sibTrans" presStyleCnt="0"/>
      <dgm:spPr/>
    </dgm:pt>
    <dgm:pt modelId="{11079ADA-DBE3-4133-A943-D18F09050BEC}" type="pres">
      <dgm:prSet presAssocID="{0EEAD0DF-E8C6-417E-A921-A09B1A488F3B}" presName="node" presStyleLbl="node1" presStyleIdx="4" presStyleCnt="10">
        <dgm:presLayoutVars>
          <dgm:bulletEnabled val="1"/>
        </dgm:presLayoutVars>
      </dgm:prSet>
      <dgm:spPr/>
    </dgm:pt>
    <dgm:pt modelId="{C6B4EA09-A262-4114-922C-B9B214913CF0}" type="pres">
      <dgm:prSet presAssocID="{A4379573-091A-462E-A9F8-5C5DC9EBFD0D}" presName="sibTrans" presStyleCnt="0"/>
      <dgm:spPr/>
    </dgm:pt>
    <dgm:pt modelId="{EBB780B4-E116-4EDF-969B-B091FE2A5EEC}" type="pres">
      <dgm:prSet presAssocID="{E4AAC160-8CB0-4BE4-A283-6427E495D0A8}" presName="node" presStyleLbl="node1" presStyleIdx="5" presStyleCnt="10">
        <dgm:presLayoutVars>
          <dgm:bulletEnabled val="1"/>
        </dgm:presLayoutVars>
      </dgm:prSet>
      <dgm:spPr/>
    </dgm:pt>
    <dgm:pt modelId="{7CA9386E-14AA-4DC3-BD33-065DB90721AF}" type="pres">
      <dgm:prSet presAssocID="{448BB018-8727-4C98-9597-F9B64B9DBBDF}" presName="sibTrans" presStyleCnt="0"/>
      <dgm:spPr/>
    </dgm:pt>
    <dgm:pt modelId="{0BAB1D1B-AFBA-4E74-9315-9137B7101940}" type="pres">
      <dgm:prSet presAssocID="{211137D0-1526-4967-88D5-626A81082853}" presName="node" presStyleLbl="node1" presStyleIdx="6" presStyleCnt="10">
        <dgm:presLayoutVars>
          <dgm:bulletEnabled val="1"/>
        </dgm:presLayoutVars>
      </dgm:prSet>
      <dgm:spPr/>
    </dgm:pt>
    <dgm:pt modelId="{98D4A959-6C70-4D9E-B7F0-24CC8F704BCF}" type="pres">
      <dgm:prSet presAssocID="{14AFF0BA-D270-45B1-88EE-7374CEEFCE2E}" presName="sibTrans" presStyleCnt="0"/>
      <dgm:spPr/>
    </dgm:pt>
    <dgm:pt modelId="{8A76C971-86C3-4999-ABB6-9BB705080639}" type="pres">
      <dgm:prSet presAssocID="{4BBF38B8-A289-48F9-8DB0-246C632565F8}" presName="node" presStyleLbl="node1" presStyleIdx="7" presStyleCnt="10">
        <dgm:presLayoutVars>
          <dgm:bulletEnabled val="1"/>
        </dgm:presLayoutVars>
      </dgm:prSet>
      <dgm:spPr/>
    </dgm:pt>
    <dgm:pt modelId="{ACD6CA4A-7B11-4F12-9D51-7E9BBEB72338}" type="pres">
      <dgm:prSet presAssocID="{F4D4D96F-A79E-4561-8284-8CF5A501CC3B}" presName="sibTrans" presStyleCnt="0"/>
      <dgm:spPr/>
    </dgm:pt>
    <dgm:pt modelId="{2DE4A3F1-1E8D-4B28-9EE3-2F192DF44BE9}" type="pres">
      <dgm:prSet presAssocID="{CB50A158-D214-4E3C-9639-1B1EA9E7D1EF}" presName="node" presStyleLbl="node1" presStyleIdx="8" presStyleCnt="10">
        <dgm:presLayoutVars>
          <dgm:bulletEnabled val="1"/>
        </dgm:presLayoutVars>
      </dgm:prSet>
      <dgm:spPr/>
    </dgm:pt>
    <dgm:pt modelId="{EE2AA781-28CE-4E33-8BCF-2B2542695C10}" type="pres">
      <dgm:prSet presAssocID="{8D8039A2-94F5-4C9F-91F6-F39F407FC978}" presName="sibTrans" presStyleCnt="0"/>
      <dgm:spPr/>
    </dgm:pt>
    <dgm:pt modelId="{5AD27FBB-F07B-42B0-8C55-FE299B3B0E2E}" type="pres">
      <dgm:prSet presAssocID="{C8E2375D-CEDD-4B99-8E03-92E553198347}" presName="node" presStyleLbl="node1" presStyleIdx="9" presStyleCnt="10">
        <dgm:presLayoutVars>
          <dgm:bulletEnabled val="1"/>
        </dgm:presLayoutVars>
      </dgm:prSet>
      <dgm:spPr/>
    </dgm:pt>
  </dgm:ptLst>
  <dgm:cxnLst>
    <dgm:cxn modelId="{82204013-0605-42A2-AB7B-A4FA6808DCE6}" srcId="{525723A2-FF58-4D9B-972D-0206EF51FD46}" destId="{96A46632-9256-47AF-99F9-A6B63E0A7014}" srcOrd="1" destOrd="0" parTransId="{9F1E6D8B-EDE2-43AB-B71D-869808C82490}" sibTransId="{A91B8C60-E4B8-40A9-9407-EDA9D53BD78A}"/>
    <dgm:cxn modelId="{BF388619-4FB5-4008-BBAC-BFCE3C68ECEE}" type="presOf" srcId="{1888164F-43EC-40E2-A90A-64688A99A386}" destId="{9C3A3D04-A0EE-463D-9373-A22D9090C776}" srcOrd="0" destOrd="0" presId="urn:microsoft.com/office/officeart/2005/8/layout/default"/>
    <dgm:cxn modelId="{88D65F23-FDFE-4C66-BF9E-7AA7281EAF69}" srcId="{525723A2-FF58-4D9B-972D-0206EF51FD46}" destId="{C8E2375D-CEDD-4B99-8E03-92E553198347}" srcOrd="9" destOrd="0" parTransId="{31807640-89E4-41BB-8193-E1149EEE8148}" sibTransId="{235F662C-9B3C-43A0-A1DC-151E1778FB6F}"/>
    <dgm:cxn modelId="{67B07724-03F2-4D41-8A7C-CA4EBEA6BD4E}" type="presOf" srcId="{0EEAD0DF-E8C6-417E-A921-A09B1A488F3B}" destId="{11079ADA-DBE3-4133-A943-D18F09050BEC}" srcOrd="0" destOrd="0" presId="urn:microsoft.com/office/officeart/2005/8/layout/default"/>
    <dgm:cxn modelId="{ED462030-8897-4C3C-AF91-F2E26BA2A419}" type="presOf" srcId="{8E38ADFB-E995-4BE5-89F9-1275F69E54C1}" destId="{D9D8D212-8BF9-4786-B006-DE73C936353F}" srcOrd="0" destOrd="0" presId="urn:microsoft.com/office/officeart/2005/8/layout/default"/>
    <dgm:cxn modelId="{BC6FAF38-A1E6-4F56-9524-D24E3A881EC7}" srcId="{525723A2-FF58-4D9B-972D-0206EF51FD46}" destId="{8E38ADFB-E995-4BE5-89F9-1275F69E54C1}" srcOrd="3" destOrd="0" parTransId="{B25D23B6-8FF2-45D1-946B-BF86BD1CEA9C}" sibTransId="{9EB9364D-1F61-4034-9081-6231B753DB23}"/>
    <dgm:cxn modelId="{D94EA564-A74D-4AD1-BB09-91F8513548FF}" srcId="{525723A2-FF58-4D9B-972D-0206EF51FD46}" destId="{CBAF6999-F821-4F2A-8B84-48FF7DC77AE8}" srcOrd="0" destOrd="0" parTransId="{94A74ABC-1DFE-4ECE-801A-D81E5D85C106}" sibTransId="{7F3768DB-DED9-4A85-9F81-A76F05FF08ED}"/>
    <dgm:cxn modelId="{5D2AF044-8316-4582-A2F4-C52571102D37}" type="presOf" srcId="{CBAF6999-F821-4F2A-8B84-48FF7DC77AE8}" destId="{8A498FAE-C363-4A22-8F9D-B76485F96535}" srcOrd="0" destOrd="0" presId="urn:microsoft.com/office/officeart/2005/8/layout/default"/>
    <dgm:cxn modelId="{5841C34C-52F5-4F5A-933F-7C31D34E72AC}" type="presOf" srcId="{CB50A158-D214-4E3C-9639-1B1EA9E7D1EF}" destId="{2DE4A3F1-1E8D-4B28-9EE3-2F192DF44BE9}" srcOrd="0" destOrd="0" presId="urn:microsoft.com/office/officeart/2005/8/layout/default"/>
    <dgm:cxn modelId="{FC338373-463D-4956-8A78-A1B65773B685}" type="presOf" srcId="{E4AAC160-8CB0-4BE4-A283-6427E495D0A8}" destId="{EBB780B4-E116-4EDF-969B-B091FE2A5EEC}" srcOrd="0" destOrd="0" presId="urn:microsoft.com/office/officeart/2005/8/layout/default"/>
    <dgm:cxn modelId="{C7DD3156-BA56-4EB4-A03F-4800FD5B8C78}" type="presOf" srcId="{96A46632-9256-47AF-99F9-A6B63E0A7014}" destId="{1D471953-8F7A-4041-B409-379EA5FF5CD8}" srcOrd="0" destOrd="0" presId="urn:microsoft.com/office/officeart/2005/8/layout/default"/>
    <dgm:cxn modelId="{8E154658-E019-43F9-B92F-DA8D9E13A9A9}" type="presOf" srcId="{211137D0-1526-4967-88D5-626A81082853}" destId="{0BAB1D1B-AFBA-4E74-9315-9137B7101940}" srcOrd="0" destOrd="0" presId="urn:microsoft.com/office/officeart/2005/8/layout/default"/>
    <dgm:cxn modelId="{04622A89-783C-4777-9825-3ECD9FF33A39}" srcId="{525723A2-FF58-4D9B-972D-0206EF51FD46}" destId="{CB50A158-D214-4E3C-9639-1B1EA9E7D1EF}" srcOrd="8" destOrd="0" parTransId="{83B69232-D213-413B-9360-4F35BF9161B7}" sibTransId="{8D8039A2-94F5-4C9F-91F6-F39F407FC978}"/>
    <dgm:cxn modelId="{AD2F1F9C-1B89-40D4-B025-FD3B686588CD}" srcId="{525723A2-FF58-4D9B-972D-0206EF51FD46}" destId="{211137D0-1526-4967-88D5-626A81082853}" srcOrd="6" destOrd="0" parTransId="{AB1F7450-7DD7-41A2-B604-F8CD83C5179A}" sibTransId="{14AFF0BA-D270-45B1-88EE-7374CEEFCE2E}"/>
    <dgm:cxn modelId="{AF130DA2-057E-448A-B30E-7376897F39A3}" type="presOf" srcId="{525723A2-FF58-4D9B-972D-0206EF51FD46}" destId="{56C0285C-EC6D-4B8E-9B35-C0919CDE0177}" srcOrd="0" destOrd="0" presId="urn:microsoft.com/office/officeart/2005/8/layout/default"/>
    <dgm:cxn modelId="{089C1DA4-BABB-4D94-8677-B0B192CA10DF}" type="presOf" srcId="{C8E2375D-CEDD-4B99-8E03-92E553198347}" destId="{5AD27FBB-F07B-42B0-8C55-FE299B3B0E2E}" srcOrd="0" destOrd="0" presId="urn:microsoft.com/office/officeart/2005/8/layout/default"/>
    <dgm:cxn modelId="{A6F66DA7-E095-4D2F-80B7-388C17634684}" srcId="{525723A2-FF58-4D9B-972D-0206EF51FD46}" destId="{E4AAC160-8CB0-4BE4-A283-6427E495D0A8}" srcOrd="5" destOrd="0" parTransId="{CCC5F3CF-3264-40C5-ABF4-BCEDC72A2464}" sibTransId="{448BB018-8727-4C98-9597-F9B64B9DBBDF}"/>
    <dgm:cxn modelId="{7B063FAF-A8A3-4BF3-98EA-222697D0E10C}" srcId="{525723A2-FF58-4D9B-972D-0206EF51FD46}" destId="{0EEAD0DF-E8C6-417E-A921-A09B1A488F3B}" srcOrd="4" destOrd="0" parTransId="{FF010C98-32DE-4D46-B8BF-675DE805FDE1}" sibTransId="{A4379573-091A-462E-A9F8-5C5DC9EBFD0D}"/>
    <dgm:cxn modelId="{74879AC1-48B7-43E9-8769-1B1CD72C7155}" srcId="{525723A2-FF58-4D9B-972D-0206EF51FD46}" destId="{4BBF38B8-A289-48F9-8DB0-246C632565F8}" srcOrd="7" destOrd="0" parTransId="{0A0826CA-C2B9-436A-BE79-3040FE919ED3}" sibTransId="{F4D4D96F-A79E-4561-8284-8CF5A501CC3B}"/>
    <dgm:cxn modelId="{A72D63D4-828C-4467-9BD4-BD3DBFD45621}" type="presOf" srcId="{4BBF38B8-A289-48F9-8DB0-246C632565F8}" destId="{8A76C971-86C3-4999-ABB6-9BB705080639}" srcOrd="0" destOrd="0" presId="urn:microsoft.com/office/officeart/2005/8/layout/default"/>
    <dgm:cxn modelId="{C12675DF-038B-43CA-A160-FD6C03E3472C}" srcId="{525723A2-FF58-4D9B-972D-0206EF51FD46}" destId="{1888164F-43EC-40E2-A90A-64688A99A386}" srcOrd="2" destOrd="0" parTransId="{AD1E575E-CC7D-4E99-9290-5805EF03EFDA}" sibTransId="{D89B6921-AE27-4C9D-9916-E3F52C9AE361}"/>
    <dgm:cxn modelId="{3FE6A932-862D-45B0-88DA-5368ADAE856F}" type="presParOf" srcId="{56C0285C-EC6D-4B8E-9B35-C0919CDE0177}" destId="{8A498FAE-C363-4A22-8F9D-B76485F96535}" srcOrd="0" destOrd="0" presId="urn:microsoft.com/office/officeart/2005/8/layout/default"/>
    <dgm:cxn modelId="{E348D451-7A49-4BFF-B1A2-21B982ED924E}" type="presParOf" srcId="{56C0285C-EC6D-4B8E-9B35-C0919CDE0177}" destId="{4438E0A2-888A-4055-8A6D-11F362B8E41D}" srcOrd="1" destOrd="0" presId="urn:microsoft.com/office/officeart/2005/8/layout/default"/>
    <dgm:cxn modelId="{B156AC4E-6ABC-4537-B1F6-AE5215112AE2}" type="presParOf" srcId="{56C0285C-EC6D-4B8E-9B35-C0919CDE0177}" destId="{1D471953-8F7A-4041-B409-379EA5FF5CD8}" srcOrd="2" destOrd="0" presId="urn:microsoft.com/office/officeart/2005/8/layout/default"/>
    <dgm:cxn modelId="{0A3EBA92-622D-4243-B9E9-C656C2B55502}" type="presParOf" srcId="{56C0285C-EC6D-4B8E-9B35-C0919CDE0177}" destId="{0062F0AC-8F6F-40B3-8157-6E5A5A976B45}" srcOrd="3" destOrd="0" presId="urn:microsoft.com/office/officeart/2005/8/layout/default"/>
    <dgm:cxn modelId="{65BEA428-1E9B-45A4-AA15-1AB8A6FCFB99}" type="presParOf" srcId="{56C0285C-EC6D-4B8E-9B35-C0919CDE0177}" destId="{9C3A3D04-A0EE-463D-9373-A22D9090C776}" srcOrd="4" destOrd="0" presId="urn:microsoft.com/office/officeart/2005/8/layout/default"/>
    <dgm:cxn modelId="{B54DD776-FBE5-4939-BF42-97FBC4D9C0A6}" type="presParOf" srcId="{56C0285C-EC6D-4B8E-9B35-C0919CDE0177}" destId="{82540FE4-11DE-4852-B0A8-301975C8928D}" srcOrd="5" destOrd="0" presId="urn:microsoft.com/office/officeart/2005/8/layout/default"/>
    <dgm:cxn modelId="{3052B869-D808-45BA-837C-D2123D58D115}" type="presParOf" srcId="{56C0285C-EC6D-4B8E-9B35-C0919CDE0177}" destId="{D9D8D212-8BF9-4786-B006-DE73C936353F}" srcOrd="6" destOrd="0" presId="urn:microsoft.com/office/officeart/2005/8/layout/default"/>
    <dgm:cxn modelId="{29030CC9-E836-4B10-815E-2A22B913FE31}" type="presParOf" srcId="{56C0285C-EC6D-4B8E-9B35-C0919CDE0177}" destId="{1903510C-D13B-420A-BCFD-9E232B9C69E7}" srcOrd="7" destOrd="0" presId="urn:microsoft.com/office/officeart/2005/8/layout/default"/>
    <dgm:cxn modelId="{15386064-9CB7-4523-B70E-B40363D9DEA9}" type="presParOf" srcId="{56C0285C-EC6D-4B8E-9B35-C0919CDE0177}" destId="{11079ADA-DBE3-4133-A943-D18F09050BEC}" srcOrd="8" destOrd="0" presId="urn:microsoft.com/office/officeart/2005/8/layout/default"/>
    <dgm:cxn modelId="{715E63CB-60B2-4709-848E-9BD38130E2E4}" type="presParOf" srcId="{56C0285C-EC6D-4B8E-9B35-C0919CDE0177}" destId="{C6B4EA09-A262-4114-922C-B9B214913CF0}" srcOrd="9" destOrd="0" presId="urn:microsoft.com/office/officeart/2005/8/layout/default"/>
    <dgm:cxn modelId="{D1487166-2318-4235-B37D-7F258E25F4D2}" type="presParOf" srcId="{56C0285C-EC6D-4B8E-9B35-C0919CDE0177}" destId="{EBB780B4-E116-4EDF-969B-B091FE2A5EEC}" srcOrd="10" destOrd="0" presId="urn:microsoft.com/office/officeart/2005/8/layout/default"/>
    <dgm:cxn modelId="{7669DCFF-C287-436D-97F3-EFBCD2E23D22}" type="presParOf" srcId="{56C0285C-EC6D-4B8E-9B35-C0919CDE0177}" destId="{7CA9386E-14AA-4DC3-BD33-065DB90721AF}" srcOrd="11" destOrd="0" presId="urn:microsoft.com/office/officeart/2005/8/layout/default"/>
    <dgm:cxn modelId="{781043A9-6A8D-4752-9D25-A007C0694559}" type="presParOf" srcId="{56C0285C-EC6D-4B8E-9B35-C0919CDE0177}" destId="{0BAB1D1B-AFBA-4E74-9315-9137B7101940}" srcOrd="12" destOrd="0" presId="urn:microsoft.com/office/officeart/2005/8/layout/default"/>
    <dgm:cxn modelId="{F37E3A4D-1DBC-41F3-BBAA-ED4B5FE649F3}" type="presParOf" srcId="{56C0285C-EC6D-4B8E-9B35-C0919CDE0177}" destId="{98D4A959-6C70-4D9E-B7F0-24CC8F704BCF}" srcOrd="13" destOrd="0" presId="urn:microsoft.com/office/officeart/2005/8/layout/default"/>
    <dgm:cxn modelId="{E5FBA44B-0F89-4BE2-82F0-9DDA81E711FB}" type="presParOf" srcId="{56C0285C-EC6D-4B8E-9B35-C0919CDE0177}" destId="{8A76C971-86C3-4999-ABB6-9BB705080639}" srcOrd="14" destOrd="0" presId="urn:microsoft.com/office/officeart/2005/8/layout/default"/>
    <dgm:cxn modelId="{5B17DE13-D4D3-49E5-B2FB-00DF716A74FB}" type="presParOf" srcId="{56C0285C-EC6D-4B8E-9B35-C0919CDE0177}" destId="{ACD6CA4A-7B11-4F12-9D51-7E9BBEB72338}" srcOrd="15" destOrd="0" presId="urn:microsoft.com/office/officeart/2005/8/layout/default"/>
    <dgm:cxn modelId="{18C0C447-D120-4F05-B56F-D49C24BA8FCB}" type="presParOf" srcId="{56C0285C-EC6D-4B8E-9B35-C0919CDE0177}" destId="{2DE4A3F1-1E8D-4B28-9EE3-2F192DF44BE9}" srcOrd="16" destOrd="0" presId="urn:microsoft.com/office/officeart/2005/8/layout/default"/>
    <dgm:cxn modelId="{1C9B1C28-D5DF-4F61-BEC9-6A6252CBDD82}" type="presParOf" srcId="{56C0285C-EC6D-4B8E-9B35-C0919CDE0177}" destId="{EE2AA781-28CE-4E33-8BCF-2B2542695C10}" srcOrd="17" destOrd="0" presId="urn:microsoft.com/office/officeart/2005/8/layout/default"/>
    <dgm:cxn modelId="{0C2A4DCD-E4D5-472F-8DFE-648CACE3B7C3}" type="presParOf" srcId="{56C0285C-EC6D-4B8E-9B35-C0919CDE0177}" destId="{5AD27FBB-F07B-42B0-8C55-FE299B3B0E2E}" srcOrd="1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498FAE-C363-4A22-8F9D-B76485F96535}">
      <dsp:nvSpPr>
        <dsp:cNvPr id="0" name=""/>
        <dsp:cNvSpPr/>
      </dsp:nvSpPr>
      <dsp:spPr>
        <a:xfrm>
          <a:off x="2953" y="73128"/>
          <a:ext cx="1599340" cy="9596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a:t>Complete Inventory System </a:t>
          </a:r>
        </a:p>
      </dsp:txBody>
      <dsp:txXfrm>
        <a:off x="2953" y="73128"/>
        <a:ext cx="1599340" cy="959604"/>
      </dsp:txXfrm>
    </dsp:sp>
    <dsp:sp modelId="{1D471953-8F7A-4041-B409-379EA5FF5CD8}">
      <dsp:nvSpPr>
        <dsp:cNvPr id="0" name=""/>
        <dsp:cNvSpPr/>
      </dsp:nvSpPr>
      <dsp:spPr>
        <a:xfrm>
          <a:off x="1762228" y="73128"/>
          <a:ext cx="1599340" cy="9596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a:t>Integrated Payment Reporting</a:t>
          </a:r>
        </a:p>
      </dsp:txBody>
      <dsp:txXfrm>
        <a:off x="1762228" y="73128"/>
        <a:ext cx="1599340" cy="959604"/>
      </dsp:txXfrm>
    </dsp:sp>
    <dsp:sp modelId="{9C3A3D04-A0EE-463D-9373-A22D9090C776}">
      <dsp:nvSpPr>
        <dsp:cNvPr id="0" name=""/>
        <dsp:cNvSpPr/>
      </dsp:nvSpPr>
      <dsp:spPr>
        <a:xfrm>
          <a:off x="3521502" y="73128"/>
          <a:ext cx="1599340" cy="9596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a:t>Cloud-Based Across All Devices</a:t>
          </a:r>
        </a:p>
      </dsp:txBody>
      <dsp:txXfrm>
        <a:off x="3521502" y="73128"/>
        <a:ext cx="1599340" cy="959604"/>
      </dsp:txXfrm>
    </dsp:sp>
    <dsp:sp modelId="{D9D8D212-8BF9-4786-B006-DE73C936353F}">
      <dsp:nvSpPr>
        <dsp:cNvPr id="0" name=""/>
        <dsp:cNvSpPr/>
      </dsp:nvSpPr>
      <dsp:spPr>
        <a:xfrm>
          <a:off x="5280776" y="73128"/>
          <a:ext cx="1599340" cy="9596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a:t>Fast Integrated Payment Processing</a:t>
          </a:r>
        </a:p>
      </dsp:txBody>
      <dsp:txXfrm>
        <a:off x="5280776" y="73128"/>
        <a:ext cx="1599340" cy="959604"/>
      </dsp:txXfrm>
    </dsp:sp>
    <dsp:sp modelId="{11079ADA-DBE3-4133-A943-D18F09050BEC}">
      <dsp:nvSpPr>
        <dsp:cNvPr id="0" name=""/>
        <dsp:cNvSpPr/>
      </dsp:nvSpPr>
      <dsp:spPr>
        <a:xfrm>
          <a:off x="7040050" y="73128"/>
          <a:ext cx="1599340" cy="9596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a:t>Multi-Location Payment Processing</a:t>
          </a:r>
        </a:p>
      </dsp:txBody>
      <dsp:txXfrm>
        <a:off x="7040050" y="73128"/>
        <a:ext cx="1599340" cy="959604"/>
      </dsp:txXfrm>
    </dsp:sp>
    <dsp:sp modelId="{EBB780B4-E116-4EDF-969B-B091FE2A5EEC}">
      <dsp:nvSpPr>
        <dsp:cNvPr id="0" name=""/>
        <dsp:cNvSpPr/>
      </dsp:nvSpPr>
      <dsp:spPr>
        <a:xfrm>
          <a:off x="2953" y="1192666"/>
          <a:ext cx="1599340" cy="9596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a:t>Advanced Inventory Management</a:t>
          </a:r>
        </a:p>
      </dsp:txBody>
      <dsp:txXfrm>
        <a:off x="2953" y="1192666"/>
        <a:ext cx="1599340" cy="959604"/>
      </dsp:txXfrm>
    </dsp:sp>
    <dsp:sp modelId="{0BAB1D1B-AFBA-4E74-9315-9137B7101940}">
      <dsp:nvSpPr>
        <dsp:cNvPr id="0" name=""/>
        <dsp:cNvSpPr/>
      </dsp:nvSpPr>
      <dsp:spPr>
        <a:xfrm>
          <a:off x="1762228" y="1192666"/>
          <a:ext cx="1599340" cy="9596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a:t>Order And Pay at Table </a:t>
          </a:r>
        </a:p>
      </dsp:txBody>
      <dsp:txXfrm>
        <a:off x="1762228" y="1192666"/>
        <a:ext cx="1599340" cy="959604"/>
      </dsp:txXfrm>
    </dsp:sp>
    <dsp:sp modelId="{8A76C971-86C3-4999-ABB6-9BB705080639}">
      <dsp:nvSpPr>
        <dsp:cNvPr id="0" name=""/>
        <dsp:cNvSpPr/>
      </dsp:nvSpPr>
      <dsp:spPr>
        <a:xfrm>
          <a:off x="3521502" y="1192666"/>
          <a:ext cx="1599340" cy="9596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a:t>Customer Relationship Management </a:t>
          </a:r>
        </a:p>
      </dsp:txBody>
      <dsp:txXfrm>
        <a:off x="3521502" y="1192666"/>
        <a:ext cx="1599340" cy="959604"/>
      </dsp:txXfrm>
    </dsp:sp>
    <dsp:sp modelId="{2DE4A3F1-1E8D-4B28-9EE3-2F192DF44BE9}">
      <dsp:nvSpPr>
        <dsp:cNvPr id="0" name=""/>
        <dsp:cNvSpPr/>
      </dsp:nvSpPr>
      <dsp:spPr>
        <a:xfrm>
          <a:off x="5280776" y="1192666"/>
          <a:ext cx="1599340" cy="9596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a:t>Complete Omnichannel Solution</a:t>
          </a:r>
        </a:p>
      </dsp:txBody>
      <dsp:txXfrm>
        <a:off x="5280776" y="1192666"/>
        <a:ext cx="1599340" cy="959604"/>
      </dsp:txXfrm>
    </dsp:sp>
    <dsp:sp modelId="{5AD27FBB-F07B-42B0-8C55-FE299B3B0E2E}">
      <dsp:nvSpPr>
        <dsp:cNvPr id="0" name=""/>
        <dsp:cNvSpPr/>
      </dsp:nvSpPr>
      <dsp:spPr>
        <a:xfrm>
          <a:off x="7040050" y="1192666"/>
          <a:ext cx="1599340" cy="9596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a:t>Integrated Omnichannel Loyalty Program</a:t>
          </a:r>
        </a:p>
      </dsp:txBody>
      <dsp:txXfrm>
        <a:off x="7040050" y="1192666"/>
        <a:ext cx="1599340" cy="95960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6489</cdr:x>
      <cdr:y>0.09423</cdr:y>
    </cdr:from>
    <cdr:to>
      <cdr:x>0.95249</cdr:x>
      <cdr:y>0.71581</cdr:y>
    </cdr:to>
    <cdr:cxnSp macro="">
      <cdr:nvCxnSpPr>
        <cdr:cNvPr id="2" name="Straight Arrow Connector 1">
          <a:extLst xmlns:a="http://schemas.openxmlformats.org/drawingml/2006/main">
            <a:ext uri="{FF2B5EF4-FFF2-40B4-BE49-F238E27FC236}">
              <a16:creationId xmlns:a16="http://schemas.microsoft.com/office/drawing/2014/main" id="{B97FA13E-C668-8D62-88C6-F23E2C304C7B}"/>
            </a:ext>
          </a:extLst>
        </cdr:cNvPr>
        <cdr:cNvCxnSpPr/>
      </cdr:nvCxnSpPr>
      <cdr:spPr>
        <a:xfrm xmlns:a="http://schemas.openxmlformats.org/drawingml/2006/main" flipV="1">
          <a:off x="4017770" y="205247"/>
          <a:ext cx="4214010" cy="1353832"/>
        </a:xfrm>
        <a:prstGeom xmlns:a="http://schemas.openxmlformats.org/drawingml/2006/main" prst="straightConnector1">
          <a:avLst/>
        </a:prstGeom>
        <a:ln xmlns:a="http://schemas.openxmlformats.org/drawingml/2006/main" w="12700">
          <a:solidFill>
            <a:srgbClr val="0F3557"/>
          </a:solidFill>
          <a:prstDash val="sys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59B053-7477-4699-9DA7-B81FA927272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40C529F-0D61-4970-AB54-64C01783EA4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A2D7AA7-9A86-4D9A-9C38-8D845BC7B88F}" type="datetimeFigureOut">
              <a:rPr lang="en-US" smtClean="0"/>
              <a:t>2/24/2025</a:t>
            </a:fld>
            <a:endParaRPr lang="en-US"/>
          </a:p>
        </p:txBody>
      </p:sp>
      <p:sp>
        <p:nvSpPr>
          <p:cNvPr id="4" name="Footer Placeholder 3">
            <a:extLst>
              <a:ext uri="{FF2B5EF4-FFF2-40B4-BE49-F238E27FC236}">
                <a16:creationId xmlns:a16="http://schemas.microsoft.com/office/drawing/2014/main" id="{91E552FA-A4B4-485E-A87C-2CF3A4646CD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AB725F1-FA01-4E79-9E56-DBA9386D56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511262A-EC40-4F61-9518-B586EF783509}" type="slidenum">
              <a:rPr lang="en-US" smtClean="0"/>
              <a:t>‹#›</a:t>
            </a:fld>
            <a:endParaRPr lang="en-US"/>
          </a:p>
        </p:txBody>
      </p:sp>
    </p:spTree>
    <p:extLst>
      <p:ext uri="{BB962C8B-B14F-4D97-AF65-F5344CB8AC3E}">
        <p14:creationId xmlns:p14="http://schemas.microsoft.com/office/powerpoint/2010/main" val="2222970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353A59-B227-41D8-8D94-CD917939165D}" type="datetimeFigureOut">
              <a:rPr lang="en-US" smtClean="0"/>
              <a:t>2/24/20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C35494-8CBF-4C09-A4C0-5BE8C0257DEC}" type="slidenum">
              <a:rPr lang="en-US" smtClean="0"/>
              <a:t>‹#›</a:t>
            </a:fld>
            <a:endParaRPr lang="en-US"/>
          </a:p>
        </p:txBody>
      </p:sp>
    </p:spTree>
    <p:extLst>
      <p:ext uri="{BB962C8B-B14F-4D97-AF65-F5344CB8AC3E}">
        <p14:creationId xmlns:p14="http://schemas.microsoft.com/office/powerpoint/2010/main" val="2269682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4</a:t>
            </a:fld>
            <a:endParaRPr lang="en-US"/>
          </a:p>
        </p:txBody>
      </p:sp>
    </p:spTree>
    <p:extLst>
      <p:ext uri="{BB962C8B-B14F-4D97-AF65-F5344CB8AC3E}">
        <p14:creationId xmlns:p14="http://schemas.microsoft.com/office/powerpoint/2010/main" val="3798238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A5B21-3403-514E-9404-A832F74674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74FD3C-02B9-FF97-F191-67206E343F99}"/>
              </a:ext>
            </a:extLst>
          </p:cNvPr>
          <p:cNvSpPr>
            <a:spLocks noGrp="1" noRot="1" noChangeAspect="1"/>
          </p:cNvSpPr>
          <p:nvPr>
            <p:ph type="sldImg"/>
          </p:nvPr>
        </p:nvSpPr>
        <p:spPr>
          <a:xfrm>
            <a:off x="1371600" y="1143000"/>
            <a:ext cx="4114800" cy="3086100"/>
          </a:xfrm>
        </p:spPr>
      </p:sp>
      <p:sp>
        <p:nvSpPr>
          <p:cNvPr id="3" name="Notes Placeholder 2">
            <a:extLst>
              <a:ext uri="{FF2B5EF4-FFF2-40B4-BE49-F238E27FC236}">
                <a16:creationId xmlns:a16="http://schemas.microsoft.com/office/drawing/2014/main" id="{6F215E36-FC59-7337-FE9D-F98A02F982C1}"/>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2CFE6645-8B56-AD17-3A23-7C4E54A1DE1B}"/>
              </a:ext>
            </a:extLst>
          </p:cNvPr>
          <p:cNvSpPr>
            <a:spLocks noGrp="1"/>
          </p:cNvSpPr>
          <p:nvPr>
            <p:ph type="sldNum" sz="quarter" idx="5"/>
          </p:nvPr>
        </p:nvSpPr>
        <p:spPr/>
        <p:txBody>
          <a:bodyPr/>
          <a:lstStyle/>
          <a:p>
            <a:fld id="{D8C35494-8CBF-4C09-A4C0-5BE8C0257DEC}" type="slidenum">
              <a:rPr lang="en-US" smtClean="0"/>
              <a:t>36</a:t>
            </a:fld>
            <a:endParaRPr lang="en-US"/>
          </a:p>
        </p:txBody>
      </p:sp>
    </p:spTree>
    <p:extLst>
      <p:ext uri="{BB962C8B-B14F-4D97-AF65-F5344CB8AC3E}">
        <p14:creationId xmlns:p14="http://schemas.microsoft.com/office/powerpoint/2010/main" val="2954432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7</a:t>
            </a:fld>
            <a:endParaRPr lang="en-US"/>
          </a:p>
        </p:txBody>
      </p:sp>
    </p:spTree>
    <p:extLst>
      <p:ext uri="{BB962C8B-B14F-4D97-AF65-F5344CB8AC3E}">
        <p14:creationId xmlns:p14="http://schemas.microsoft.com/office/powerpoint/2010/main" val="3044446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8</a:t>
            </a:fld>
            <a:endParaRPr lang="en-US"/>
          </a:p>
        </p:txBody>
      </p:sp>
    </p:spTree>
    <p:extLst>
      <p:ext uri="{BB962C8B-B14F-4D97-AF65-F5344CB8AC3E}">
        <p14:creationId xmlns:p14="http://schemas.microsoft.com/office/powerpoint/2010/main" val="2362218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C35494-8CBF-4C09-A4C0-5BE8C0257DEC}" type="slidenum">
              <a:rPr lang="en-US" smtClean="0"/>
              <a:t>9</a:t>
            </a:fld>
            <a:endParaRPr lang="en-US"/>
          </a:p>
        </p:txBody>
      </p:sp>
    </p:spTree>
    <p:extLst>
      <p:ext uri="{BB962C8B-B14F-4D97-AF65-F5344CB8AC3E}">
        <p14:creationId xmlns:p14="http://schemas.microsoft.com/office/powerpoint/2010/main" val="24896072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14</a:t>
            </a:fld>
            <a:endParaRPr lang="en-US"/>
          </a:p>
        </p:txBody>
      </p:sp>
    </p:spTree>
    <p:extLst>
      <p:ext uri="{BB962C8B-B14F-4D97-AF65-F5344CB8AC3E}">
        <p14:creationId xmlns:p14="http://schemas.microsoft.com/office/powerpoint/2010/main" val="700140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C35494-8CBF-4C09-A4C0-5BE8C0257DEC}" type="slidenum">
              <a:rPr lang="en-US" smtClean="0"/>
              <a:t>17</a:t>
            </a:fld>
            <a:endParaRPr lang="en-US"/>
          </a:p>
        </p:txBody>
      </p:sp>
    </p:spTree>
    <p:extLst>
      <p:ext uri="{BB962C8B-B14F-4D97-AF65-F5344CB8AC3E}">
        <p14:creationId xmlns:p14="http://schemas.microsoft.com/office/powerpoint/2010/main" val="3155638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20</a:t>
            </a:fld>
            <a:endParaRPr lang="en-US"/>
          </a:p>
        </p:txBody>
      </p:sp>
    </p:spTree>
    <p:extLst>
      <p:ext uri="{BB962C8B-B14F-4D97-AF65-F5344CB8AC3E}">
        <p14:creationId xmlns:p14="http://schemas.microsoft.com/office/powerpoint/2010/main" val="1324387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23</a:t>
            </a:fld>
            <a:endParaRPr lang="en-US"/>
          </a:p>
        </p:txBody>
      </p:sp>
    </p:spTree>
    <p:extLst>
      <p:ext uri="{BB962C8B-B14F-4D97-AF65-F5344CB8AC3E}">
        <p14:creationId xmlns:p14="http://schemas.microsoft.com/office/powerpoint/2010/main" val="1823179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35</a:t>
            </a:fld>
            <a:endParaRPr lang="en-US"/>
          </a:p>
        </p:txBody>
      </p:sp>
    </p:spTree>
    <p:extLst>
      <p:ext uri="{BB962C8B-B14F-4D97-AF65-F5344CB8AC3E}">
        <p14:creationId xmlns:p14="http://schemas.microsoft.com/office/powerpoint/2010/main" val="26479002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vestment Banking Cover Page">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DA2F2BE8-A8DD-EC8A-879E-7F4E6438BE78}"/>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1800"/>
          </a:p>
        </p:txBody>
      </p:sp>
      <p:sp>
        <p:nvSpPr>
          <p:cNvPr id="17" name="Title 1">
            <a:extLst>
              <a:ext uri="{FF2B5EF4-FFF2-40B4-BE49-F238E27FC236}">
                <a16:creationId xmlns:a16="http://schemas.microsoft.com/office/drawing/2014/main" id="{E128FFEA-E880-6CA2-1D4D-C144855AFD10}"/>
              </a:ext>
            </a:extLst>
          </p:cNvPr>
          <p:cNvSpPr>
            <a:spLocks noGrp="1"/>
          </p:cNvSpPr>
          <p:nvPr>
            <p:ph type="title" hasCustomPrompt="1"/>
          </p:nvPr>
        </p:nvSpPr>
        <p:spPr>
          <a:xfrm>
            <a:off x="250826" y="2972474"/>
            <a:ext cx="8636493" cy="361950"/>
          </a:xfrm>
        </p:spPr>
        <p:txBody>
          <a:bodyPr wrap="none" tIns="0" bIns="0" anchor="ctr">
            <a:noAutofit/>
          </a:bodyPr>
          <a:lstStyle>
            <a:lvl1pPr>
              <a:defRPr sz="2000" b="1">
                <a:latin typeface="+mj-lt"/>
                <a:cs typeface="Goldman Sans Bold" panose="020B0803020203020204" pitchFamily="34" charset="0"/>
              </a:defRPr>
            </a:lvl1pPr>
          </a:lstStyle>
          <a:p>
            <a:r>
              <a:rPr lang="en-US"/>
              <a:t>Presentation Title</a:t>
            </a:r>
          </a:p>
        </p:txBody>
      </p:sp>
      <p:cxnSp>
        <p:nvCxnSpPr>
          <p:cNvPr id="19" name="Straight Connector 18">
            <a:extLst>
              <a:ext uri="{FF2B5EF4-FFF2-40B4-BE49-F238E27FC236}">
                <a16:creationId xmlns:a16="http://schemas.microsoft.com/office/drawing/2014/main" id="{C8F22DAC-C43E-9639-88D1-72B260FEE987}"/>
              </a:ext>
            </a:extLst>
          </p:cNvPr>
          <p:cNvCxnSpPr>
            <a:cxnSpLocks/>
          </p:cNvCxnSpPr>
          <p:nvPr userDrawn="1"/>
        </p:nvCxnSpPr>
        <p:spPr>
          <a:xfrm>
            <a:off x="241558" y="3417683"/>
            <a:ext cx="866737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 Placeholder 28">
            <a:extLst>
              <a:ext uri="{FF2B5EF4-FFF2-40B4-BE49-F238E27FC236}">
                <a16:creationId xmlns:a16="http://schemas.microsoft.com/office/drawing/2014/main" id="{48DC0D97-29FD-3A24-BFCD-345CF4D822EF}"/>
              </a:ext>
            </a:extLst>
          </p:cNvPr>
          <p:cNvSpPr>
            <a:spLocks noGrp="1"/>
          </p:cNvSpPr>
          <p:nvPr>
            <p:ph type="body" sz="quarter" idx="18" hasCustomPrompt="1"/>
          </p:nvPr>
        </p:nvSpPr>
        <p:spPr>
          <a:xfrm>
            <a:off x="272639" y="3519256"/>
            <a:ext cx="8620536" cy="210807"/>
          </a:xfrm>
        </p:spPr>
        <p:txBody>
          <a:bodyPr wrap="none" tIns="0" bIns="0" anchor="ctr">
            <a:noAutofit/>
          </a:bodyPr>
          <a:lstStyle>
            <a:lvl1pPr marL="0" indent="0">
              <a:lnSpc>
                <a:spcPct val="100000"/>
              </a:lnSpc>
              <a:spcBef>
                <a:spcPts val="0"/>
              </a:spcBef>
              <a:buNone/>
              <a:defRPr sz="1400">
                <a:solidFill>
                  <a:schemeClr val="accent1"/>
                </a:solidFill>
                <a:latin typeface="+mj-lt"/>
                <a:cs typeface="Goldman Sans Light" panose="020B0503020203020204" pitchFamily="34" charset="0"/>
              </a:defRPr>
            </a:lvl1pPr>
          </a:lstStyle>
          <a:p>
            <a:pPr lvl="0"/>
            <a:r>
              <a:rPr lang="en-US"/>
              <a:t>Presentation Subtitle</a:t>
            </a:r>
          </a:p>
        </p:txBody>
      </p:sp>
      <p:sp>
        <p:nvSpPr>
          <p:cNvPr id="11" name="Text Placeholder 28">
            <a:extLst>
              <a:ext uri="{FF2B5EF4-FFF2-40B4-BE49-F238E27FC236}">
                <a16:creationId xmlns:a16="http://schemas.microsoft.com/office/drawing/2014/main" id="{F3EBCBE6-3575-60CC-D32D-EE5C9D4AED9C}"/>
              </a:ext>
            </a:extLst>
          </p:cNvPr>
          <p:cNvSpPr>
            <a:spLocks noGrp="1"/>
          </p:cNvSpPr>
          <p:nvPr>
            <p:ph type="body" sz="quarter" idx="19" hasCustomPrompt="1"/>
          </p:nvPr>
        </p:nvSpPr>
        <p:spPr>
          <a:xfrm>
            <a:off x="241558" y="6458285"/>
            <a:ext cx="8645760" cy="210807"/>
          </a:xfrm>
        </p:spPr>
        <p:txBody>
          <a:bodyPr wrap="none" tIns="0" bIns="0" anchor="ctr">
            <a:noAutofit/>
          </a:bodyPr>
          <a:lstStyle>
            <a:lvl1pPr marL="0" indent="0" algn="l">
              <a:lnSpc>
                <a:spcPct val="100000"/>
              </a:lnSpc>
              <a:spcBef>
                <a:spcPts val="0"/>
              </a:spcBef>
              <a:buNone/>
              <a:defRPr sz="900">
                <a:solidFill>
                  <a:schemeClr val="tx1"/>
                </a:solidFill>
                <a:latin typeface="+mj-lt"/>
                <a:cs typeface="Goldman Sans Light" panose="020B0503020203020204" pitchFamily="34" charset="0"/>
              </a:defRPr>
            </a:lvl1pPr>
          </a:lstStyle>
          <a:p>
            <a:pPr lvl="0"/>
            <a:r>
              <a:rPr lang="en-US"/>
              <a:t>Date</a:t>
            </a:r>
          </a:p>
        </p:txBody>
      </p:sp>
    </p:spTree>
    <p:extLst>
      <p:ext uri="{BB962C8B-B14F-4D97-AF65-F5344CB8AC3E}">
        <p14:creationId xmlns:p14="http://schemas.microsoft.com/office/powerpoint/2010/main" val="3037225722"/>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D069852B-003E-55BC-03D8-F3F43C3D0491}"/>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1800"/>
          </a:p>
        </p:txBody>
      </p:sp>
      <p:sp>
        <p:nvSpPr>
          <p:cNvPr id="12" name="TextBox 11">
            <a:extLst>
              <a:ext uri="{FF2B5EF4-FFF2-40B4-BE49-F238E27FC236}">
                <a16:creationId xmlns:a16="http://schemas.microsoft.com/office/drawing/2014/main" id="{467895AD-2AD3-FE56-CF82-05C0911CE28C}"/>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sp>
        <p:nvSpPr>
          <p:cNvPr id="13" name="TextBox 12">
            <a:extLst>
              <a:ext uri="{FF2B5EF4-FFF2-40B4-BE49-F238E27FC236}">
                <a16:creationId xmlns:a16="http://schemas.microsoft.com/office/drawing/2014/main" id="{4BCCB196-B957-33FA-EF59-C1647D90B6D1}"/>
              </a:ext>
            </a:extLst>
          </p:cNvPr>
          <p:cNvSpPr txBox="1"/>
          <p:nvPr userDrawn="1"/>
        </p:nvSpPr>
        <p:spPr>
          <a:xfrm>
            <a:off x="250827" y="1016001"/>
            <a:ext cx="8642350" cy="1754326"/>
          </a:xfrm>
          <a:prstGeom prst="rect">
            <a:avLst/>
          </a:prstGeom>
          <a:noFill/>
        </p:spPr>
        <p:txBody>
          <a:bodyPr wrap="square" rtlCol="0">
            <a:spAutoFit/>
          </a:bodyPr>
          <a:lstStyle/>
          <a:p>
            <a:r>
              <a:rPr lang="en-US" sz="1200"/>
              <a:t>The information in this document is for educational and non-commercial use only and is not intended to constitute specific legal, accounting, financial or tax advice for any individual. In no event will </a:t>
            </a:r>
            <a:r>
              <a:rPr lang="en-US" sz="1200" err="1"/>
              <a:t>TFSIG</a:t>
            </a:r>
            <a:r>
              <a:rPr lang="en-US" sz="1200"/>
              <a:t>, Telfer School of Management, University of Ottawa, its members, executives, or directors be liable to you or anyone else for any loss or damages whatsoever (including direct, indirect, special, incidental, consequential, exemplary or punitive damages) resulting from the use of this document, or reliance on the information or content found within this document. The information may not be reproduced or republished in any part without the prior written consent of </a:t>
            </a:r>
            <a:r>
              <a:rPr lang="en-US" sz="1200" err="1"/>
              <a:t>TFSIG</a:t>
            </a:r>
            <a:r>
              <a:rPr lang="en-US" sz="1200"/>
              <a:t>. </a:t>
            </a:r>
            <a:r>
              <a:rPr lang="en-US" sz="1200" err="1"/>
              <a:t>TFSIG</a:t>
            </a:r>
            <a:r>
              <a:rPr lang="en-US" sz="1200"/>
              <a:t> is not in the business of advising or holding themselves out as being in the business of advising. Many factors may affect the applicability of any statement or comment that appear in our documents to an individual's particular circumstances.</a:t>
            </a:r>
          </a:p>
          <a:p>
            <a:endParaRPr lang="en-CA" sz="1200"/>
          </a:p>
        </p:txBody>
      </p:sp>
      <p:cxnSp>
        <p:nvCxnSpPr>
          <p:cNvPr id="15" name="Straight Connector 14">
            <a:extLst>
              <a:ext uri="{FF2B5EF4-FFF2-40B4-BE49-F238E27FC236}">
                <a16:creationId xmlns:a16="http://schemas.microsoft.com/office/drawing/2014/main" id="{89E04521-DA73-1042-29C4-266454E72D46}"/>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Text Placeholder 6">
            <a:extLst>
              <a:ext uri="{FF2B5EF4-FFF2-40B4-BE49-F238E27FC236}">
                <a16:creationId xmlns:a16="http://schemas.microsoft.com/office/drawing/2014/main" id="{838F4171-7986-0ED2-E01A-B86AEFA95479}"/>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5" name="TextBox 4">
            <a:extLst>
              <a:ext uri="{FF2B5EF4-FFF2-40B4-BE49-F238E27FC236}">
                <a16:creationId xmlns:a16="http://schemas.microsoft.com/office/drawing/2014/main" id="{B3473FED-4DD3-68EA-9437-3172271BCBA1}"/>
              </a:ext>
            </a:extLst>
          </p:cNvPr>
          <p:cNvSpPr txBox="1"/>
          <p:nvPr userDrawn="1"/>
        </p:nvSpPr>
        <p:spPr>
          <a:xfrm>
            <a:off x="250826" y="188916"/>
            <a:ext cx="6625463" cy="400110"/>
          </a:xfrm>
          <a:prstGeom prst="rect">
            <a:avLst/>
          </a:prstGeom>
          <a:noFill/>
        </p:spPr>
        <p:txBody>
          <a:bodyPr wrap="square" rtlCol="0">
            <a:spAutoFit/>
          </a:bodyPr>
          <a:lstStyle/>
          <a:p>
            <a:r>
              <a:rPr lang="en-US" sz="2000" b="1">
                <a:solidFill>
                  <a:schemeClr val="tx2"/>
                </a:solidFill>
              </a:rPr>
              <a:t>Disclaimer</a:t>
            </a:r>
            <a:endParaRPr lang="en-CA" sz="2000" b="1">
              <a:solidFill>
                <a:schemeClr val="tx2"/>
              </a:solidFill>
            </a:endParaRPr>
          </a:p>
        </p:txBody>
      </p:sp>
      <p:cxnSp>
        <p:nvCxnSpPr>
          <p:cNvPr id="8" name="Straight Connector 7">
            <a:extLst>
              <a:ext uri="{FF2B5EF4-FFF2-40B4-BE49-F238E27FC236}">
                <a16:creationId xmlns:a16="http://schemas.microsoft.com/office/drawing/2014/main" id="{B3C4F6F5-B661-4019-7DC1-5A080D2AA146}"/>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 Placeholder 28">
            <a:extLst>
              <a:ext uri="{FF2B5EF4-FFF2-40B4-BE49-F238E27FC236}">
                <a16:creationId xmlns:a16="http://schemas.microsoft.com/office/drawing/2014/main" id="{FE027340-F06C-E4D0-1B3D-E07D7069C331}"/>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spTree>
    <p:extLst>
      <p:ext uri="{BB962C8B-B14F-4D97-AF65-F5344CB8AC3E}">
        <p14:creationId xmlns:p14="http://schemas.microsoft.com/office/powerpoint/2010/main" val="297341965"/>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3039" userDrawn="1">
          <p15:clr>
            <a:srgbClr val="F26B43"/>
          </p15:clr>
        </p15:guide>
        <p15:guide id="11" pos="2721" userDrawn="1">
          <p15:clr>
            <a:srgbClr val="F26B43"/>
          </p15:clr>
        </p15:guide>
        <p15:guide id="13" orient="horz" pos="390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DAC5D467-F9B1-B8A6-1656-91CE5E4FC522}"/>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5" name="TextBox 24">
            <a:extLst>
              <a:ext uri="{FF2B5EF4-FFF2-40B4-BE49-F238E27FC236}">
                <a16:creationId xmlns:a16="http://schemas.microsoft.com/office/drawing/2014/main" id="{87310EE2-4426-439C-A334-777263E6AE33}"/>
              </a:ext>
            </a:extLst>
          </p:cNvPr>
          <p:cNvSpPr txBox="1"/>
          <p:nvPr userDrawn="1"/>
        </p:nvSpPr>
        <p:spPr>
          <a:xfrm>
            <a:off x="0" y="0"/>
            <a:ext cx="9144000" cy="6858000"/>
          </a:xfrm>
          <a:prstGeom prst="rect">
            <a:avLst/>
          </a:prstGeom>
          <a:solidFill>
            <a:schemeClr val="tx2"/>
          </a:solidFill>
        </p:spPr>
        <p:txBody>
          <a:bodyPr wrap="square" rtlCol="0" anchor="ctr">
            <a:noAutofit/>
          </a:bodyPr>
          <a:lstStyle/>
          <a:p>
            <a:pPr algn="ctr"/>
            <a:r>
              <a:rPr lang="en-US" sz="2400">
                <a:solidFill>
                  <a:schemeClr val="bg1"/>
                </a:solidFill>
                <a:latin typeface="Cambria" panose="02040503050406030204" pitchFamily="18" charset="0"/>
                <a:ea typeface="Cambria" panose="02040503050406030204" pitchFamily="18" charset="0"/>
              </a:rPr>
              <a:t>TFS Investment Group</a:t>
            </a:r>
          </a:p>
        </p:txBody>
      </p:sp>
      <p:graphicFrame>
        <p:nvGraphicFramePr>
          <p:cNvPr id="45" name="Table 5">
            <a:extLst>
              <a:ext uri="{FF2B5EF4-FFF2-40B4-BE49-F238E27FC236}">
                <a16:creationId xmlns:a16="http://schemas.microsoft.com/office/drawing/2014/main" id="{99583612-6F77-4F85-8DB1-FCDF56831F89}"/>
              </a:ext>
            </a:extLst>
          </p:cNvPr>
          <p:cNvGraphicFramePr>
            <a:graphicFrameLocks noGrp="1"/>
          </p:cNvGraphicFramePr>
          <p:nvPr userDrawn="1">
            <p:extLst>
              <p:ext uri="{D42A27DB-BD31-4B8C-83A1-F6EECF244321}">
                <p14:modId xmlns:p14="http://schemas.microsoft.com/office/powerpoint/2010/main" val="84745475"/>
              </p:ext>
            </p:extLst>
          </p:nvPr>
        </p:nvGraphicFramePr>
        <p:xfrm>
          <a:off x="14990432" y="1410888"/>
          <a:ext cx="2449845" cy="289560"/>
        </p:xfrm>
        <a:graphic>
          <a:graphicData uri="http://schemas.openxmlformats.org/drawingml/2006/table">
            <a:tbl>
              <a:tblPr firstRow="1" bandRow="1">
                <a:tableStyleId>{5C22544A-7EE6-4342-B048-85BDC9FD1C3A}</a:tableStyleId>
              </a:tblPr>
              <a:tblGrid>
                <a:gridCol w="2449845">
                  <a:extLst>
                    <a:ext uri="{9D8B030D-6E8A-4147-A177-3AD203B41FA5}">
                      <a16:colId xmlns:a16="http://schemas.microsoft.com/office/drawing/2014/main" val="2780553580"/>
                    </a:ext>
                  </a:extLst>
                </a:gridCol>
              </a:tblGrid>
              <a:tr h="192951">
                <a:tc>
                  <a:txBody>
                    <a:bodyPr/>
                    <a:lstStyle/>
                    <a:p>
                      <a:pPr algn="ctr"/>
                      <a:r>
                        <a:rPr lang="en-US" sz="1300" b="0">
                          <a:solidFill>
                            <a:schemeClr val="accent1"/>
                          </a:solidFill>
                          <a:latin typeface="Goldman Sans Bold" panose="020B0803020203020204" pitchFamily="34" charset="0"/>
                          <a:cs typeface="Goldman Sans Bold" panose="020B0803020203020204" pitchFamily="34" charset="0"/>
                        </a:rPr>
                        <a:t>Copy from slide master</a:t>
                      </a:r>
                    </a:p>
                  </a:txBody>
                  <a:tcPr anchor="ctr">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887304422"/>
                  </a:ext>
                </a:extLst>
              </a:tr>
            </a:tbl>
          </a:graphicData>
        </a:graphic>
      </p:graphicFrame>
    </p:spTree>
    <p:extLst>
      <p:ext uri="{BB962C8B-B14F-4D97-AF65-F5344CB8AC3E}">
        <p14:creationId xmlns:p14="http://schemas.microsoft.com/office/powerpoint/2010/main" val="501812895"/>
      </p:ext>
    </p:extLst>
  </p:cSld>
  <p:clrMapOvr>
    <a:masterClrMapping/>
  </p:clrMapOvr>
  <p:extLst>
    <p:ext uri="{DCECCB84-F9BA-43D5-87BE-67443E8EF086}">
      <p15:sldGuideLst xmlns:p15="http://schemas.microsoft.com/office/powerpoint/2012/main">
        <p15:guide id="2" pos="5420" userDrawn="1">
          <p15:clr>
            <a:srgbClr val="F26B43"/>
          </p15:clr>
        </p15:guide>
        <p15:guide id="3" orient="horz" pos="346" userDrawn="1">
          <p15:clr>
            <a:srgbClr val="A4A3A4"/>
          </p15:clr>
        </p15:guide>
        <p15:guide id="4" orient="horz" pos="3974" userDrawn="1">
          <p15:clr>
            <a:srgbClr val="A4A3A4"/>
          </p15:clr>
        </p15:guide>
        <p15:guide id="5" pos="340" userDrawn="1">
          <p15:clr>
            <a:srgbClr val="F26B43"/>
          </p15:clr>
        </p15:guide>
        <p15:guide id="6" orient="horz" pos="799" userDrawn="1">
          <p15:clr>
            <a:srgbClr val="A4A3A4"/>
          </p15:clr>
        </p15:guide>
        <p15:guide id="8" orient="horz" pos="4269" userDrawn="1">
          <p15:clr>
            <a:srgbClr val="A4A3A4"/>
          </p15:clr>
        </p15:guide>
        <p15:guide id="9" orient="horz" pos="51" userDrawn="1">
          <p15:clr>
            <a:srgbClr val="A4A3A4"/>
          </p15:clr>
        </p15:guide>
        <p15:guide id="12" orient="horz" pos="845" userDrawn="1">
          <p15:clr>
            <a:srgbClr val="A4A3A4"/>
          </p15:clr>
        </p15:guide>
        <p15:guide id="13" orient="horz" pos="3929" userDrawn="1">
          <p15:clr>
            <a:srgbClr val="F26B43"/>
          </p15:clr>
        </p15:guide>
        <p15:guide id="15" orient="horz" pos="890" userDrawn="1">
          <p15:clr>
            <a:srgbClr val="547EBF"/>
          </p15:clr>
        </p15:guide>
        <p15:guide id="16" orient="horz" pos="1071"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remade 4x4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1000" smtClean="0">
                <a:latin typeface="+mj-lt"/>
                <a:cs typeface="Goldman Sans Regular" panose="020B0603020203020204" pitchFamily="34" charset="0"/>
              </a:rPr>
              <a:pPr algn="r"/>
              <a:t>‹#›</a:t>
            </a:fld>
            <a:endParaRPr lang="en-US" sz="12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800">
                <a:solidFill>
                  <a:schemeClr val="tx1"/>
                </a:solidFill>
                <a:latin typeface="+mj-lt"/>
                <a:cs typeface="Goldman Sans Light" panose="020B0503020203020204" pitchFamily="34" charset="0"/>
              </a:defRPr>
            </a:lvl1pPr>
          </a:lstStyle>
          <a:p>
            <a:pPr lvl="0"/>
            <a:r>
              <a:rPr lang="en-US"/>
              <a:t>Notes</a:t>
            </a:r>
          </a:p>
        </p:txBody>
      </p:sp>
      <p:sp>
        <p:nvSpPr>
          <p:cNvPr id="5" name="Content Placeholder 4">
            <a:extLst>
              <a:ext uri="{FF2B5EF4-FFF2-40B4-BE49-F238E27FC236}">
                <a16:creationId xmlns:a16="http://schemas.microsoft.com/office/drawing/2014/main" id="{7DEB5B7A-13BD-212F-FFD4-EC200A49DEC6}"/>
              </a:ext>
            </a:extLst>
          </p:cNvPr>
          <p:cNvSpPr>
            <a:spLocks noGrp="1"/>
          </p:cNvSpPr>
          <p:nvPr>
            <p:ph sz="quarter" idx="14"/>
          </p:nvPr>
        </p:nvSpPr>
        <p:spPr>
          <a:xfrm>
            <a:off x="256376" y="1304925"/>
            <a:ext cx="4136239" cy="233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Content Placeholder 4">
            <a:extLst>
              <a:ext uri="{FF2B5EF4-FFF2-40B4-BE49-F238E27FC236}">
                <a16:creationId xmlns:a16="http://schemas.microsoft.com/office/drawing/2014/main" id="{7DF97499-BAFB-917C-DF1C-A1E6EF6DE479}"/>
              </a:ext>
            </a:extLst>
          </p:cNvPr>
          <p:cNvSpPr>
            <a:spLocks noGrp="1"/>
          </p:cNvSpPr>
          <p:nvPr>
            <p:ph sz="quarter" idx="15"/>
          </p:nvPr>
        </p:nvSpPr>
        <p:spPr>
          <a:xfrm>
            <a:off x="250825" y="3937710"/>
            <a:ext cx="4141788" cy="23305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8" name="Content Placeholder 4">
            <a:extLst>
              <a:ext uri="{FF2B5EF4-FFF2-40B4-BE49-F238E27FC236}">
                <a16:creationId xmlns:a16="http://schemas.microsoft.com/office/drawing/2014/main" id="{C83C728E-B25A-339A-42B2-C4C2AC3D951E}"/>
              </a:ext>
            </a:extLst>
          </p:cNvPr>
          <p:cNvSpPr>
            <a:spLocks noGrp="1"/>
          </p:cNvSpPr>
          <p:nvPr>
            <p:ph sz="quarter" idx="19"/>
          </p:nvPr>
        </p:nvSpPr>
        <p:spPr>
          <a:xfrm>
            <a:off x="4756940" y="1304925"/>
            <a:ext cx="4136239" cy="233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9" name="Content Placeholder 4">
            <a:extLst>
              <a:ext uri="{FF2B5EF4-FFF2-40B4-BE49-F238E27FC236}">
                <a16:creationId xmlns:a16="http://schemas.microsoft.com/office/drawing/2014/main" id="{097C61F1-C8E7-C202-B14D-863127528D1B}"/>
              </a:ext>
            </a:extLst>
          </p:cNvPr>
          <p:cNvSpPr>
            <a:spLocks noGrp="1"/>
          </p:cNvSpPr>
          <p:nvPr>
            <p:ph sz="quarter" idx="20"/>
          </p:nvPr>
        </p:nvSpPr>
        <p:spPr>
          <a:xfrm>
            <a:off x="4751389" y="3937710"/>
            <a:ext cx="4141788" cy="23305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8" name="TextBox 7">
            <a:extLst>
              <a:ext uri="{FF2B5EF4-FFF2-40B4-BE49-F238E27FC236}">
                <a16:creationId xmlns:a16="http://schemas.microsoft.com/office/drawing/2014/main" id="{730785BF-9B65-0E52-6395-E8D39EDCE36A}"/>
              </a:ext>
            </a:extLst>
          </p:cNvPr>
          <p:cNvSpPr txBox="1"/>
          <p:nvPr userDrawn="1"/>
        </p:nvSpPr>
        <p:spPr>
          <a:xfrm>
            <a:off x="-1795573" y="5846428"/>
            <a:ext cx="1538175" cy="739177"/>
          </a:xfrm>
          <a:prstGeom prst="rect">
            <a:avLst/>
          </a:prstGeom>
          <a:noFill/>
        </p:spPr>
        <p:txBody>
          <a:bodyPr wrap="square" rtlCol="0">
            <a:spAutoFit/>
          </a:bodyPr>
          <a:lstStyle/>
          <a:p>
            <a:r>
              <a:rPr lang="en-US" sz="1051" i="1">
                <a:solidFill>
                  <a:schemeClr val="tx1"/>
                </a:solidFill>
              </a:rPr>
              <a:t>To get the content headers, go to Slide Master and copy paste them into your deck</a:t>
            </a:r>
            <a:endParaRPr lang="en-CA" sz="1051" i="1">
              <a:solidFill>
                <a:schemeClr val="tx1"/>
              </a:solidFill>
            </a:endParaRPr>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445143"/>
      </p:ext>
    </p:extLst>
  </p:cSld>
  <p:clrMapOvr>
    <a:masterClrMapping/>
  </p:clrMapOvr>
  <p:hf sldNum="0" hdr="0" ftr="0" dt="0"/>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4" orient="horz" pos="640" userDrawn="1">
          <p15:clr>
            <a:srgbClr val="FBAE40"/>
          </p15:clr>
        </p15:guide>
        <p15:guide id="17" orient="horz" pos="3974" userDrawn="1">
          <p15:clr>
            <a:srgbClr val="F26B43"/>
          </p15:clr>
        </p15:guide>
        <p15:guide id="18" orient="horz" pos="2296" userDrawn="1">
          <p15:clr>
            <a:srgbClr val="FBAE40"/>
          </p15:clr>
        </p15:guide>
        <p15:guide id="19" orient="horz" pos="2478" userDrawn="1">
          <p15:clr>
            <a:srgbClr val="FBAE40"/>
          </p15:clr>
        </p15:guide>
        <p15:guide id="22" orient="horz" pos="822" userDrawn="1">
          <p15:clr>
            <a:srgbClr val="FBAE40"/>
          </p15:clr>
        </p15:guide>
        <p15:guide id="23" orient="horz" pos="368" userDrawn="1">
          <p15:clr>
            <a:srgbClr val="FBAE40"/>
          </p15:clr>
        </p15:guide>
        <p15:guide id="24" orient="horz" pos="395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x2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4" y="1384299"/>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6" y="1016000"/>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6" y="3646218"/>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6" y="3935143"/>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4" y="4015454"/>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220227407"/>
      </p:ext>
    </p:extLst>
  </p:cSld>
  <p:clrMapOvr>
    <a:masterClrMapping/>
  </p:clrMapOvr>
  <p:extLst>
    <p:ext uri="{DCECCB84-F9BA-43D5-87BE-67443E8EF086}">
      <p15:sldGuideLst xmlns:p15="http://schemas.microsoft.com/office/powerpoint/2012/main">
        <p15:guide id="2" pos="5602">
          <p15:clr>
            <a:srgbClr val="F26B43"/>
          </p15:clr>
        </p15:guide>
        <p15:guide id="5" pos="158">
          <p15:clr>
            <a:srgbClr val="F26B43"/>
          </p15:clr>
        </p15:guide>
        <p15:guide id="8" orient="horz" pos="4201">
          <p15:clr>
            <a:srgbClr val="A4A3A4"/>
          </p15:clr>
        </p15:guide>
        <p15:guide id="9" orient="horz" pos="119">
          <p15:clr>
            <a:srgbClr val="A4A3A4"/>
          </p15:clr>
        </p15:guide>
        <p15:guide id="18" orient="horz" pos="2251">
          <p15:clr>
            <a:srgbClr val="FBAE40"/>
          </p15:clr>
        </p15:guide>
        <p15:guide id="19" orient="horz" pos="2523">
          <p15:clr>
            <a:srgbClr val="FBAE40"/>
          </p15:clr>
        </p15:guide>
        <p15:guide id="22" orient="horz" pos="867">
          <p15:clr>
            <a:srgbClr val="FBAE40"/>
          </p15:clr>
        </p15:guide>
        <p15:guide id="24" orient="horz" pos="390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x1 Content Slide (Horizontal)">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2F0C72E4-9B8F-FB88-6B6D-2BC8614841B7}"/>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1800"/>
          </a:p>
        </p:txBody>
      </p:sp>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6" y="1384303"/>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8" y="1016004"/>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8" y="3646218"/>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8" y="3935143"/>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6" y="4015458"/>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16031984"/>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8" orient="horz" pos="2251" userDrawn="1">
          <p15:clr>
            <a:srgbClr val="FBAE40"/>
          </p15:clr>
        </p15:guide>
        <p15:guide id="19" orient="horz" pos="2523" userDrawn="1">
          <p15:clr>
            <a:srgbClr val="FBAE40"/>
          </p15:clr>
        </p15:guide>
        <p15:guide id="22" orient="horz" pos="867" userDrawn="1">
          <p15:clr>
            <a:srgbClr val="FBAE40"/>
          </p15:clr>
        </p15:guide>
        <p15:guide id="24" orient="horz" pos="3906"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x2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6" y="1384303"/>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8" y="1016004"/>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8"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5" y="401545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5" name="Content Placeholder 4">
            <a:extLst>
              <a:ext uri="{FF2B5EF4-FFF2-40B4-BE49-F238E27FC236}">
                <a16:creationId xmlns:a16="http://schemas.microsoft.com/office/drawing/2014/main" id="{67473D30-D304-DC63-643D-824F5B4A2F77}"/>
              </a:ext>
            </a:extLst>
          </p:cNvPr>
          <p:cNvSpPr>
            <a:spLocks noGrp="1"/>
          </p:cNvSpPr>
          <p:nvPr>
            <p:ph sz="quarter" idx="30"/>
          </p:nvPr>
        </p:nvSpPr>
        <p:spPr>
          <a:xfrm>
            <a:off x="4751388" y="401545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7" name="Google Shape;53;p21">
            <a:extLst>
              <a:ext uri="{FF2B5EF4-FFF2-40B4-BE49-F238E27FC236}">
                <a16:creationId xmlns:a16="http://schemas.microsoft.com/office/drawing/2014/main" id="{16066008-2BE6-0C46-C911-28D9B559BC17}"/>
              </a:ext>
            </a:extLst>
          </p:cNvPr>
          <p:cNvSpPr txBox="1">
            <a:spLocks noGrp="1"/>
          </p:cNvSpPr>
          <p:nvPr>
            <p:ph type="body" idx="31"/>
          </p:nvPr>
        </p:nvSpPr>
        <p:spPr>
          <a:xfrm>
            <a:off x="4751391"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8" name="Straight Connector 27">
            <a:extLst>
              <a:ext uri="{FF2B5EF4-FFF2-40B4-BE49-F238E27FC236}">
                <a16:creationId xmlns:a16="http://schemas.microsoft.com/office/drawing/2014/main" id="{F1F99845-067D-05A9-24EA-9D86C4AD5958}"/>
              </a:ext>
            </a:extLst>
          </p:cNvPr>
          <p:cNvCxnSpPr>
            <a:cxnSpLocks/>
          </p:cNvCxnSpPr>
          <p:nvPr userDrawn="1"/>
        </p:nvCxnSpPr>
        <p:spPr>
          <a:xfrm>
            <a:off x="4751390"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220734"/>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9" orient="horz" pos="2523" userDrawn="1">
          <p15:clr>
            <a:srgbClr val="FBAE40"/>
          </p15:clr>
        </p15:guide>
        <p15:guide id="22" orient="horz" pos="867" userDrawn="1">
          <p15:clr>
            <a:srgbClr val="FBAE40"/>
          </p15:clr>
        </p15:guide>
        <p15:guide id="24" orient="horz" pos="3906" userDrawn="1">
          <p15:clr>
            <a:srgbClr val="FBAE40"/>
          </p15:clr>
        </p15:guide>
        <p15:guide id="25" orient="horz" pos="225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B0D8F680-D668-FDDB-885B-04C30660AB77}"/>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5" name="Text Placeholder 6">
            <a:extLst>
              <a:ext uri="{FF2B5EF4-FFF2-40B4-BE49-F238E27FC236}">
                <a16:creationId xmlns:a16="http://schemas.microsoft.com/office/drawing/2014/main" id="{955D981C-AB7B-3A72-2B31-CB9CAACFCA25}"/>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able Placeholder 3">
            <a:extLst>
              <a:ext uri="{FF2B5EF4-FFF2-40B4-BE49-F238E27FC236}">
                <a16:creationId xmlns:a16="http://schemas.microsoft.com/office/drawing/2014/main" id="{2CC5451C-476F-473A-A288-FD83A2033519}"/>
              </a:ext>
            </a:extLst>
          </p:cNvPr>
          <p:cNvSpPr>
            <a:spLocks noGrp="1"/>
          </p:cNvSpPr>
          <p:nvPr>
            <p:ph type="tbl" sz="quarter" idx="14"/>
          </p:nvPr>
        </p:nvSpPr>
        <p:spPr>
          <a:xfrm>
            <a:off x="250827" y="1006475"/>
            <a:ext cx="8642293" cy="5194298"/>
          </a:xfrm>
        </p:spPr>
        <p:txBody>
          <a:bodyPr/>
          <a:lstStyle>
            <a:lvl1pPr>
              <a:defRPr>
                <a:latin typeface="+mj-lt"/>
              </a:defRPr>
            </a:lvl1pPr>
          </a:lstStyle>
          <a:p>
            <a:endParaRPr lang="en-US"/>
          </a:p>
        </p:txBody>
      </p:sp>
      <p:sp>
        <p:nvSpPr>
          <p:cNvPr id="2" name="Title 1">
            <a:extLst>
              <a:ext uri="{FF2B5EF4-FFF2-40B4-BE49-F238E27FC236}">
                <a16:creationId xmlns:a16="http://schemas.microsoft.com/office/drawing/2014/main" id="{92B416A2-0B1F-F997-F81F-B76F221003E8}"/>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9" name="Text Placeholder 28">
            <a:extLst>
              <a:ext uri="{FF2B5EF4-FFF2-40B4-BE49-F238E27FC236}">
                <a16:creationId xmlns:a16="http://schemas.microsoft.com/office/drawing/2014/main" id="{4DF1139E-20AE-3AFC-B1A0-9EB723844B95}"/>
              </a:ext>
            </a:extLst>
          </p:cNvPr>
          <p:cNvSpPr>
            <a:spLocks noGrp="1"/>
          </p:cNvSpPr>
          <p:nvPr>
            <p:ph type="body" sz="quarter" idx="13" hasCustomPrompt="1"/>
          </p:nvPr>
        </p:nvSpPr>
        <p:spPr>
          <a:xfrm>
            <a:off x="250825" y="6308728"/>
            <a:ext cx="7645400" cy="360359"/>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sp>
        <p:nvSpPr>
          <p:cNvPr id="12" name="TextBox 11">
            <a:extLst>
              <a:ext uri="{FF2B5EF4-FFF2-40B4-BE49-F238E27FC236}">
                <a16:creationId xmlns:a16="http://schemas.microsoft.com/office/drawing/2014/main" id="{467895AD-2AD3-FE56-CF82-05C0911CE28C}"/>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23" name="Straight Connector 22">
            <a:extLst>
              <a:ext uri="{FF2B5EF4-FFF2-40B4-BE49-F238E27FC236}">
                <a16:creationId xmlns:a16="http://schemas.microsoft.com/office/drawing/2014/main" id="{0DD4A9D0-249F-62A1-44CD-E79E08784FD9}"/>
              </a:ext>
            </a:extLst>
          </p:cNvPr>
          <p:cNvCxnSpPr>
            <a:cxnSpLocks/>
          </p:cNvCxnSpPr>
          <p:nvPr userDrawn="1"/>
        </p:nvCxnSpPr>
        <p:spPr>
          <a:xfrm>
            <a:off x="250827" y="584200"/>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3" name="Table 8">
            <a:extLst>
              <a:ext uri="{FF2B5EF4-FFF2-40B4-BE49-F238E27FC236}">
                <a16:creationId xmlns:a16="http://schemas.microsoft.com/office/drawing/2014/main" id="{CF429F5C-D75C-6FD0-12CB-BBD6FFAD0CF5}"/>
              </a:ext>
            </a:extLst>
          </p:cNvPr>
          <p:cNvGraphicFramePr>
            <a:graphicFrameLocks/>
          </p:cNvGraphicFramePr>
          <p:nvPr userDrawn="1"/>
        </p:nvGraphicFramePr>
        <p:xfrm>
          <a:off x="256375" y="-434857"/>
          <a:ext cx="4136238" cy="274320"/>
        </p:xfrm>
        <a:graphic>
          <a:graphicData uri="http://schemas.openxmlformats.org/drawingml/2006/table">
            <a:tbl>
              <a:tblPr firstRow="1" bandRow="1">
                <a:tableStyleId>{5C22544A-7EE6-4342-B048-85BDC9FD1C3A}</a:tableStyleId>
              </a:tblPr>
              <a:tblGrid>
                <a:gridCol w="4136238">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cxnSp>
        <p:nvCxnSpPr>
          <p:cNvPr id="7" name="Straight Connector 6">
            <a:extLst>
              <a:ext uri="{FF2B5EF4-FFF2-40B4-BE49-F238E27FC236}">
                <a16:creationId xmlns:a16="http://schemas.microsoft.com/office/drawing/2014/main" id="{6B8CDC80-B872-625A-1796-62B38E9E4722}"/>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8732608"/>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4" orient="horz" pos="640" userDrawn="1">
          <p15:clr>
            <a:srgbClr val="FBAE40"/>
          </p15:clr>
        </p15:guide>
        <p15:guide id="15" orient="horz" pos="390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vestment Banking Cover Page">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0AE75DD7-12BB-7362-2FF7-56FAB2CA8AB1}"/>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1800"/>
          </a:p>
        </p:txBody>
      </p:sp>
      <p:sp>
        <p:nvSpPr>
          <p:cNvPr id="17" name="Title 1">
            <a:extLst>
              <a:ext uri="{FF2B5EF4-FFF2-40B4-BE49-F238E27FC236}">
                <a16:creationId xmlns:a16="http://schemas.microsoft.com/office/drawing/2014/main" id="{E128FFEA-E880-6CA2-1D4D-C144855AFD10}"/>
              </a:ext>
            </a:extLst>
          </p:cNvPr>
          <p:cNvSpPr>
            <a:spLocks noGrp="1"/>
          </p:cNvSpPr>
          <p:nvPr>
            <p:ph type="title" hasCustomPrompt="1"/>
          </p:nvPr>
        </p:nvSpPr>
        <p:spPr>
          <a:xfrm>
            <a:off x="250826" y="2972474"/>
            <a:ext cx="8636493" cy="361950"/>
          </a:xfrm>
        </p:spPr>
        <p:txBody>
          <a:bodyPr wrap="none" tIns="0" bIns="0" anchor="ctr">
            <a:noAutofit/>
          </a:bodyPr>
          <a:lstStyle>
            <a:lvl1pPr>
              <a:defRPr sz="2000" b="1">
                <a:latin typeface="+mj-lt"/>
                <a:cs typeface="Goldman Sans Bold" panose="020B0803020203020204" pitchFamily="34" charset="0"/>
              </a:defRPr>
            </a:lvl1pPr>
          </a:lstStyle>
          <a:p>
            <a:r>
              <a:rPr lang="en-US"/>
              <a:t>Presentation Title</a:t>
            </a:r>
          </a:p>
        </p:txBody>
      </p:sp>
      <p:cxnSp>
        <p:nvCxnSpPr>
          <p:cNvPr id="19" name="Straight Connector 18">
            <a:extLst>
              <a:ext uri="{FF2B5EF4-FFF2-40B4-BE49-F238E27FC236}">
                <a16:creationId xmlns:a16="http://schemas.microsoft.com/office/drawing/2014/main" id="{C8F22DAC-C43E-9639-88D1-72B260FEE987}"/>
              </a:ext>
            </a:extLst>
          </p:cNvPr>
          <p:cNvCxnSpPr>
            <a:cxnSpLocks/>
          </p:cNvCxnSpPr>
          <p:nvPr userDrawn="1"/>
        </p:nvCxnSpPr>
        <p:spPr>
          <a:xfrm>
            <a:off x="241558" y="3417683"/>
            <a:ext cx="866737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 Placeholder 28">
            <a:extLst>
              <a:ext uri="{FF2B5EF4-FFF2-40B4-BE49-F238E27FC236}">
                <a16:creationId xmlns:a16="http://schemas.microsoft.com/office/drawing/2014/main" id="{48DC0D97-29FD-3A24-BFCD-345CF4D822EF}"/>
              </a:ext>
            </a:extLst>
          </p:cNvPr>
          <p:cNvSpPr>
            <a:spLocks noGrp="1"/>
          </p:cNvSpPr>
          <p:nvPr>
            <p:ph type="body" sz="quarter" idx="18" hasCustomPrompt="1"/>
          </p:nvPr>
        </p:nvSpPr>
        <p:spPr>
          <a:xfrm>
            <a:off x="272639" y="3519256"/>
            <a:ext cx="8620536" cy="210807"/>
          </a:xfrm>
        </p:spPr>
        <p:txBody>
          <a:bodyPr wrap="none" tIns="0" bIns="0" anchor="ctr">
            <a:noAutofit/>
          </a:bodyPr>
          <a:lstStyle>
            <a:lvl1pPr marL="0" indent="0">
              <a:lnSpc>
                <a:spcPct val="100000"/>
              </a:lnSpc>
              <a:spcBef>
                <a:spcPts val="0"/>
              </a:spcBef>
              <a:buNone/>
              <a:defRPr sz="1400">
                <a:solidFill>
                  <a:schemeClr val="accent1"/>
                </a:solidFill>
                <a:latin typeface="+mj-lt"/>
                <a:cs typeface="Goldman Sans Light" panose="020B0503020203020204" pitchFamily="34" charset="0"/>
              </a:defRPr>
            </a:lvl1pPr>
          </a:lstStyle>
          <a:p>
            <a:pPr lvl="0"/>
            <a:r>
              <a:rPr lang="en-US"/>
              <a:t>Presentation Subtitle</a:t>
            </a:r>
          </a:p>
        </p:txBody>
      </p:sp>
      <p:sp>
        <p:nvSpPr>
          <p:cNvPr id="11" name="Text Placeholder 28">
            <a:extLst>
              <a:ext uri="{FF2B5EF4-FFF2-40B4-BE49-F238E27FC236}">
                <a16:creationId xmlns:a16="http://schemas.microsoft.com/office/drawing/2014/main" id="{F3EBCBE6-3575-60CC-D32D-EE5C9D4AED9C}"/>
              </a:ext>
            </a:extLst>
          </p:cNvPr>
          <p:cNvSpPr>
            <a:spLocks noGrp="1"/>
          </p:cNvSpPr>
          <p:nvPr>
            <p:ph type="body" sz="quarter" idx="19" hasCustomPrompt="1"/>
          </p:nvPr>
        </p:nvSpPr>
        <p:spPr>
          <a:xfrm>
            <a:off x="241558" y="6458285"/>
            <a:ext cx="8645760" cy="210807"/>
          </a:xfrm>
        </p:spPr>
        <p:txBody>
          <a:bodyPr wrap="none" tIns="0" bIns="0" anchor="ctr">
            <a:noAutofit/>
          </a:bodyPr>
          <a:lstStyle>
            <a:lvl1pPr marL="0" indent="0" algn="l">
              <a:lnSpc>
                <a:spcPct val="100000"/>
              </a:lnSpc>
              <a:spcBef>
                <a:spcPts val="0"/>
              </a:spcBef>
              <a:buNone/>
              <a:defRPr sz="900">
                <a:solidFill>
                  <a:schemeClr val="tx1"/>
                </a:solidFill>
                <a:latin typeface="+mj-lt"/>
                <a:cs typeface="Goldman Sans Light" panose="020B0503020203020204" pitchFamily="34" charset="0"/>
              </a:defRPr>
            </a:lvl1pPr>
          </a:lstStyle>
          <a:p>
            <a:pPr lvl="0"/>
            <a:r>
              <a:rPr lang="en-US"/>
              <a:t>Date</a:t>
            </a:r>
          </a:p>
        </p:txBody>
      </p:sp>
    </p:spTree>
    <p:extLst>
      <p:ext uri="{BB962C8B-B14F-4D97-AF65-F5344CB8AC3E}">
        <p14:creationId xmlns:p14="http://schemas.microsoft.com/office/powerpoint/2010/main" val="3037225722"/>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Premade 4x4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1000" smtClean="0">
                <a:latin typeface="+mj-lt"/>
                <a:cs typeface="Goldman Sans Regular" panose="020B0603020203020204" pitchFamily="34" charset="0"/>
              </a:rPr>
              <a:pPr algn="r"/>
              <a:t>‹#›</a:t>
            </a:fld>
            <a:endParaRPr lang="en-US" sz="12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800">
                <a:solidFill>
                  <a:schemeClr val="tx1"/>
                </a:solidFill>
                <a:latin typeface="+mj-lt"/>
                <a:cs typeface="Goldman Sans Light" panose="020B0503020203020204" pitchFamily="34" charset="0"/>
              </a:defRPr>
            </a:lvl1pPr>
          </a:lstStyle>
          <a:p>
            <a:pPr lvl="0"/>
            <a:r>
              <a:rPr lang="en-US"/>
              <a:t>Notes</a:t>
            </a:r>
          </a:p>
        </p:txBody>
      </p:sp>
      <p:sp>
        <p:nvSpPr>
          <p:cNvPr id="5" name="Content Placeholder 4">
            <a:extLst>
              <a:ext uri="{FF2B5EF4-FFF2-40B4-BE49-F238E27FC236}">
                <a16:creationId xmlns:a16="http://schemas.microsoft.com/office/drawing/2014/main" id="{7DEB5B7A-13BD-212F-FFD4-EC200A49DEC6}"/>
              </a:ext>
            </a:extLst>
          </p:cNvPr>
          <p:cNvSpPr>
            <a:spLocks noGrp="1"/>
          </p:cNvSpPr>
          <p:nvPr>
            <p:ph sz="quarter" idx="14"/>
          </p:nvPr>
        </p:nvSpPr>
        <p:spPr>
          <a:xfrm>
            <a:off x="256376" y="1304925"/>
            <a:ext cx="4136239" cy="233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Content Placeholder 4">
            <a:extLst>
              <a:ext uri="{FF2B5EF4-FFF2-40B4-BE49-F238E27FC236}">
                <a16:creationId xmlns:a16="http://schemas.microsoft.com/office/drawing/2014/main" id="{7DF97499-BAFB-917C-DF1C-A1E6EF6DE479}"/>
              </a:ext>
            </a:extLst>
          </p:cNvPr>
          <p:cNvSpPr>
            <a:spLocks noGrp="1"/>
          </p:cNvSpPr>
          <p:nvPr>
            <p:ph sz="quarter" idx="15"/>
          </p:nvPr>
        </p:nvSpPr>
        <p:spPr>
          <a:xfrm>
            <a:off x="250825" y="3937710"/>
            <a:ext cx="4141788" cy="23305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8" name="Content Placeholder 4">
            <a:extLst>
              <a:ext uri="{FF2B5EF4-FFF2-40B4-BE49-F238E27FC236}">
                <a16:creationId xmlns:a16="http://schemas.microsoft.com/office/drawing/2014/main" id="{C83C728E-B25A-339A-42B2-C4C2AC3D951E}"/>
              </a:ext>
            </a:extLst>
          </p:cNvPr>
          <p:cNvSpPr>
            <a:spLocks noGrp="1"/>
          </p:cNvSpPr>
          <p:nvPr>
            <p:ph sz="quarter" idx="19"/>
          </p:nvPr>
        </p:nvSpPr>
        <p:spPr>
          <a:xfrm>
            <a:off x="4756940" y="1304925"/>
            <a:ext cx="4136239" cy="233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9" name="Content Placeholder 4">
            <a:extLst>
              <a:ext uri="{FF2B5EF4-FFF2-40B4-BE49-F238E27FC236}">
                <a16:creationId xmlns:a16="http://schemas.microsoft.com/office/drawing/2014/main" id="{097C61F1-C8E7-C202-B14D-863127528D1B}"/>
              </a:ext>
            </a:extLst>
          </p:cNvPr>
          <p:cNvSpPr>
            <a:spLocks noGrp="1"/>
          </p:cNvSpPr>
          <p:nvPr>
            <p:ph sz="quarter" idx="20"/>
          </p:nvPr>
        </p:nvSpPr>
        <p:spPr>
          <a:xfrm>
            <a:off x="4751389" y="3937710"/>
            <a:ext cx="4141788" cy="23305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8" name="TextBox 7">
            <a:extLst>
              <a:ext uri="{FF2B5EF4-FFF2-40B4-BE49-F238E27FC236}">
                <a16:creationId xmlns:a16="http://schemas.microsoft.com/office/drawing/2014/main" id="{730785BF-9B65-0E52-6395-E8D39EDCE36A}"/>
              </a:ext>
            </a:extLst>
          </p:cNvPr>
          <p:cNvSpPr txBox="1"/>
          <p:nvPr userDrawn="1"/>
        </p:nvSpPr>
        <p:spPr>
          <a:xfrm>
            <a:off x="-1795573" y="5846428"/>
            <a:ext cx="1538175" cy="739177"/>
          </a:xfrm>
          <a:prstGeom prst="rect">
            <a:avLst/>
          </a:prstGeom>
          <a:noFill/>
        </p:spPr>
        <p:txBody>
          <a:bodyPr wrap="square" rtlCol="0">
            <a:spAutoFit/>
          </a:bodyPr>
          <a:lstStyle/>
          <a:p>
            <a:r>
              <a:rPr lang="en-US" sz="1051" i="1">
                <a:solidFill>
                  <a:schemeClr val="tx1"/>
                </a:solidFill>
              </a:rPr>
              <a:t>To get the content headers, go to Slide Master and copy paste them into your deck</a:t>
            </a:r>
            <a:endParaRPr lang="en-CA" sz="1051" i="1">
              <a:solidFill>
                <a:schemeClr val="tx1"/>
              </a:solidFill>
            </a:endParaRPr>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4905437"/>
      </p:ext>
    </p:extLst>
  </p:cSld>
  <p:clrMapOvr>
    <a:masterClrMapping/>
  </p:clrMapOvr>
  <p:hf sldNum="0" hdr="0" ftr="0" dt="0"/>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4" orient="horz" pos="640" userDrawn="1">
          <p15:clr>
            <a:srgbClr val="FBAE40"/>
          </p15:clr>
        </p15:guide>
        <p15:guide id="17" orient="horz" pos="3974" userDrawn="1">
          <p15:clr>
            <a:srgbClr val="F26B43"/>
          </p15:clr>
        </p15:guide>
        <p15:guide id="18" orient="horz" pos="2296" userDrawn="1">
          <p15:clr>
            <a:srgbClr val="FBAE40"/>
          </p15:clr>
        </p15:guide>
        <p15:guide id="19" orient="horz" pos="2478" userDrawn="1">
          <p15:clr>
            <a:srgbClr val="FBAE40"/>
          </p15:clr>
        </p15:guide>
        <p15:guide id="22" orient="horz" pos="822" userDrawn="1">
          <p15:clr>
            <a:srgbClr val="FBAE40"/>
          </p15:clr>
        </p15:guide>
        <p15:guide id="23" orient="horz" pos="368" userDrawn="1">
          <p15:clr>
            <a:srgbClr val="FBAE40"/>
          </p15:clr>
        </p15:guide>
        <p15:guide id="24" orient="horz" pos="39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_General">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C2082EF2-B6C3-5D0E-EEE8-881A1F9EFBAE}"/>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1800"/>
          </a:p>
        </p:txBody>
      </p:sp>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7885113" y="6311900"/>
            <a:ext cx="682624" cy="465138"/>
          </a:xfrm>
          <a:prstGeom prst="rect">
            <a:avLst/>
          </a:prstGeom>
          <a:noFill/>
        </p:spPr>
        <p:txBody>
          <a:bodyPr wrap="square" rIns="0" rtlCol="0" anchor="ctr">
            <a:noAutofit/>
          </a:bodyPr>
          <a:lstStyle/>
          <a:p>
            <a:pPr algn="r"/>
            <a:fld id="{8A15F205-7D98-4B7A-8DEA-3CCCDE55FD6E}" type="slidenum">
              <a:rPr lang="en-US" sz="675" smtClean="0">
                <a:latin typeface="Goldman Sans Regular" panose="020B0603020203020204" pitchFamily="34" charset="0"/>
                <a:cs typeface="Goldman Sans Regular" panose="020B0603020203020204" pitchFamily="34" charset="0"/>
              </a:rPr>
              <a:pPr algn="r"/>
              <a:t>‹#›</a:t>
            </a:fld>
            <a:endParaRPr lang="en-US" sz="675">
              <a:latin typeface="Goldman Sans Regular" panose="020B0603020203020204" pitchFamily="34" charset="0"/>
              <a:cs typeface="Goldman Sans Regular" panose="020B0603020203020204" pitchFamily="34" charset="0"/>
            </a:endParaRPr>
          </a:p>
        </p:txBody>
      </p:sp>
      <p:sp>
        <p:nvSpPr>
          <p:cNvPr id="14" name="Text Placeholder 13">
            <a:extLst>
              <a:ext uri="{FF2B5EF4-FFF2-40B4-BE49-F238E27FC236}">
                <a16:creationId xmlns:a16="http://schemas.microsoft.com/office/drawing/2014/main" id="{2C88840F-4A48-41B4-83DD-4EA9198877C4}"/>
              </a:ext>
            </a:extLst>
          </p:cNvPr>
          <p:cNvSpPr>
            <a:spLocks noGrp="1"/>
          </p:cNvSpPr>
          <p:nvPr>
            <p:ph type="body" sz="quarter" idx="12" hasCustomPrompt="1"/>
          </p:nvPr>
        </p:nvSpPr>
        <p:spPr>
          <a:xfrm>
            <a:off x="539751" y="6311915"/>
            <a:ext cx="7345362" cy="465139"/>
          </a:xfrm>
        </p:spPr>
        <p:txBody>
          <a:bodyPr>
            <a:normAutofit/>
          </a:bodyPr>
          <a:lstStyle>
            <a:lvl1pPr marL="0" indent="0">
              <a:buNone/>
              <a:defRPr lang="en-US" sz="900" kern="1200" dirty="0">
                <a:solidFill>
                  <a:schemeClr val="tx1"/>
                </a:solidFill>
                <a:latin typeface="Goldman Sans Thin" panose="020B0303020203020204" pitchFamily="34" charset="0"/>
                <a:ea typeface="+mn-ea"/>
                <a:cs typeface="Goldman Sans Thin" panose="020B0303020203020204" pitchFamily="34" charset="0"/>
              </a:defRPr>
            </a:lvl1pPr>
          </a:lstStyle>
          <a:p>
            <a:pPr marL="0" lvl="0" indent="0" algn="l" defTabSz="514338" rtl="0" eaLnBrk="1" latinLnBrk="0" hangingPunct="1">
              <a:lnSpc>
                <a:spcPct val="100000"/>
              </a:lnSpc>
              <a:spcBef>
                <a:spcPts val="0"/>
              </a:spcBef>
              <a:buFont typeface="Arial" panose="020B0604020202020204" pitchFamily="34" charset="0"/>
              <a:buNone/>
            </a:pPr>
            <a:r>
              <a:rPr lang="en-US"/>
              <a:t>Footer</a:t>
            </a:r>
          </a:p>
        </p:txBody>
      </p:sp>
      <p:sp>
        <p:nvSpPr>
          <p:cNvPr id="2" name="Title 1">
            <a:extLst>
              <a:ext uri="{FF2B5EF4-FFF2-40B4-BE49-F238E27FC236}">
                <a16:creationId xmlns:a16="http://schemas.microsoft.com/office/drawing/2014/main" id="{0491E02D-5263-4501-AD55-A08FB300B8BB}"/>
              </a:ext>
            </a:extLst>
          </p:cNvPr>
          <p:cNvSpPr>
            <a:spLocks noGrp="1"/>
          </p:cNvSpPr>
          <p:nvPr>
            <p:ph type="title" hasCustomPrompt="1"/>
          </p:nvPr>
        </p:nvSpPr>
        <p:spPr>
          <a:xfrm>
            <a:off x="1259749" y="558837"/>
            <a:ext cx="6625364" cy="378941"/>
          </a:xfrm>
        </p:spPr>
        <p:txBody>
          <a:bodyPr wrap="none" tIns="0" bIns="0" anchor="ctr">
            <a:noAutofit/>
          </a:bodyPr>
          <a:lstStyle>
            <a:lvl1pPr>
              <a:defRPr sz="1125">
                <a:latin typeface="Goldman Sans Bold" panose="020B0803020203020204" pitchFamily="34" charset="0"/>
                <a:cs typeface="Goldman Sans Bold" panose="020B0803020203020204" pitchFamily="34" charset="0"/>
              </a:defRPr>
            </a:lvl1pPr>
          </a:lstStyle>
          <a:p>
            <a:r>
              <a:rPr lang="en-US"/>
              <a:t>Slide Title</a:t>
            </a:r>
          </a:p>
        </p:txBody>
      </p:sp>
      <p:pic>
        <p:nvPicPr>
          <p:cNvPr id="27" name="Picture 26" descr="A picture containing text, clipart&#10;&#10;Description automatically generated">
            <a:extLst>
              <a:ext uri="{FF2B5EF4-FFF2-40B4-BE49-F238E27FC236}">
                <a16:creationId xmlns:a16="http://schemas.microsoft.com/office/drawing/2014/main" id="{6711821E-090B-48C4-929D-E3829B1B22B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9750" y="549275"/>
            <a:ext cx="720000" cy="720000"/>
          </a:xfrm>
          <a:prstGeom prst="rect">
            <a:avLst/>
          </a:prstGeom>
        </p:spPr>
      </p:pic>
      <p:sp>
        <p:nvSpPr>
          <p:cNvPr id="29" name="Text Placeholder 28">
            <a:extLst>
              <a:ext uri="{FF2B5EF4-FFF2-40B4-BE49-F238E27FC236}">
                <a16:creationId xmlns:a16="http://schemas.microsoft.com/office/drawing/2014/main" id="{0252B2CD-88A7-4E32-883E-F98BE25F341F}"/>
              </a:ext>
            </a:extLst>
          </p:cNvPr>
          <p:cNvSpPr>
            <a:spLocks noGrp="1"/>
          </p:cNvSpPr>
          <p:nvPr>
            <p:ph type="body" sz="quarter" idx="13" hasCustomPrompt="1"/>
          </p:nvPr>
        </p:nvSpPr>
        <p:spPr>
          <a:xfrm>
            <a:off x="1259749" y="952515"/>
            <a:ext cx="6625364" cy="192951"/>
          </a:xfrm>
        </p:spPr>
        <p:txBody>
          <a:bodyPr wrap="none" tIns="0" bIns="0" anchor="ctr">
            <a:noAutofit/>
          </a:bodyPr>
          <a:lstStyle>
            <a:lvl1pPr marL="0" indent="0">
              <a:lnSpc>
                <a:spcPct val="100000"/>
              </a:lnSpc>
              <a:spcBef>
                <a:spcPts val="0"/>
              </a:spcBef>
              <a:buNone/>
              <a:defRPr sz="788">
                <a:solidFill>
                  <a:schemeClr val="accent1"/>
                </a:solidFill>
                <a:latin typeface="Goldman Sans Light" panose="020B0503020203020204" pitchFamily="34" charset="0"/>
                <a:cs typeface="Goldman Sans Light" panose="020B0503020203020204" pitchFamily="34" charset="0"/>
              </a:defRPr>
            </a:lvl1pPr>
          </a:lstStyle>
          <a:p>
            <a:pPr lvl="0"/>
            <a:r>
              <a:rPr lang="en-US"/>
              <a:t>Slide Subtitle</a:t>
            </a: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539750" y="1352550"/>
            <a:ext cx="806450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1ED1672-7629-43BD-8C42-EE70CC51C29C}"/>
              </a:ext>
            </a:extLst>
          </p:cNvPr>
          <p:cNvCxnSpPr>
            <a:cxnSpLocks/>
          </p:cNvCxnSpPr>
          <p:nvPr userDrawn="1"/>
        </p:nvCxnSpPr>
        <p:spPr>
          <a:xfrm>
            <a:off x="539750" y="6229350"/>
            <a:ext cx="806450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Table 5">
            <a:extLst>
              <a:ext uri="{FF2B5EF4-FFF2-40B4-BE49-F238E27FC236}">
                <a16:creationId xmlns:a16="http://schemas.microsoft.com/office/drawing/2014/main" id="{9861F7F8-82D5-48DE-9ED8-7465306F9638}"/>
              </a:ext>
            </a:extLst>
          </p:cNvPr>
          <p:cNvGraphicFramePr>
            <a:graphicFrameLocks noGrp="1"/>
          </p:cNvGraphicFramePr>
          <p:nvPr userDrawn="1"/>
        </p:nvGraphicFramePr>
        <p:xfrm>
          <a:off x="539757" y="7072084"/>
          <a:ext cx="3779839" cy="289560"/>
        </p:xfrm>
        <a:graphic>
          <a:graphicData uri="http://schemas.openxmlformats.org/drawingml/2006/table">
            <a:tbl>
              <a:tblPr firstRow="1" bandRow="1">
                <a:tableStyleId>{5C22544A-7EE6-4342-B048-85BDC9FD1C3A}</a:tableStyleId>
              </a:tblPr>
              <a:tblGrid>
                <a:gridCol w="3779839">
                  <a:extLst>
                    <a:ext uri="{9D8B030D-6E8A-4147-A177-3AD203B41FA5}">
                      <a16:colId xmlns:a16="http://schemas.microsoft.com/office/drawing/2014/main" val="2780553580"/>
                    </a:ext>
                  </a:extLst>
                </a:gridCol>
              </a:tblGrid>
              <a:tr h="192951">
                <a:tc>
                  <a:txBody>
                    <a:bodyPr/>
                    <a:lstStyle/>
                    <a:p>
                      <a:pPr algn="ctr"/>
                      <a:r>
                        <a:rPr lang="en-US" sz="1300" b="0">
                          <a:solidFill>
                            <a:schemeClr val="accent1"/>
                          </a:solidFill>
                          <a:latin typeface="Goldman Sans Bold" panose="020B0803020203020204" pitchFamily="34" charset="0"/>
                          <a:cs typeface="Goldman Sans Bold" panose="020B0803020203020204" pitchFamily="34" charset="0"/>
                        </a:rPr>
                        <a:t>Copy from slide master</a:t>
                      </a: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87304422"/>
                  </a:ext>
                </a:extLst>
              </a:tr>
            </a:tbl>
          </a:graphicData>
        </a:graphic>
      </p:graphicFrame>
      <p:graphicFrame>
        <p:nvGraphicFramePr>
          <p:cNvPr id="10" name="Table 5">
            <a:extLst>
              <a:ext uri="{FF2B5EF4-FFF2-40B4-BE49-F238E27FC236}">
                <a16:creationId xmlns:a16="http://schemas.microsoft.com/office/drawing/2014/main" id="{CA23B51D-F436-4187-9BBE-FD4936E9CF93}"/>
              </a:ext>
            </a:extLst>
          </p:cNvPr>
          <p:cNvGraphicFramePr>
            <a:graphicFrameLocks noGrp="1"/>
          </p:cNvGraphicFramePr>
          <p:nvPr userDrawn="1"/>
        </p:nvGraphicFramePr>
        <p:xfrm>
          <a:off x="4824422" y="7072084"/>
          <a:ext cx="3779839" cy="289560"/>
        </p:xfrm>
        <a:graphic>
          <a:graphicData uri="http://schemas.openxmlformats.org/drawingml/2006/table">
            <a:tbl>
              <a:tblPr firstRow="1" bandRow="1">
                <a:tableStyleId>{5C22544A-7EE6-4342-B048-85BDC9FD1C3A}</a:tableStyleId>
              </a:tblPr>
              <a:tblGrid>
                <a:gridCol w="3779839">
                  <a:extLst>
                    <a:ext uri="{9D8B030D-6E8A-4147-A177-3AD203B41FA5}">
                      <a16:colId xmlns:a16="http://schemas.microsoft.com/office/drawing/2014/main" val="2780553580"/>
                    </a:ext>
                  </a:extLst>
                </a:gridCol>
              </a:tblGrid>
              <a:tr h="192951">
                <a:tc>
                  <a:txBody>
                    <a:bodyPr/>
                    <a:lstStyle/>
                    <a:p>
                      <a:pPr algn="ctr"/>
                      <a:r>
                        <a:rPr lang="en-US" sz="1300" b="0">
                          <a:solidFill>
                            <a:schemeClr val="accent1"/>
                          </a:solidFill>
                          <a:latin typeface="Goldman Sans Bold" panose="020B0803020203020204" pitchFamily="34" charset="0"/>
                          <a:cs typeface="Goldman Sans Bold" panose="020B0803020203020204" pitchFamily="34" charset="0"/>
                        </a:rPr>
                        <a:t>Copy from slide master</a:t>
                      </a: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87304422"/>
                  </a:ext>
                </a:extLst>
              </a:tr>
            </a:tbl>
          </a:graphicData>
        </a:graphic>
      </p:graphicFrame>
      <p:graphicFrame>
        <p:nvGraphicFramePr>
          <p:cNvPr id="11" name="Table 5">
            <a:extLst>
              <a:ext uri="{FF2B5EF4-FFF2-40B4-BE49-F238E27FC236}">
                <a16:creationId xmlns:a16="http://schemas.microsoft.com/office/drawing/2014/main" id="{AC508C2D-51BC-4BCE-88B2-24CC58AE305E}"/>
              </a:ext>
            </a:extLst>
          </p:cNvPr>
          <p:cNvGraphicFramePr>
            <a:graphicFrameLocks noGrp="1"/>
          </p:cNvGraphicFramePr>
          <p:nvPr userDrawn="1"/>
        </p:nvGraphicFramePr>
        <p:xfrm>
          <a:off x="539758" y="7564615"/>
          <a:ext cx="8064503" cy="289560"/>
        </p:xfrm>
        <a:graphic>
          <a:graphicData uri="http://schemas.openxmlformats.org/drawingml/2006/table">
            <a:tbl>
              <a:tblPr firstRow="1" bandRow="1">
                <a:tableStyleId>{5C22544A-7EE6-4342-B048-85BDC9FD1C3A}</a:tableStyleId>
              </a:tblPr>
              <a:tblGrid>
                <a:gridCol w="8064503">
                  <a:extLst>
                    <a:ext uri="{9D8B030D-6E8A-4147-A177-3AD203B41FA5}">
                      <a16:colId xmlns:a16="http://schemas.microsoft.com/office/drawing/2014/main" val="2780553580"/>
                    </a:ext>
                  </a:extLst>
                </a:gridCol>
              </a:tblGrid>
              <a:tr h="192951">
                <a:tc>
                  <a:txBody>
                    <a:bodyPr/>
                    <a:lstStyle/>
                    <a:p>
                      <a:pPr algn="ctr"/>
                      <a:r>
                        <a:rPr lang="en-US" sz="1300" b="0">
                          <a:solidFill>
                            <a:schemeClr val="accent1"/>
                          </a:solidFill>
                          <a:latin typeface="Goldman Sans Bold" panose="020B0803020203020204" pitchFamily="34" charset="0"/>
                          <a:cs typeface="Goldman Sans Bold" panose="020B0803020203020204" pitchFamily="34" charset="0"/>
                        </a:rPr>
                        <a:t>Copy from slide master</a:t>
                      </a: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87304422"/>
                  </a:ext>
                </a:extLst>
              </a:tr>
            </a:tbl>
          </a:graphicData>
        </a:graphic>
      </p:graphicFrame>
      <p:graphicFrame>
        <p:nvGraphicFramePr>
          <p:cNvPr id="12" name="Table 5">
            <a:extLst>
              <a:ext uri="{FF2B5EF4-FFF2-40B4-BE49-F238E27FC236}">
                <a16:creationId xmlns:a16="http://schemas.microsoft.com/office/drawing/2014/main" id="{F93DD9DB-4344-4BC8-95D5-B24D7CCAFCFB}"/>
              </a:ext>
            </a:extLst>
          </p:cNvPr>
          <p:cNvGraphicFramePr>
            <a:graphicFrameLocks noGrp="1"/>
          </p:cNvGraphicFramePr>
          <p:nvPr userDrawn="1"/>
        </p:nvGraphicFramePr>
        <p:xfrm>
          <a:off x="546101" y="8057146"/>
          <a:ext cx="2449845" cy="289560"/>
        </p:xfrm>
        <a:graphic>
          <a:graphicData uri="http://schemas.openxmlformats.org/drawingml/2006/table">
            <a:tbl>
              <a:tblPr firstRow="1" bandRow="1">
                <a:tableStyleId>{5C22544A-7EE6-4342-B048-85BDC9FD1C3A}</a:tableStyleId>
              </a:tblPr>
              <a:tblGrid>
                <a:gridCol w="2449845">
                  <a:extLst>
                    <a:ext uri="{9D8B030D-6E8A-4147-A177-3AD203B41FA5}">
                      <a16:colId xmlns:a16="http://schemas.microsoft.com/office/drawing/2014/main" val="2780553580"/>
                    </a:ext>
                  </a:extLst>
                </a:gridCol>
              </a:tblGrid>
              <a:tr h="192951">
                <a:tc>
                  <a:txBody>
                    <a:bodyPr/>
                    <a:lstStyle/>
                    <a:p>
                      <a:pPr algn="ctr"/>
                      <a:r>
                        <a:rPr lang="en-US" sz="1300" b="0">
                          <a:solidFill>
                            <a:schemeClr val="accent1"/>
                          </a:solidFill>
                          <a:latin typeface="Goldman Sans Bold" panose="020B0803020203020204" pitchFamily="34" charset="0"/>
                          <a:cs typeface="Goldman Sans Bold" panose="020B0803020203020204" pitchFamily="34" charset="0"/>
                        </a:rPr>
                        <a:t>Copy from slide master</a:t>
                      </a: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87304422"/>
                  </a:ext>
                </a:extLst>
              </a:tr>
            </a:tbl>
          </a:graphicData>
        </a:graphic>
      </p:graphicFrame>
      <p:graphicFrame>
        <p:nvGraphicFramePr>
          <p:cNvPr id="13" name="Table 5">
            <a:extLst>
              <a:ext uri="{FF2B5EF4-FFF2-40B4-BE49-F238E27FC236}">
                <a16:creationId xmlns:a16="http://schemas.microsoft.com/office/drawing/2014/main" id="{71D0C0CD-81B2-471D-A21D-903DE90D67F0}"/>
              </a:ext>
            </a:extLst>
          </p:cNvPr>
          <p:cNvGraphicFramePr>
            <a:graphicFrameLocks noGrp="1"/>
          </p:cNvGraphicFramePr>
          <p:nvPr userDrawn="1"/>
        </p:nvGraphicFramePr>
        <p:xfrm>
          <a:off x="3352810" y="8057146"/>
          <a:ext cx="2449845" cy="289560"/>
        </p:xfrm>
        <a:graphic>
          <a:graphicData uri="http://schemas.openxmlformats.org/drawingml/2006/table">
            <a:tbl>
              <a:tblPr firstRow="1" bandRow="1">
                <a:tableStyleId>{5C22544A-7EE6-4342-B048-85BDC9FD1C3A}</a:tableStyleId>
              </a:tblPr>
              <a:tblGrid>
                <a:gridCol w="2449845">
                  <a:extLst>
                    <a:ext uri="{9D8B030D-6E8A-4147-A177-3AD203B41FA5}">
                      <a16:colId xmlns:a16="http://schemas.microsoft.com/office/drawing/2014/main" val="2780553580"/>
                    </a:ext>
                  </a:extLst>
                </a:gridCol>
              </a:tblGrid>
              <a:tr h="192951">
                <a:tc>
                  <a:txBody>
                    <a:bodyPr/>
                    <a:lstStyle/>
                    <a:p>
                      <a:pPr algn="ctr"/>
                      <a:r>
                        <a:rPr lang="en-US" sz="1300" b="0">
                          <a:solidFill>
                            <a:schemeClr val="accent1"/>
                          </a:solidFill>
                          <a:latin typeface="Goldman Sans Bold" panose="020B0803020203020204" pitchFamily="34" charset="0"/>
                          <a:cs typeface="Goldman Sans Bold" panose="020B0803020203020204" pitchFamily="34" charset="0"/>
                        </a:rPr>
                        <a:t>Copy from slide master</a:t>
                      </a: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87304422"/>
                  </a:ext>
                </a:extLst>
              </a:tr>
            </a:tbl>
          </a:graphicData>
        </a:graphic>
      </p:graphicFrame>
      <p:graphicFrame>
        <p:nvGraphicFramePr>
          <p:cNvPr id="15" name="Table 5">
            <a:extLst>
              <a:ext uri="{FF2B5EF4-FFF2-40B4-BE49-F238E27FC236}">
                <a16:creationId xmlns:a16="http://schemas.microsoft.com/office/drawing/2014/main" id="{1FDA11C6-D8E4-4FAA-B2EF-87B5CDA48187}"/>
              </a:ext>
            </a:extLst>
          </p:cNvPr>
          <p:cNvGraphicFramePr>
            <a:graphicFrameLocks noGrp="1"/>
          </p:cNvGraphicFramePr>
          <p:nvPr userDrawn="1"/>
        </p:nvGraphicFramePr>
        <p:xfrm>
          <a:off x="6154406" y="8057146"/>
          <a:ext cx="2449845" cy="289560"/>
        </p:xfrm>
        <a:graphic>
          <a:graphicData uri="http://schemas.openxmlformats.org/drawingml/2006/table">
            <a:tbl>
              <a:tblPr firstRow="1" bandRow="1">
                <a:tableStyleId>{5C22544A-7EE6-4342-B048-85BDC9FD1C3A}</a:tableStyleId>
              </a:tblPr>
              <a:tblGrid>
                <a:gridCol w="2449845">
                  <a:extLst>
                    <a:ext uri="{9D8B030D-6E8A-4147-A177-3AD203B41FA5}">
                      <a16:colId xmlns:a16="http://schemas.microsoft.com/office/drawing/2014/main" val="2780553580"/>
                    </a:ext>
                  </a:extLst>
                </a:gridCol>
              </a:tblGrid>
              <a:tr h="192951">
                <a:tc>
                  <a:txBody>
                    <a:bodyPr/>
                    <a:lstStyle/>
                    <a:p>
                      <a:pPr algn="ctr"/>
                      <a:r>
                        <a:rPr lang="en-US" sz="1300" b="0">
                          <a:solidFill>
                            <a:schemeClr val="accent1"/>
                          </a:solidFill>
                          <a:latin typeface="Goldman Sans Bold" panose="020B0803020203020204" pitchFamily="34" charset="0"/>
                          <a:cs typeface="Goldman Sans Bold" panose="020B0803020203020204" pitchFamily="34" charset="0"/>
                        </a:rPr>
                        <a:t>Copy from slide master</a:t>
                      </a: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87304422"/>
                  </a:ext>
                </a:extLst>
              </a:tr>
            </a:tbl>
          </a:graphicData>
        </a:graphic>
      </p:graphicFrame>
      <p:sp>
        <p:nvSpPr>
          <p:cNvPr id="3" name="Title Placeholder 1">
            <a:extLst>
              <a:ext uri="{FF2B5EF4-FFF2-40B4-BE49-F238E27FC236}">
                <a16:creationId xmlns:a16="http://schemas.microsoft.com/office/drawing/2014/main" id="{B2DDDB85-4186-0510-566D-6545DF6C2A7B}"/>
              </a:ext>
            </a:extLst>
          </p:cNvPr>
          <p:cNvSpPr txBox="1">
            <a:spLocks/>
          </p:cNvSpPr>
          <p:nvPr userDrawn="1"/>
        </p:nvSpPr>
        <p:spPr>
          <a:xfrm>
            <a:off x="584200" y="148804"/>
            <a:ext cx="2112962" cy="360000"/>
          </a:xfrm>
          <a:prstGeom prst="rect">
            <a:avLst/>
          </a:prstGeom>
        </p:spPr>
        <p:txBody>
          <a:bodyPr vert="horz" lIns="0" tIns="25719" rIns="51435" bIns="25719" rtlCol="0" anchor="ctr">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algn="l"/>
            <a:r>
              <a:rPr lang="en-US" sz="900">
                <a:solidFill>
                  <a:schemeClr val="bg2"/>
                </a:solidFill>
              </a:rPr>
              <a:t>TFS INVESTMENT GROUP</a:t>
            </a:r>
          </a:p>
          <a:p>
            <a:pPr algn="l"/>
            <a:r>
              <a:rPr lang="en-US" sz="900">
                <a:solidFill>
                  <a:schemeClr val="bg2"/>
                </a:solidFill>
              </a:rPr>
              <a:t>CANADIAN EQUITY COVERAGE</a:t>
            </a:r>
          </a:p>
        </p:txBody>
      </p:sp>
    </p:spTree>
    <p:extLst>
      <p:ext uri="{BB962C8B-B14F-4D97-AF65-F5344CB8AC3E}">
        <p14:creationId xmlns:p14="http://schemas.microsoft.com/office/powerpoint/2010/main" val="886973669"/>
      </p:ext>
    </p:extLst>
  </p:cSld>
  <p:clrMapOvr>
    <a:masterClrMapping/>
  </p:clrMapOvr>
  <p:extLst>
    <p:ext uri="{DCECCB84-F9BA-43D5-87BE-67443E8EF086}">
      <p15:sldGuideLst xmlns:p15="http://schemas.microsoft.com/office/powerpoint/2012/main">
        <p15:guide id="2" pos="3049" userDrawn="1">
          <p15:clr>
            <a:srgbClr val="F26B43"/>
          </p15:clr>
        </p15:guide>
        <p15:guide id="3" orient="horz" pos="346" userDrawn="1">
          <p15:clr>
            <a:srgbClr val="A4A3A4"/>
          </p15:clr>
        </p15:guide>
        <p15:guide id="4" orient="horz" pos="3974" userDrawn="1">
          <p15:clr>
            <a:srgbClr val="A4A3A4"/>
          </p15:clr>
        </p15:guide>
        <p15:guide id="5" pos="191" userDrawn="1">
          <p15:clr>
            <a:srgbClr val="F26B43"/>
          </p15:clr>
        </p15:guide>
        <p15:guide id="6" orient="horz" pos="799" userDrawn="1">
          <p15:clr>
            <a:srgbClr val="A4A3A4"/>
          </p15:clr>
        </p15:guide>
        <p15:guide id="8" orient="horz" pos="4269" userDrawn="1">
          <p15:clr>
            <a:srgbClr val="A4A3A4"/>
          </p15:clr>
        </p15:guide>
        <p15:guide id="9" orient="horz" pos="51" userDrawn="1">
          <p15:clr>
            <a:srgbClr val="A4A3A4"/>
          </p15:clr>
        </p15:guide>
        <p15:guide id="10" pos="1709" userDrawn="1">
          <p15:clr>
            <a:srgbClr val="F26B43"/>
          </p15:clr>
        </p15:guide>
        <p15:guide id="11" pos="1531" userDrawn="1">
          <p15:clr>
            <a:srgbClr val="F26B43"/>
          </p15:clr>
        </p15:guide>
        <p15:guide id="12" orient="horz" pos="845" userDrawn="1">
          <p15:clr>
            <a:srgbClr val="F26B43"/>
          </p15:clr>
        </p15:guide>
        <p15:guide id="13" orient="horz" pos="3929" userDrawn="1">
          <p15:clr>
            <a:srgbClr val="F26B43"/>
          </p15:clr>
        </p15:guide>
        <p15:guide id="14" orient="horz" pos="935" userDrawn="1">
          <p15:clr>
            <a:srgbClr val="547EBF"/>
          </p15:clr>
        </p15:guide>
        <p15:guide id="15" orient="horz" pos="3838" userDrawn="1">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ernative Slide Cov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C51E235-07B0-41D8-B948-9869A903C41C}"/>
              </a:ext>
            </a:extLst>
          </p:cNvPr>
          <p:cNvSpPr>
            <a:spLocks noGrp="1"/>
          </p:cNvSpPr>
          <p:nvPr>
            <p:ph type="pic" sz="quarter" idx="10" hasCustomPrompt="1"/>
          </p:nvPr>
        </p:nvSpPr>
        <p:spPr>
          <a:xfrm>
            <a:off x="0" y="0"/>
            <a:ext cx="9144000" cy="6858000"/>
          </a:xfrm>
          <a:solidFill>
            <a:schemeClr val="bg2">
              <a:lumMod val="20000"/>
              <a:lumOff val="80000"/>
            </a:schemeClr>
          </a:solidFill>
        </p:spPr>
        <p:txBody>
          <a:bodyPr/>
          <a:lstStyle>
            <a:lvl1pPr marL="0" indent="0">
              <a:buNone/>
              <a:defRPr>
                <a:latin typeface="+mj-lt"/>
              </a:defRPr>
            </a:lvl1pPr>
          </a:lstStyle>
          <a:p>
            <a:r>
              <a:rPr lang="en-US"/>
              <a:t>Picture Placeholder (click icon to add picture)</a:t>
            </a:r>
          </a:p>
        </p:txBody>
      </p:sp>
      <p:sp>
        <p:nvSpPr>
          <p:cNvPr id="7" name="Text Placeholder 4">
            <a:extLst>
              <a:ext uri="{FF2B5EF4-FFF2-40B4-BE49-F238E27FC236}">
                <a16:creationId xmlns:a16="http://schemas.microsoft.com/office/drawing/2014/main" id="{E4B6BC8C-D43C-4470-92CD-926ABB9C06A7}"/>
              </a:ext>
            </a:extLst>
          </p:cNvPr>
          <p:cNvSpPr>
            <a:spLocks noGrp="1"/>
          </p:cNvSpPr>
          <p:nvPr>
            <p:ph type="body" sz="quarter" idx="13" hasCustomPrompt="1"/>
          </p:nvPr>
        </p:nvSpPr>
        <p:spPr>
          <a:xfrm>
            <a:off x="0" y="5121275"/>
            <a:ext cx="9144000" cy="1736724"/>
          </a:xfrm>
          <a:solidFill>
            <a:srgbClr val="080808">
              <a:alpha val="74902"/>
            </a:srgbClr>
          </a:solidFill>
        </p:spPr>
        <p:txBody>
          <a:bodyPr/>
          <a:lstStyle>
            <a:lvl1pPr marL="0" indent="0">
              <a:buNone/>
              <a:defRPr>
                <a:solidFill>
                  <a:schemeClr val="bg1"/>
                </a:solidFill>
                <a:latin typeface="+mj-lt"/>
              </a:defRPr>
            </a:lvl1pPr>
          </a:lstStyle>
          <a:p>
            <a:pPr lvl="0"/>
            <a:r>
              <a:rPr lang="en-US"/>
              <a:t>Box1 (this text won’t show)</a:t>
            </a:r>
          </a:p>
        </p:txBody>
      </p:sp>
      <p:sp>
        <p:nvSpPr>
          <p:cNvPr id="2" name="Title 1"/>
          <p:cNvSpPr>
            <a:spLocks noGrp="1"/>
          </p:cNvSpPr>
          <p:nvPr>
            <p:ph type="ctrTitle" hasCustomPrompt="1"/>
          </p:nvPr>
        </p:nvSpPr>
        <p:spPr>
          <a:xfrm>
            <a:off x="250826" y="5339798"/>
            <a:ext cx="8642349" cy="810730"/>
          </a:xfrm>
        </p:spPr>
        <p:txBody>
          <a:bodyPr bIns="0" anchor="ctr">
            <a:normAutofit/>
          </a:bodyPr>
          <a:lstStyle>
            <a:lvl1pPr algn="l">
              <a:lnSpc>
                <a:spcPct val="100000"/>
              </a:lnSpc>
              <a:defRPr sz="6000">
                <a:solidFill>
                  <a:schemeClr val="bg1"/>
                </a:solidFill>
                <a:latin typeface="+mj-lt"/>
                <a:ea typeface="Cambria" panose="02040503050406030204" pitchFamily="18" charset="0"/>
                <a:cs typeface="Arial" panose="020B0604020202020204" pitchFamily="34" charset="0"/>
              </a:defRPr>
            </a:lvl1pPr>
          </a:lstStyle>
          <a:p>
            <a:r>
              <a:rPr lang="en-US"/>
              <a:t>Presentation Title</a:t>
            </a:r>
          </a:p>
        </p:txBody>
      </p:sp>
      <p:sp>
        <p:nvSpPr>
          <p:cNvPr id="3" name="Subtitle 2"/>
          <p:cNvSpPr>
            <a:spLocks noGrp="1"/>
          </p:cNvSpPr>
          <p:nvPr>
            <p:ph type="subTitle" idx="1" hasCustomPrompt="1"/>
          </p:nvPr>
        </p:nvSpPr>
        <p:spPr>
          <a:xfrm>
            <a:off x="250828" y="6237296"/>
            <a:ext cx="8642348" cy="395287"/>
          </a:xfrm>
        </p:spPr>
        <p:txBody>
          <a:bodyPr lIns="144000" anchor="b">
            <a:noAutofit/>
          </a:bodyPr>
          <a:lstStyle>
            <a:lvl1pPr marL="0" indent="0" algn="l">
              <a:lnSpc>
                <a:spcPct val="100000"/>
              </a:lnSpc>
              <a:spcBef>
                <a:spcPts val="0"/>
              </a:spcBef>
              <a:buNone/>
              <a:defRPr sz="1600">
                <a:solidFill>
                  <a:schemeClr val="bg1"/>
                </a:solidFill>
                <a:latin typeface="+mj-lt"/>
                <a:cs typeface="Goldman Sans Light" panose="020B0503020203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Presentation Subtitle</a:t>
            </a:r>
          </a:p>
        </p:txBody>
      </p:sp>
      <p:sp>
        <p:nvSpPr>
          <p:cNvPr id="13" name="Content Placeholder 9">
            <a:extLst>
              <a:ext uri="{FF2B5EF4-FFF2-40B4-BE49-F238E27FC236}">
                <a16:creationId xmlns:a16="http://schemas.microsoft.com/office/drawing/2014/main" id="{35DC33CC-D6EE-433F-BDB4-3E0C0CC43770}"/>
              </a:ext>
            </a:extLst>
          </p:cNvPr>
          <p:cNvSpPr>
            <a:spLocks noGrp="1"/>
          </p:cNvSpPr>
          <p:nvPr>
            <p:ph sz="quarter" idx="12" hasCustomPrompt="1"/>
          </p:nvPr>
        </p:nvSpPr>
        <p:spPr>
          <a:xfrm>
            <a:off x="395401" y="6165850"/>
            <a:ext cx="1614097" cy="71438"/>
          </a:xfrm>
          <a:solidFill>
            <a:schemeClr val="accent2">
              <a:alpha val="75000"/>
            </a:schemeClr>
          </a:solidFill>
          <a:ln>
            <a:noFill/>
          </a:ln>
        </p:spPr>
        <p:txBody>
          <a:bodyPr anchor="ctr">
            <a:noAutofit/>
          </a:bodyPr>
          <a:lstStyle>
            <a:lvl1pPr marL="0" indent="0">
              <a:buNone/>
              <a:defRPr sz="800">
                <a:solidFill>
                  <a:schemeClr val="bg1"/>
                </a:solidFill>
                <a:latin typeface="+mj-lt"/>
              </a:defRPr>
            </a:lvl1pPr>
          </a:lstStyle>
          <a:p>
            <a:pPr lvl="0"/>
            <a:r>
              <a:rPr lang="en-US"/>
              <a:t>Box2 (this text won’t show)</a:t>
            </a:r>
          </a:p>
        </p:txBody>
      </p:sp>
      <p:pic>
        <p:nvPicPr>
          <p:cNvPr id="11" name="Picture 10" descr="A picture containing text, clipart&#10;&#10;Description automatically generated">
            <a:extLst>
              <a:ext uri="{FF2B5EF4-FFF2-40B4-BE49-F238E27FC236}">
                <a16:creationId xmlns:a16="http://schemas.microsoft.com/office/drawing/2014/main" id="{7E620609-1B6C-23B9-3720-41D388FD261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p:spPr>
      </p:pic>
      <p:sp>
        <p:nvSpPr>
          <p:cNvPr id="12" name="TextBox 11">
            <a:extLst>
              <a:ext uri="{FF2B5EF4-FFF2-40B4-BE49-F238E27FC236}">
                <a16:creationId xmlns:a16="http://schemas.microsoft.com/office/drawing/2014/main" id="{3CA2DB5D-51D0-BCD4-255A-B4F1FAFD761F}"/>
              </a:ext>
            </a:extLst>
          </p:cNvPr>
          <p:cNvSpPr txBox="1"/>
          <p:nvPr userDrawn="1"/>
        </p:nvSpPr>
        <p:spPr>
          <a:xfrm>
            <a:off x="6893568" y="253830"/>
            <a:ext cx="1641595" cy="230832"/>
          </a:xfrm>
          <a:prstGeom prst="rect">
            <a:avLst/>
          </a:prstGeom>
          <a:noFill/>
        </p:spPr>
        <p:txBody>
          <a:bodyPr wrap="square" rtlCol="0" anchor="ctr">
            <a:spAutoFit/>
          </a:bodyPr>
          <a:lstStyle/>
          <a:p>
            <a:pPr algn="ctr"/>
            <a:r>
              <a:rPr lang="en-US" sz="900">
                <a:solidFill>
                  <a:schemeClr val="bg1"/>
                </a:solidFill>
              </a:rPr>
              <a:t>TFS INVESTMENT GROUP</a:t>
            </a:r>
            <a:endParaRPr lang="en-CA" sz="900">
              <a:solidFill>
                <a:schemeClr val="bg1"/>
              </a:solidFill>
            </a:endParaRPr>
          </a:p>
        </p:txBody>
      </p:sp>
    </p:spTree>
    <p:extLst>
      <p:ext uri="{BB962C8B-B14F-4D97-AF65-F5344CB8AC3E}">
        <p14:creationId xmlns:p14="http://schemas.microsoft.com/office/powerpoint/2010/main" val="622187772"/>
      </p:ext>
    </p:extLst>
  </p:cSld>
  <p:clrMapOvr>
    <a:masterClrMapping/>
  </p:clrMapOvr>
  <p:extLst>
    <p:ext uri="{DCECCB84-F9BA-43D5-87BE-67443E8EF086}">
      <p15:sldGuideLst xmlns:p15="http://schemas.microsoft.com/office/powerpoint/2012/main">
        <p15:guide id="1" orient="horz" pos="3362" userDrawn="1">
          <p15:clr>
            <a:srgbClr val="A4A3A4"/>
          </p15:clr>
        </p15:guide>
        <p15:guide id="2" pos="249" userDrawn="1">
          <p15:clr>
            <a:srgbClr val="A4A3A4"/>
          </p15:clr>
        </p15:guide>
        <p15:guide id="3" pos="5602" userDrawn="1">
          <p15:clr>
            <a:srgbClr val="A4A3A4"/>
          </p15:clr>
        </p15:guide>
        <p15:guide id="4" orient="horz" pos="709" userDrawn="1">
          <p15:clr>
            <a:srgbClr val="A4A3A4"/>
          </p15:clr>
        </p15:guide>
        <p15:guide id="5" orient="horz" pos="4178" userDrawn="1">
          <p15:clr>
            <a:srgbClr val="A4A3A4"/>
          </p15:clr>
        </p15:guide>
        <p15:guide id="6" orient="horz" pos="3884" userDrawn="1">
          <p15:clr>
            <a:srgbClr val="A4A3A4"/>
          </p15:clr>
        </p15:guide>
        <p15:guide id="7" orient="horz" pos="3929" userDrawn="1">
          <p15:clr>
            <a:srgbClr val="A4A3A4"/>
          </p15:clr>
        </p15:guide>
        <p15:guide id="10" orient="horz" pos="3226"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x4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91"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303"/>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90"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8"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303"/>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5" y="401545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5" name="Content Placeholder 4">
            <a:extLst>
              <a:ext uri="{FF2B5EF4-FFF2-40B4-BE49-F238E27FC236}">
                <a16:creationId xmlns:a16="http://schemas.microsoft.com/office/drawing/2014/main" id="{67473D30-D304-DC63-643D-824F5B4A2F77}"/>
              </a:ext>
            </a:extLst>
          </p:cNvPr>
          <p:cNvSpPr>
            <a:spLocks noGrp="1"/>
          </p:cNvSpPr>
          <p:nvPr>
            <p:ph sz="quarter" idx="30"/>
          </p:nvPr>
        </p:nvSpPr>
        <p:spPr>
          <a:xfrm>
            <a:off x="4751388" y="401545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7" name="Google Shape;53;p21">
            <a:extLst>
              <a:ext uri="{FF2B5EF4-FFF2-40B4-BE49-F238E27FC236}">
                <a16:creationId xmlns:a16="http://schemas.microsoft.com/office/drawing/2014/main" id="{16066008-2BE6-0C46-C911-28D9B559BC17}"/>
              </a:ext>
            </a:extLst>
          </p:cNvPr>
          <p:cNvSpPr txBox="1">
            <a:spLocks noGrp="1"/>
          </p:cNvSpPr>
          <p:nvPr>
            <p:ph type="body" idx="31"/>
          </p:nvPr>
        </p:nvSpPr>
        <p:spPr>
          <a:xfrm>
            <a:off x="4751391"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8" name="Straight Connector 27">
            <a:extLst>
              <a:ext uri="{FF2B5EF4-FFF2-40B4-BE49-F238E27FC236}">
                <a16:creationId xmlns:a16="http://schemas.microsoft.com/office/drawing/2014/main" id="{F1F99845-067D-05A9-24EA-9D86C4AD5958}"/>
              </a:ext>
            </a:extLst>
          </p:cNvPr>
          <p:cNvCxnSpPr>
            <a:cxnSpLocks/>
          </p:cNvCxnSpPr>
          <p:nvPr userDrawn="1"/>
        </p:nvCxnSpPr>
        <p:spPr>
          <a:xfrm>
            <a:off x="4751390"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7562269"/>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4" orient="horz" pos="3906" userDrawn="1">
          <p15:clr>
            <a:srgbClr val="FBAE40"/>
          </p15:clr>
        </p15:guide>
        <p15:guide id="25" orient="horz" pos="867" userDrawn="1">
          <p15:clr>
            <a:srgbClr val="FBAE40"/>
          </p15:clr>
        </p15:guide>
        <p15:guide id="26" orient="horz" pos="2251" userDrawn="1">
          <p15:clr>
            <a:srgbClr val="FBAE40"/>
          </p15:clr>
        </p15:guide>
        <p15:guide id="27" orient="horz" pos="252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1x2 Content Slide (Vertical)">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4751389" y="1422038"/>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 name="Google Shape;53;p21">
            <a:extLst>
              <a:ext uri="{FF2B5EF4-FFF2-40B4-BE49-F238E27FC236}">
                <a16:creationId xmlns:a16="http://schemas.microsoft.com/office/drawing/2014/main" id="{10550B5A-EBB2-4ED7-AE01-276FB8EB559F}"/>
              </a:ext>
            </a:extLst>
          </p:cNvPr>
          <p:cNvSpPr txBox="1">
            <a:spLocks noGrp="1"/>
          </p:cNvSpPr>
          <p:nvPr>
            <p:ph type="body" idx="22"/>
          </p:nvPr>
        </p:nvSpPr>
        <p:spPr>
          <a:xfrm>
            <a:off x="4751391"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6" name="Straight Connector 5">
            <a:extLst>
              <a:ext uri="{FF2B5EF4-FFF2-40B4-BE49-F238E27FC236}">
                <a16:creationId xmlns:a16="http://schemas.microsoft.com/office/drawing/2014/main" id="{CE053653-BB11-23B5-A2BE-E385BA51B025}"/>
              </a:ext>
            </a:extLst>
          </p:cNvPr>
          <p:cNvCxnSpPr>
            <a:cxnSpLocks/>
          </p:cNvCxnSpPr>
          <p:nvPr userDrawn="1"/>
        </p:nvCxnSpPr>
        <p:spPr>
          <a:xfrm>
            <a:off x="4751390"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Content Placeholder 4">
            <a:extLst>
              <a:ext uri="{FF2B5EF4-FFF2-40B4-BE49-F238E27FC236}">
                <a16:creationId xmlns:a16="http://schemas.microsoft.com/office/drawing/2014/main" id="{8850C138-787A-AA16-0EBE-E16C777B226A}"/>
              </a:ext>
            </a:extLst>
          </p:cNvPr>
          <p:cNvSpPr>
            <a:spLocks noGrp="1"/>
          </p:cNvSpPr>
          <p:nvPr>
            <p:ph sz="quarter" idx="28"/>
          </p:nvPr>
        </p:nvSpPr>
        <p:spPr>
          <a:xfrm>
            <a:off x="250826" y="142203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0" name="Content Placeholder 4">
            <a:extLst>
              <a:ext uri="{FF2B5EF4-FFF2-40B4-BE49-F238E27FC236}">
                <a16:creationId xmlns:a16="http://schemas.microsoft.com/office/drawing/2014/main" id="{EDFF8629-AF17-3291-E716-E103B0688DC0}"/>
              </a:ext>
            </a:extLst>
          </p:cNvPr>
          <p:cNvSpPr>
            <a:spLocks noGrp="1"/>
          </p:cNvSpPr>
          <p:nvPr>
            <p:ph sz="quarter" idx="30"/>
          </p:nvPr>
        </p:nvSpPr>
        <p:spPr>
          <a:xfrm>
            <a:off x="250825" y="4055615"/>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2" name="Google Shape;53;p21">
            <a:extLst>
              <a:ext uri="{FF2B5EF4-FFF2-40B4-BE49-F238E27FC236}">
                <a16:creationId xmlns:a16="http://schemas.microsoft.com/office/drawing/2014/main" id="{C61387F0-5599-92FD-B37D-CF984C8AD5C6}"/>
              </a:ext>
            </a:extLst>
          </p:cNvPr>
          <p:cNvSpPr txBox="1">
            <a:spLocks noGrp="1"/>
          </p:cNvSpPr>
          <p:nvPr>
            <p:ph type="body" idx="31"/>
          </p:nvPr>
        </p:nvSpPr>
        <p:spPr>
          <a:xfrm>
            <a:off x="263065" y="3664033"/>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13" name="Straight Connector 12">
            <a:extLst>
              <a:ext uri="{FF2B5EF4-FFF2-40B4-BE49-F238E27FC236}">
                <a16:creationId xmlns:a16="http://schemas.microsoft.com/office/drawing/2014/main" id="{644C140B-1B48-E578-2F73-3878C4F62C82}"/>
              </a:ext>
            </a:extLst>
          </p:cNvPr>
          <p:cNvCxnSpPr>
            <a:cxnSpLocks/>
          </p:cNvCxnSpPr>
          <p:nvPr userDrawn="1"/>
        </p:nvCxnSpPr>
        <p:spPr>
          <a:xfrm>
            <a:off x="263065" y="3952958"/>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4552909"/>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2" orient="horz" pos="867" userDrawn="1">
          <p15:clr>
            <a:srgbClr val="FBAE40"/>
          </p15:clr>
        </p15:guide>
        <p15:guide id="24" orient="horz" pos="3906" userDrawn="1">
          <p15:clr>
            <a:srgbClr val="FBAE40"/>
          </p15:clr>
        </p15:guide>
        <p15:guide id="25" orient="horz" pos="2523" userDrawn="1">
          <p15:clr>
            <a:srgbClr val="FBAE40"/>
          </p15:clr>
        </p15:guide>
        <p15:guide id="26" orient="horz" pos="2251"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x1 Content Slide (Vertical)">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695EE02-2BA0-9E2D-A419-CDCE2D976F13}"/>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1800"/>
          </a:p>
        </p:txBody>
      </p:sp>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91"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303"/>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90"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303"/>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362002593"/>
      </p:ext>
    </p:extLst>
  </p:cSld>
  <p:clrMapOvr>
    <a:masterClrMapping/>
  </p:clrMapOvr>
  <p:extLst>
    <p:ext uri="{DCECCB84-F9BA-43D5-87BE-67443E8EF086}">
      <p15:sldGuideLst xmlns:p15="http://schemas.microsoft.com/office/powerpoint/2012/main">
        <p15:guide id="2" pos="5602">
          <p15:clr>
            <a:srgbClr val="F26B43"/>
          </p15:clr>
        </p15:guide>
        <p15:guide id="5" pos="158">
          <p15:clr>
            <a:srgbClr val="F26B43"/>
          </p15:clr>
        </p15:guide>
        <p15:guide id="8" orient="horz" pos="4201">
          <p15:clr>
            <a:srgbClr val="A4A3A4"/>
          </p15:clr>
        </p15:guide>
        <p15:guide id="9" orient="horz" pos="119">
          <p15:clr>
            <a:srgbClr val="A4A3A4"/>
          </p15:clr>
        </p15:guide>
        <p15:guide id="10" pos="2993">
          <p15:clr>
            <a:srgbClr val="F26B43"/>
          </p15:clr>
        </p15:guide>
        <p15:guide id="11" pos="2767">
          <p15:clr>
            <a:srgbClr val="F26B43"/>
          </p15:clr>
        </p15:guide>
        <p15:guide id="22" orient="horz" pos="867">
          <p15:clr>
            <a:srgbClr val="FBAE40"/>
          </p15:clr>
        </p15:guide>
        <p15:guide id="24" orient="horz" pos="390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955D981C-AB7B-3A72-2B31-CB9CAACFCA25}"/>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able Placeholder 3">
            <a:extLst>
              <a:ext uri="{FF2B5EF4-FFF2-40B4-BE49-F238E27FC236}">
                <a16:creationId xmlns:a16="http://schemas.microsoft.com/office/drawing/2014/main" id="{2CC5451C-476F-473A-A288-FD83A2033519}"/>
              </a:ext>
            </a:extLst>
          </p:cNvPr>
          <p:cNvSpPr>
            <a:spLocks noGrp="1"/>
          </p:cNvSpPr>
          <p:nvPr>
            <p:ph type="tbl" sz="quarter" idx="14"/>
          </p:nvPr>
        </p:nvSpPr>
        <p:spPr>
          <a:xfrm>
            <a:off x="250827" y="1006475"/>
            <a:ext cx="8642293" cy="5194298"/>
          </a:xfrm>
        </p:spPr>
        <p:txBody>
          <a:bodyPr/>
          <a:lstStyle>
            <a:lvl1pPr>
              <a:defRPr>
                <a:latin typeface="+mj-lt"/>
              </a:defRPr>
            </a:lvl1pPr>
          </a:lstStyle>
          <a:p>
            <a:endParaRPr lang="en-US"/>
          </a:p>
        </p:txBody>
      </p:sp>
      <p:sp>
        <p:nvSpPr>
          <p:cNvPr id="2" name="Title 1">
            <a:extLst>
              <a:ext uri="{FF2B5EF4-FFF2-40B4-BE49-F238E27FC236}">
                <a16:creationId xmlns:a16="http://schemas.microsoft.com/office/drawing/2014/main" id="{92B416A2-0B1F-F997-F81F-B76F221003E8}"/>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9" name="Text Placeholder 28">
            <a:extLst>
              <a:ext uri="{FF2B5EF4-FFF2-40B4-BE49-F238E27FC236}">
                <a16:creationId xmlns:a16="http://schemas.microsoft.com/office/drawing/2014/main" id="{4DF1139E-20AE-3AFC-B1A0-9EB723844B95}"/>
              </a:ext>
            </a:extLst>
          </p:cNvPr>
          <p:cNvSpPr>
            <a:spLocks noGrp="1"/>
          </p:cNvSpPr>
          <p:nvPr>
            <p:ph type="body" sz="quarter" idx="13" hasCustomPrompt="1"/>
          </p:nvPr>
        </p:nvSpPr>
        <p:spPr>
          <a:xfrm>
            <a:off x="250825" y="6308728"/>
            <a:ext cx="7645400" cy="360359"/>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sp>
        <p:nvSpPr>
          <p:cNvPr id="12" name="TextBox 11">
            <a:extLst>
              <a:ext uri="{FF2B5EF4-FFF2-40B4-BE49-F238E27FC236}">
                <a16:creationId xmlns:a16="http://schemas.microsoft.com/office/drawing/2014/main" id="{467895AD-2AD3-FE56-CF82-05C0911CE28C}"/>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23" name="Straight Connector 22">
            <a:extLst>
              <a:ext uri="{FF2B5EF4-FFF2-40B4-BE49-F238E27FC236}">
                <a16:creationId xmlns:a16="http://schemas.microsoft.com/office/drawing/2014/main" id="{0DD4A9D0-249F-62A1-44CD-E79E08784FD9}"/>
              </a:ext>
            </a:extLst>
          </p:cNvPr>
          <p:cNvCxnSpPr>
            <a:cxnSpLocks/>
          </p:cNvCxnSpPr>
          <p:nvPr userDrawn="1"/>
        </p:nvCxnSpPr>
        <p:spPr>
          <a:xfrm>
            <a:off x="250827" y="584200"/>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3" name="Table 8">
            <a:extLst>
              <a:ext uri="{FF2B5EF4-FFF2-40B4-BE49-F238E27FC236}">
                <a16:creationId xmlns:a16="http://schemas.microsoft.com/office/drawing/2014/main" id="{CF429F5C-D75C-6FD0-12CB-BBD6FFAD0CF5}"/>
              </a:ext>
            </a:extLst>
          </p:cNvPr>
          <p:cNvGraphicFramePr>
            <a:graphicFrameLocks/>
          </p:cNvGraphicFramePr>
          <p:nvPr userDrawn="1">
            <p:extLst>
              <p:ext uri="{D42A27DB-BD31-4B8C-83A1-F6EECF244321}">
                <p14:modId xmlns:p14="http://schemas.microsoft.com/office/powerpoint/2010/main" val="3043552226"/>
              </p:ext>
            </p:extLst>
          </p:nvPr>
        </p:nvGraphicFramePr>
        <p:xfrm>
          <a:off x="256375" y="-434857"/>
          <a:ext cx="4136238" cy="274320"/>
        </p:xfrm>
        <a:graphic>
          <a:graphicData uri="http://schemas.openxmlformats.org/drawingml/2006/table">
            <a:tbl>
              <a:tblPr firstRow="1" bandRow="1">
                <a:tableStyleId>{5C22544A-7EE6-4342-B048-85BDC9FD1C3A}</a:tableStyleId>
              </a:tblPr>
              <a:tblGrid>
                <a:gridCol w="4136238">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cxnSp>
        <p:nvCxnSpPr>
          <p:cNvPr id="7" name="Straight Connector 6">
            <a:extLst>
              <a:ext uri="{FF2B5EF4-FFF2-40B4-BE49-F238E27FC236}">
                <a16:creationId xmlns:a16="http://schemas.microsoft.com/office/drawing/2014/main" id="{6B8CDC80-B872-625A-1796-62B38E9E4722}"/>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8732608"/>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4" orient="horz" pos="640" userDrawn="1">
          <p15:clr>
            <a:srgbClr val="FBAE40"/>
          </p15:clr>
        </p15:guide>
        <p15:guide id="15" orient="horz" pos="390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x4 Content Slide">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93F31B5-E32A-891A-9BDD-223FF44E1C77}"/>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1800"/>
          </a:p>
        </p:txBody>
      </p:sp>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91"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303"/>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90"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8"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303"/>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5" y="401545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5" name="Content Placeholder 4">
            <a:extLst>
              <a:ext uri="{FF2B5EF4-FFF2-40B4-BE49-F238E27FC236}">
                <a16:creationId xmlns:a16="http://schemas.microsoft.com/office/drawing/2014/main" id="{67473D30-D304-DC63-643D-824F5B4A2F77}"/>
              </a:ext>
            </a:extLst>
          </p:cNvPr>
          <p:cNvSpPr>
            <a:spLocks noGrp="1"/>
          </p:cNvSpPr>
          <p:nvPr>
            <p:ph sz="quarter" idx="30"/>
          </p:nvPr>
        </p:nvSpPr>
        <p:spPr>
          <a:xfrm>
            <a:off x="4751388" y="401545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7" name="Google Shape;53;p21">
            <a:extLst>
              <a:ext uri="{FF2B5EF4-FFF2-40B4-BE49-F238E27FC236}">
                <a16:creationId xmlns:a16="http://schemas.microsoft.com/office/drawing/2014/main" id="{16066008-2BE6-0C46-C911-28D9B559BC17}"/>
              </a:ext>
            </a:extLst>
          </p:cNvPr>
          <p:cNvSpPr txBox="1">
            <a:spLocks noGrp="1"/>
          </p:cNvSpPr>
          <p:nvPr>
            <p:ph type="body" idx="31"/>
          </p:nvPr>
        </p:nvSpPr>
        <p:spPr>
          <a:xfrm>
            <a:off x="4751391"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8" name="Straight Connector 27">
            <a:extLst>
              <a:ext uri="{FF2B5EF4-FFF2-40B4-BE49-F238E27FC236}">
                <a16:creationId xmlns:a16="http://schemas.microsoft.com/office/drawing/2014/main" id="{F1F99845-067D-05A9-24EA-9D86C4AD5958}"/>
              </a:ext>
            </a:extLst>
          </p:cNvPr>
          <p:cNvCxnSpPr>
            <a:cxnSpLocks/>
          </p:cNvCxnSpPr>
          <p:nvPr userDrawn="1"/>
        </p:nvCxnSpPr>
        <p:spPr>
          <a:xfrm>
            <a:off x="4751390"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7562269"/>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4" orient="horz" pos="3906" userDrawn="1">
          <p15:clr>
            <a:srgbClr val="FBAE40"/>
          </p15:clr>
        </p15:guide>
        <p15:guide id="25" orient="horz" pos="867" userDrawn="1">
          <p15:clr>
            <a:srgbClr val="FBAE40"/>
          </p15:clr>
        </p15:guide>
        <p15:guide id="26" orient="horz" pos="2251" userDrawn="1">
          <p15:clr>
            <a:srgbClr val="FBAE40"/>
          </p15:clr>
        </p15:guide>
        <p15:guide id="27" orient="horz" pos="252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x1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91"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303"/>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90"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864234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8" y="3935143"/>
            <a:ext cx="864234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303"/>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7" y="4015458"/>
            <a:ext cx="8642350"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843728401"/>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9" orient="horz" pos="2523" userDrawn="1">
          <p15:clr>
            <a:srgbClr val="FBAE40"/>
          </p15:clr>
        </p15:guide>
        <p15:guide id="22" orient="horz" pos="867" userDrawn="1">
          <p15:clr>
            <a:srgbClr val="FBAE40"/>
          </p15:clr>
        </p15:guide>
        <p15:guide id="24" orient="horz" pos="390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x2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6" y="1384303"/>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8" y="1016004"/>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8"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5" y="401545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5" name="Content Placeholder 4">
            <a:extLst>
              <a:ext uri="{FF2B5EF4-FFF2-40B4-BE49-F238E27FC236}">
                <a16:creationId xmlns:a16="http://schemas.microsoft.com/office/drawing/2014/main" id="{67473D30-D304-DC63-643D-824F5B4A2F77}"/>
              </a:ext>
            </a:extLst>
          </p:cNvPr>
          <p:cNvSpPr>
            <a:spLocks noGrp="1"/>
          </p:cNvSpPr>
          <p:nvPr>
            <p:ph sz="quarter" idx="30"/>
          </p:nvPr>
        </p:nvSpPr>
        <p:spPr>
          <a:xfrm>
            <a:off x="4751388" y="401545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7" name="Google Shape;53;p21">
            <a:extLst>
              <a:ext uri="{FF2B5EF4-FFF2-40B4-BE49-F238E27FC236}">
                <a16:creationId xmlns:a16="http://schemas.microsoft.com/office/drawing/2014/main" id="{16066008-2BE6-0C46-C911-28D9B559BC17}"/>
              </a:ext>
            </a:extLst>
          </p:cNvPr>
          <p:cNvSpPr txBox="1">
            <a:spLocks noGrp="1"/>
          </p:cNvSpPr>
          <p:nvPr>
            <p:ph type="body" idx="31"/>
          </p:nvPr>
        </p:nvSpPr>
        <p:spPr>
          <a:xfrm>
            <a:off x="4751391"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8" name="Straight Connector 27">
            <a:extLst>
              <a:ext uri="{FF2B5EF4-FFF2-40B4-BE49-F238E27FC236}">
                <a16:creationId xmlns:a16="http://schemas.microsoft.com/office/drawing/2014/main" id="{F1F99845-067D-05A9-24EA-9D86C4AD5958}"/>
              </a:ext>
            </a:extLst>
          </p:cNvPr>
          <p:cNvCxnSpPr>
            <a:cxnSpLocks/>
          </p:cNvCxnSpPr>
          <p:nvPr userDrawn="1"/>
        </p:nvCxnSpPr>
        <p:spPr>
          <a:xfrm>
            <a:off x="4751390"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220734"/>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9" orient="horz" pos="2523" userDrawn="1">
          <p15:clr>
            <a:srgbClr val="FBAE40"/>
          </p15:clr>
        </p15:guide>
        <p15:guide id="22" orient="horz" pos="867" userDrawn="1">
          <p15:clr>
            <a:srgbClr val="FBAE40"/>
          </p15:clr>
        </p15:guide>
        <p15:guide id="24" orient="horz" pos="3906" userDrawn="1">
          <p15:clr>
            <a:srgbClr val="FBAE40"/>
          </p15:clr>
        </p15:guide>
        <p15:guide id="25" orient="horz" pos="225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x1 Content Slide (Horizontal)">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6" y="1384303"/>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8" y="1016004"/>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8" y="3646218"/>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8" y="3935143"/>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6" y="4015458"/>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16031984"/>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8" orient="horz" pos="2251" userDrawn="1">
          <p15:clr>
            <a:srgbClr val="FBAE40"/>
          </p15:clr>
        </p15:guide>
        <p15:guide id="19" orient="horz" pos="2523" userDrawn="1">
          <p15:clr>
            <a:srgbClr val="FBAE40"/>
          </p15:clr>
        </p15:guide>
        <p15:guide id="22" orient="horz" pos="867" userDrawn="1">
          <p15:clr>
            <a:srgbClr val="FBAE40"/>
          </p15:clr>
        </p15:guide>
        <p15:guide id="24" orient="horz" pos="390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x1 Content Slide (Vertical)">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695EE02-2BA0-9E2D-A419-CDCE2D976F13}"/>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1800"/>
          </a:p>
        </p:txBody>
      </p:sp>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91"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303"/>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90"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303"/>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221552074"/>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2" orient="horz" pos="867" userDrawn="1">
          <p15:clr>
            <a:srgbClr val="FBAE40"/>
          </p15:clr>
        </p15:guide>
        <p15:guide id="24" orient="horz" pos="390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x2 Content Slide (Vertical)">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303"/>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 name="Google Shape;53;p21">
            <a:extLst>
              <a:ext uri="{FF2B5EF4-FFF2-40B4-BE49-F238E27FC236}">
                <a16:creationId xmlns:a16="http://schemas.microsoft.com/office/drawing/2014/main" id="{10550B5A-EBB2-4ED7-AE01-276FB8EB559F}"/>
              </a:ext>
            </a:extLst>
          </p:cNvPr>
          <p:cNvSpPr txBox="1">
            <a:spLocks noGrp="1"/>
          </p:cNvSpPr>
          <p:nvPr>
            <p:ph type="body" idx="22"/>
          </p:nvPr>
        </p:nvSpPr>
        <p:spPr>
          <a:xfrm>
            <a:off x="4751391"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6" name="Straight Connector 5">
            <a:extLst>
              <a:ext uri="{FF2B5EF4-FFF2-40B4-BE49-F238E27FC236}">
                <a16:creationId xmlns:a16="http://schemas.microsoft.com/office/drawing/2014/main" id="{CE053653-BB11-23B5-A2BE-E385BA51B025}"/>
              </a:ext>
            </a:extLst>
          </p:cNvPr>
          <p:cNvCxnSpPr>
            <a:cxnSpLocks/>
          </p:cNvCxnSpPr>
          <p:nvPr userDrawn="1"/>
        </p:nvCxnSpPr>
        <p:spPr>
          <a:xfrm>
            <a:off x="4751390"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Content Placeholder 4">
            <a:extLst>
              <a:ext uri="{FF2B5EF4-FFF2-40B4-BE49-F238E27FC236}">
                <a16:creationId xmlns:a16="http://schemas.microsoft.com/office/drawing/2014/main" id="{8850C138-787A-AA16-0EBE-E16C777B226A}"/>
              </a:ext>
            </a:extLst>
          </p:cNvPr>
          <p:cNvSpPr>
            <a:spLocks noGrp="1"/>
          </p:cNvSpPr>
          <p:nvPr>
            <p:ph sz="quarter" idx="28"/>
          </p:nvPr>
        </p:nvSpPr>
        <p:spPr>
          <a:xfrm>
            <a:off x="4751388" y="1384303"/>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0" name="Content Placeholder 4">
            <a:extLst>
              <a:ext uri="{FF2B5EF4-FFF2-40B4-BE49-F238E27FC236}">
                <a16:creationId xmlns:a16="http://schemas.microsoft.com/office/drawing/2014/main" id="{EDFF8629-AF17-3291-E716-E103B0688DC0}"/>
              </a:ext>
            </a:extLst>
          </p:cNvPr>
          <p:cNvSpPr>
            <a:spLocks noGrp="1"/>
          </p:cNvSpPr>
          <p:nvPr>
            <p:ph sz="quarter" idx="30"/>
          </p:nvPr>
        </p:nvSpPr>
        <p:spPr>
          <a:xfrm>
            <a:off x="4751388" y="401545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2" name="Google Shape;53;p21">
            <a:extLst>
              <a:ext uri="{FF2B5EF4-FFF2-40B4-BE49-F238E27FC236}">
                <a16:creationId xmlns:a16="http://schemas.microsoft.com/office/drawing/2014/main" id="{C61387F0-5599-92FD-B37D-CF984C8AD5C6}"/>
              </a:ext>
            </a:extLst>
          </p:cNvPr>
          <p:cNvSpPr txBox="1">
            <a:spLocks noGrp="1"/>
          </p:cNvSpPr>
          <p:nvPr>
            <p:ph type="body" idx="31"/>
          </p:nvPr>
        </p:nvSpPr>
        <p:spPr>
          <a:xfrm>
            <a:off x="4751391"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13" name="Straight Connector 12">
            <a:extLst>
              <a:ext uri="{FF2B5EF4-FFF2-40B4-BE49-F238E27FC236}">
                <a16:creationId xmlns:a16="http://schemas.microsoft.com/office/drawing/2014/main" id="{644C140B-1B48-E578-2F73-3878C4F62C82}"/>
              </a:ext>
            </a:extLst>
          </p:cNvPr>
          <p:cNvCxnSpPr>
            <a:cxnSpLocks/>
          </p:cNvCxnSpPr>
          <p:nvPr userDrawn="1"/>
        </p:nvCxnSpPr>
        <p:spPr>
          <a:xfrm>
            <a:off x="4751390"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5466815"/>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2" orient="horz" pos="867" userDrawn="1">
          <p15:clr>
            <a:srgbClr val="FBAE40"/>
          </p15:clr>
        </p15:guide>
        <p15:guide id="24" orient="horz" pos="3906" userDrawn="1">
          <p15:clr>
            <a:srgbClr val="FBAE40"/>
          </p15:clr>
        </p15:guide>
        <p15:guide id="25" orient="horz" pos="2523" userDrawn="1">
          <p15:clr>
            <a:srgbClr val="FBAE40"/>
          </p15:clr>
        </p15:guide>
        <p15:guide id="26" orient="horz" pos="225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1.jpeg"/><Relationship Id="rId5" Type="http://schemas.openxmlformats.org/officeDocument/2006/relationships/slideLayout" Target="../slideLayouts/slideLayout18.xml"/><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Master Tit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Level 1</a:t>
            </a:r>
          </a:p>
          <a:p>
            <a:pPr lvl="1"/>
            <a:r>
              <a:rPr lang="en-US"/>
              <a:t>Level 2</a:t>
            </a:r>
          </a:p>
          <a:p>
            <a:pPr lvl="2"/>
            <a:r>
              <a:rPr lang="en-US"/>
              <a:t>Level 3</a:t>
            </a:r>
          </a:p>
          <a:p>
            <a:pPr lvl="3"/>
            <a:r>
              <a:rPr lang="en-US"/>
              <a:t>Level 4</a:t>
            </a:r>
          </a:p>
          <a:p>
            <a:pPr lvl="4"/>
            <a:r>
              <a:rPr lang="en-US"/>
              <a:t>Level 5</a:t>
            </a:r>
          </a:p>
        </p:txBody>
      </p:sp>
      <p:sp>
        <p:nvSpPr>
          <p:cNvPr id="8" name="Date Placeholder 7">
            <a:extLst>
              <a:ext uri="{FF2B5EF4-FFF2-40B4-BE49-F238E27FC236}">
                <a16:creationId xmlns:a16="http://schemas.microsoft.com/office/drawing/2014/main" id="{D812E4C5-967F-4468-9D64-7C21F0F98D40}"/>
              </a:ext>
            </a:extLst>
          </p:cNvPr>
          <p:cNvSpPr>
            <a:spLocks noGrp="1"/>
          </p:cNvSpPr>
          <p:nvPr>
            <p:ph type="dt" sz="half" idx="2"/>
          </p:nvPr>
        </p:nvSpPr>
        <p:spPr>
          <a:xfrm>
            <a:off x="628650" y="6356358"/>
            <a:ext cx="20574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fld id="{368A9EC3-EB35-4F5D-A481-D043DD8BAC84}" type="datetimeFigureOut">
              <a:rPr lang="en-US" smtClean="0"/>
              <a:pPr/>
              <a:t>2/24/2025</a:t>
            </a:fld>
            <a:endParaRPr lang="en-US"/>
          </a:p>
        </p:txBody>
      </p:sp>
      <p:sp>
        <p:nvSpPr>
          <p:cNvPr id="9" name="Footer Placeholder 8">
            <a:extLst>
              <a:ext uri="{FF2B5EF4-FFF2-40B4-BE49-F238E27FC236}">
                <a16:creationId xmlns:a16="http://schemas.microsoft.com/office/drawing/2014/main" id="{CC3C1695-E68D-41C7-86C7-181E28280176}"/>
              </a:ext>
            </a:extLst>
          </p:cNvPr>
          <p:cNvSpPr>
            <a:spLocks noGrp="1"/>
          </p:cNvSpPr>
          <p:nvPr>
            <p:ph type="ftr" sz="quarter" idx="3"/>
          </p:nvPr>
        </p:nvSpPr>
        <p:spPr>
          <a:xfrm>
            <a:off x="3028950" y="6356358"/>
            <a:ext cx="3086100" cy="365125"/>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endParaRPr lang="en-US"/>
          </a:p>
        </p:txBody>
      </p:sp>
      <p:sp>
        <p:nvSpPr>
          <p:cNvPr id="10" name="Slide Number Placeholder 9">
            <a:extLst>
              <a:ext uri="{FF2B5EF4-FFF2-40B4-BE49-F238E27FC236}">
                <a16:creationId xmlns:a16="http://schemas.microsoft.com/office/drawing/2014/main" id="{5C547560-5BA1-421D-911E-18D76B3441D6}"/>
              </a:ext>
            </a:extLst>
          </p:cNvPr>
          <p:cNvSpPr>
            <a:spLocks noGrp="1"/>
          </p:cNvSpPr>
          <p:nvPr>
            <p:ph type="sldNum" sz="quarter" idx="4"/>
          </p:nvPr>
        </p:nvSpPr>
        <p:spPr>
          <a:xfrm>
            <a:off x="6457950" y="6356358"/>
            <a:ext cx="2057400" cy="365125"/>
          </a:xfrm>
          <a:prstGeom prst="rect">
            <a:avLst/>
          </a:prstGeom>
        </p:spPr>
        <p:txBody>
          <a:bodyPr vert="horz" lIns="91440" tIns="45720" rIns="91440" bIns="45720" rtlCol="0" anchor="ctr"/>
          <a:lstStyle>
            <a:lvl1pPr algn="r">
              <a:defRPr sz="1200">
                <a:solidFill>
                  <a:schemeClr val="tx1">
                    <a:tint val="75000"/>
                  </a:schemeClr>
                </a:solidFill>
                <a:latin typeface="+mj-lt"/>
                <a:cs typeface="Goldman Sans Thin" panose="020B0303020203020204" pitchFamily="34" charset="0"/>
              </a:defRPr>
            </a:lvl1pPr>
          </a:lstStyle>
          <a:p>
            <a:fld id="{1B80B332-6B81-4811-A13B-2B89943A5333}" type="slidenum">
              <a:rPr lang="en-US" smtClean="0"/>
              <a:pPr/>
              <a:t>‹#›</a:t>
            </a:fld>
            <a:endParaRPr lang="en-US"/>
          </a:p>
        </p:txBody>
      </p:sp>
      <p:sp>
        <p:nvSpPr>
          <p:cNvPr id="4" name="Rectangle 3">
            <a:extLst>
              <a:ext uri="{FF2B5EF4-FFF2-40B4-BE49-F238E27FC236}">
                <a16:creationId xmlns:a16="http://schemas.microsoft.com/office/drawing/2014/main" id="{A3E98B7F-4DAA-1283-5D39-68D4AEAFC324}"/>
              </a:ext>
            </a:extLst>
          </p:cNvPr>
          <p:cNvSpPr/>
          <p:nvPr userDrawn="1"/>
        </p:nvSpPr>
        <p:spPr>
          <a:xfrm>
            <a:off x="-1963479" y="0"/>
            <a:ext cx="1842977" cy="5341120"/>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900">
              <a:solidFill>
                <a:schemeClr val="tx1"/>
              </a:solidFill>
              <a:latin typeface="+mj-lt"/>
            </a:endParaRPr>
          </a:p>
        </p:txBody>
      </p:sp>
      <p:graphicFrame>
        <p:nvGraphicFramePr>
          <p:cNvPr id="6" name="Table 8">
            <a:extLst>
              <a:ext uri="{FF2B5EF4-FFF2-40B4-BE49-F238E27FC236}">
                <a16:creationId xmlns:a16="http://schemas.microsoft.com/office/drawing/2014/main" id="{AC2C8BEE-05CE-E164-CC60-9DCF360E0523}"/>
              </a:ext>
            </a:extLst>
          </p:cNvPr>
          <p:cNvGraphicFramePr>
            <a:graphicFrameLocks/>
          </p:cNvGraphicFramePr>
          <p:nvPr userDrawn="1">
            <p:extLst>
              <p:ext uri="{D42A27DB-BD31-4B8C-83A1-F6EECF244321}">
                <p14:modId xmlns:p14="http://schemas.microsoft.com/office/powerpoint/2010/main" val="288712700"/>
              </p:ext>
            </p:extLst>
          </p:nvPr>
        </p:nvGraphicFramePr>
        <p:xfrm>
          <a:off x="-1757915" y="141441"/>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a:solidFill>
                            <a:schemeClr val="tx2"/>
                          </a:solidFill>
                          <a:latin typeface="+mj-lt"/>
                        </a:rPr>
                        <a:t>Font 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Rectangle 6">
            <a:extLst>
              <a:ext uri="{FF2B5EF4-FFF2-40B4-BE49-F238E27FC236}">
                <a16:creationId xmlns:a16="http://schemas.microsoft.com/office/drawing/2014/main" id="{35AEC9A5-A30E-99DB-F0F9-CC2A83CEBFB0}"/>
              </a:ext>
            </a:extLst>
          </p:cNvPr>
          <p:cNvSpPr/>
          <p:nvPr userDrawn="1"/>
        </p:nvSpPr>
        <p:spPr>
          <a:xfrm>
            <a:off x="-1757915" y="484666"/>
            <a:ext cx="623775" cy="623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0</a:t>
            </a:r>
          </a:p>
          <a:p>
            <a:pPr algn="ctr"/>
            <a:r>
              <a:rPr lang="en-US" sz="1051"/>
              <a:t>0</a:t>
            </a:r>
          </a:p>
          <a:p>
            <a:pPr algn="ctr"/>
            <a:r>
              <a:rPr lang="en-US" sz="1051"/>
              <a:t>0</a:t>
            </a:r>
          </a:p>
        </p:txBody>
      </p:sp>
      <p:sp>
        <p:nvSpPr>
          <p:cNvPr id="12" name="TextBox 11">
            <a:extLst>
              <a:ext uri="{FF2B5EF4-FFF2-40B4-BE49-F238E27FC236}">
                <a16:creationId xmlns:a16="http://schemas.microsoft.com/office/drawing/2014/main" id="{44718FC3-D108-23F3-F8EC-696452B21295}"/>
              </a:ext>
            </a:extLst>
          </p:cNvPr>
          <p:cNvSpPr txBox="1"/>
          <p:nvPr userDrawn="1"/>
        </p:nvSpPr>
        <p:spPr>
          <a:xfrm>
            <a:off x="-1793358" y="1156214"/>
            <a:ext cx="694661" cy="254044"/>
          </a:xfrm>
          <a:prstGeom prst="rect">
            <a:avLst/>
          </a:prstGeom>
          <a:noFill/>
        </p:spPr>
        <p:txBody>
          <a:bodyPr wrap="square" rtlCol="0">
            <a:spAutoFit/>
          </a:bodyPr>
          <a:lstStyle/>
          <a:p>
            <a:pPr algn="ctr"/>
            <a:r>
              <a:rPr lang="en-US" sz="1051"/>
              <a:t>General</a:t>
            </a:r>
            <a:endParaRPr lang="en-CA" sz="1051"/>
          </a:p>
        </p:txBody>
      </p:sp>
      <p:sp>
        <p:nvSpPr>
          <p:cNvPr id="13" name="Rectangle 12">
            <a:extLst>
              <a:ext uri="{FF2B5EF4-FFF2-40B4-BE49-F238E27FC236}">
                <a16:creationId xmlns:a16="http://schemas.microsoft.com/office/drawing/2014/main" id="{D14F1B15-4C5A-BD8F-A30A-BD19EEDF4B53}"/>
              </a:ext>
            </a:extLst>
          </p:cNvPr>
          <p:cNvSpPr/>
          <p:nvPr userDrawn="1"/>
        </p:nvSpPr>
        <p:spPr>
          <a:xfrm>
            <a:off x="-881171" y="484666"/>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15</a:t>
            </a:r>
          </a:p>
          <a:p>
            <a:pPr algn="ctr"/>
            <a:r>
              <a:rPr lang="en-US" sz="1051"/>
              <a:t>53</a:t>
            </a:r>
          </a:p>
          <a:p>
            <a:pPr algn="ctr"/>
            <a:r>
              <a:rPr lang="en-US" sz="1051"/>
              <a:t>87</a:t>
            </a:r>
          </a:p>
        </p:txBody>
      </p:sp>
      <p:sp>
        <p:nvSpPr>
          <p:cNvPr id="14" name="TextBox 13">
            <a:extLst>
              <a:ext uri="{FF2B5EF4-FFF2-40B4-BE49-F238E27FC236}">
                <a16:creationId xmlns:a16="http://schemas.microsoft.com/office/drawing/2014/main" id="{50A98D96-C95C-34D5-0119-DA7D722BF98C}"/>
              </a:ext>
            </a:extLst>
          </p:cNvPr>
          <p:cNvSpPr txBox="1"/>
          <p:nvPr userDrawn="1"/>
        </p:nvSpPr>
        <p:spPr>
          <a:xfrm>
            <a:off x="-916614" y="1156214"/>
            <a:ext cx="694661" cy="254044"/>
          </a:xfrm>
          <a:prstGeom prst="rect">
            <a:avLst/>
          </a:prstGeom>
          <a:noFill/>
        </p:spPr>
        <p:txBody>
          <a:bodyPr wrap="square" rtlCol="0">
            <a:spAutoFit/>
          </a:bodyPr>
          <a:lstStyle/>
          <a:p>
            <a:pPr algn="ctr"/>
            <a:r>
              <a:rPr lang="en-US" sz="1051" err="1"/>
              <a:t>Colour</a:t>
            </a:r>
            <a:endParaRPr lang="en-CA" sz="1051"/>
          </a:p>
        </p:txBody>
      </p:sp>
      <p:graphicFrame>
        <p:nvGraphicFramePr>
          <p:cNvPr id="15" name="Table 8">
            <a:extLst>
              <a:ext uri="{FF2B5EF4-FFF2-40B4-BE49-F238E27FC236}">
                <a16:creationId xmlns:a16="http://schemas.microsoft.com/office/drawing/2014/main" id="{670A8C97-741E-2B82-1217-8F2BC954A4DD}"/>
              </a:ext>
            </a:extLst>
          </p:cNvPr>
          <p:cNvGraphicFramePr>
            <a:graphicFrameLocks/>
          </p:cNvGraphicFramePr>
          <p:nvPr userDrawn="1">
            <p:extLst>
              <p:ext uri="{D42A27DB-BD31-4B8C-83A1-F6EECF244321}">
                <p14:modId xmlns:p14="http://schemas.microsoft.com/office/powerpoint/2010/main" val="3776632960"/>
              </p:ext>
            </p:extLst>
          </p:nvPr>
        </p:nvGraphicFramePr>
        <p:xfrm>
          <a:off x="-1757915" y="1500662"/>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7" name="TextBox 16">
            <a:extLst>
              <a:ext uri="{FF2B5EF4-FFF2-40B4-BE49-F238E27FC236}">
                <a16:creationId xmlns:a16="http://schemas.microsoft.com/office/drawing/2014/main" id="{686F4546-CD9C-FAF7-D157-367198FCCFC5}"/>
              </a:ext>
            </a:extLst>
          </p:cNvPr>
          <p:cNvSpPr txBox="1"/>
          <p:nvPr userDrawn="1"/>
        </p:nvSpPr>
        <p:spPr>
          <a:xfrm>
            <a:off x="-1793358" y="2514207"/>
            <a:ext cx="694661" cy="254044"/>
          </a:xfrm>
          <a:prstGeom prst="rect">
            <a:avLst/>
          </a:prstGeom>
          <a:noFill/>
        </p:spPr>
        <p:txBody>
          <a:bodyPr wrap="square" rtlCol="0">
            <a:spAutoFit/>
          </a:bodyPr>
          <a:lstStyle/>
          <a:p>
            <a:pPr algn="ctr"/>
            <a:r>
              <a:rPr lang="en-US" sz="1051"/>
              <a:t>Primary</a:t>
            </a:r>
            <a:endParaRPr lang="en-CA" sz="1051"/>
          </a:p>
        </p:txBody>
      </p:sp>
      <p:sp>
        <p:nvSpPr>
          <p:cNvPr id="18" name="Rectangle 17">
            <a:extLst>
              <a:ext uri="{FF2B5EF4-FFF2-40B4-BE49-F238E27FC236}">
                <a16:creationId xmlns:a16="http://schemas.microsoft.com/office/drawing/2014/main" id="{5ED42EC4-8947-9721-80D1-EE1CA1F5A265}"/>
              </a:ext>
            </a:extLst>
          </p:cNvPr>
          <p:cNvSpPr/>
          <p:nvPr userDrawn="1"/>
        </p:nvSpPr>
        <p:spPr>
          <a:xfrm>
            <a:off x="-1757918" y="1842659"/>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15</a:t>
            </a:r>
          </a:p>
          <a:p>
            <a:pPr algn="ctr"/>
            <a:r>
              <a:rPr lang="en-US" sz="1051"/>
              <a:t>53</a:t>
            </a:r>
          </a:p>
          <a:p>
            <a:pPr algn="ctr"/>
            <a:r>
              <a:rPr lang="en-US" sz="1051"/>
              <a:t>87</a:t>
            </a:r>
          </a:p>
        </p:txBody>
      </p:sp>
      <p:sp>
        <p:nvSpPr>
          <p:cNvPr id="19" name="TextBox 18">
            <a:extLst>
              <a:ext uri="{FF2B5EF4-FFF2-40B4-BE49-F238E27FC236}">
                <a16:creationId xmlns:a16="http://schemas.microsoft.com/office/drawing/2014/main" id="{AED6A09F-12BA-D7F4-2ABC-B96450364D82}"/>
              </a:ext>
            </a:extLst>
          </p:cNvPr>
          <p:cNvSpPr txBox="1"/>
          <p:nvPr userDrawn="1"/>
        </p:nvSpPr>
        <p:spPr>
          <a:xfrm>
            <a:off x="-989556" y="2514207"/>
            <a:ext cx="840540" cy="254044"/>
          </a:xfrm>
          <a:prstGeom prst="rect">
            <a:avLst/>
          </a:prstGeom>
          <a:noFill/>
        </p:spPr>
        <p:txBody>
          <a:bodyPr wrap="square" rtlCol="0">
            <a:spAutoFit/>
          </a:bodyPr>
          <a:lstStyle/>
          <a:p>
            <a:pPr algn="ctr"/>
            <a:r>
              <a:rPr lang="en-US" sz="1051"/>
              <a:t>Secondary</a:t>
            </a:r>
            <a:endParaRPr lang="en-CA" sz="1051"/>
          </a:p>
        </p:txBody>
      </p:sp>
      <p:sp>
        <p:nvSpPr>
          <p:cNvPr id="20" name="Rectangle 19">
            <a:extLst>
              <a:ext uri="{FF2B5EF4-FFF2-40B4-BE49-F238E27FC236}">
                <a16:creationId xmlns:a16="http://schemas.microsoft.com/office/drawing/2014/main" id="{5EC362E1-6B32-9857-8DA7-1B92BF9B60D5}"/>
              </a:ext>
            </a:extLst>
          </p:cNvPr>
          <p:cNvSpPr/>
          <p:nvPr userDrawn="1"/>
        </p:nvSpPr>
        <p:spPr>
          <a:xfrm>
            <a:off x="-881171" y="1842659"/>
            <a:ext cx="623775" cy="623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46</a:t>
            </a:r>
          </a:p>
          <a:p>
            <a:pPr algn="ctr"/>
            <a:r>
              <a:rPr lang="en-US" sz="1051"/>
              <a:t>137</a:t>
            </a:r>
          </a:p>
          <a:p>
            <a:pPr algn="ctr"/>
            <a:r>
              <a:rPr lang="en-US" sz="1051"/>
              <a:t>219</a:t>
            </a:r>
          </a:p>
        </p:txBody>
      </p:sp>
      <p:sp>
        <p:nvSpPr>
          <p:cNvPr id="22" name="TextBox 21">
            <a:extLst>
              <a:ext uri="{FF2B5EF4-FFF2-40B4-BE49-F238E27FC236}">
                <a16:creationId xmlns:a16="http://schemas.microsoft.com/office/drawing/2014/main" id="{C4206984-2D8C-7BE3-8259-EE4E72C938F5}"/>
              </a:ext>
            </a:extLst>
          </p:cNvPr>
          <p:cNvSpPr txBox="1"/>
          <p:nvPr userDrawn="1"/>
        </p:nvSpPr>
        <p:spPr>
          <a:xfrm>
            <a:off x="-1828093" y="3530206"/>
            <a:ext cx="764127" cy="254044"/>
          </a:xfrm>
          <a:prstGeom prst="rect">
            <a:avLst/>
          </a:prstGeom>
          <a:noFill/>
        </p:spPr>
        <p:txBody>
          <a:bodyPr wrap="square" rtlCol="0">
            <a:spAutoFit/>
          </a:bodyPr>
          <a:lstStyle/>
          <a:p>
            <a:pPr algn="ctr"/>
            <a:r>
              <a:rPr lang="en-US" sz="1051"/>
              <a:t>Accent 1</a:t>
            </a:r>
            <a:endParaRPr lang="en-CA" sz="1051"/>
          </a:p>
        </p:txBody>
      </p:sp>
      <p:sp>
        <p:nvSpPr>
          <p:cNvPr id="28" name="Rectangle 27">
            <a:extLst>
              <a:ext uri="{FF2B5EF4-FFF2-40B4-BE49-F238E27FC236}">
                <a16:creationId xmlns:a16="http://schemas.microsoft.com/office/drawing/2014/main" id="{10FBCB18-432E-6447-D0DF-A685A45E862C}"/>
              </a:ext>
            </a:extLst>
          </p:cNvPr>
          <p:cNvSpPr/>
          <p:nvPr userDrawn="1"/>
        </p:nvSpPr>
        <p:spPr>
          <a:xfrm>
            <a:off x="-1757918" y="2858659"/>
            <a:ext cx="623775" cy="623775"/>
          </a:xfrm>
          <a:prstGeom prst="rect">
            <a:avLst/>
          </a:prstGeom>
          <a:solidFill>
            <a:srgbClr val="74B1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116</a:t>
            </a:r>
          </a:p>
          <a:p>
            <a:pPr algn="ctr"/>
            <a:r>
              <a:rPr lang="en-US" sz="1051"/>
              <a:t>177</a:t>
            </a:r>
          </a:p>
          <a:p>
            <a:pPr algn="ctr"/>
            <a:r>
              <a:rPr lang="en-US" sz="1051"/>
              <a:t>231</a:t>
            </a:r>
          </a:p>
        </p:txBody>
      </p:sp>
      <p:sp>
        <p:nvSpPr>
          <p:cNvPr id="31" name="TextBox 30">
            <a:extLst>
              <a:ext uri="{FF2B5EF4-FFF2-40B4-BE49-F238E27FC236}">
                <a16:creationId xmlns:a16="http://schemas.microsoft.com/office/drawing/2014/main" id="{9E1036D1-AFFE-5FD0-7969-CB77700AAA22}"/>
              </a:ext>
            </a:extLst>
          </p:cNvPr>
          <p:cNvSpPr txBox="1"/>
          <p:nvPr userDrawn="1"/>
        </p:nvSpPr>
        <p:spPr>
          <a:xfrm>
            <a:off x="-989556" y="3530206"/>
            <a:ext cx="840540" cy="254044"/>
          </a:xfrm>
          <a:prstGeom prst="rect">
            <a:avLst/>
          </a:prstGeom>
          <a:noFill/>
        </p:spPr>
        <p:txBody>
          <a:bodyPr wrap="square" rtlCol="0">
            <a:spAutoFit/>
          </a:bodyPr>
          <a:lstStyle/>
          <a:p>
            <a:pPr algn="ctr"/>
            <a:r>
              <a:rPr lang="en-US" sz="1051"/>
              <a:t>Accent 2</a:t>
            </a:r>
            <a:endParaRPr lang="en-CA" sz="1051"/>
          </a:p>
        </p:txBody>
      </p:sp>
      <p:sp>
        <p:nvSpPr>
          <p:cNvPr id="32" name="Rectangle 31">
            <a:extLst>
              <a:ext uri="{FF2B5EF4-FFF2-40B4-BE49-F238E27FC236}">
                <a16:creationId xmlns:a16="http://schemas.microsoft.com/office/drawing/2014/main" id="{88B76CD8-7FE4-058C-6212-5BC94606E49D}"/>
              </a:ext>
            </a:extLst>
          </p:cNvPr>
          <p:cNvSpPr/>
          <p:nvPr userDrawn="1"/>
        </p:nvSpPr>
        <p:spPr>
          <a:xfrm>
            <a:off x="-881171" y="2858659"/>
            <a:ext cx="623775" cy="623775"/>
          </a:xfrm>
          <a:prstGeom prst="rect">
            <a:avLst/>
          </a:prstGeom>
          <a:solidFill>
            <a:srgbClr val="DDD9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221</a:t>
            </a:r>
          </a:p>
          <a:p>
            <a:pPr algn="ctr"/>
            <a:r>
              <a:rPr lang="en-US" sz="1051"/>
              <a:t>217</a:t>
            </a:r>
          </a:p>
          <a:p>
            <a:pPr algn="ctr"/>
            <a:r>
              <a:rPr lang="en-US" sz="1051"/>
              <a:t>195</a:t>
            </a:r>
          </a:p>
        </p:txBody>
      </p:sp>
      <p:sp>
        <p:nvSpPr>
          <p:cNvPr id="33" name="TextBox 32">
            <a:extLst>
              <a:ext uri="{FF2B5EF4-FFF2-40B4-BE49-F238E27FC236}">
                <a16:creationId xmlns:a16="http://schemas.microsoft.com/office/drawing/2014/main" id="{A3D5112E-70E4-8B13-A206-1E9D20426DF9}"/>
              </a:ext>
            </a:extLst>
          </p:cNvPr>
          <p:cNvSpPr txBox="1"/>
          <p:nvPr userDrawn="1"/>
        </p:nvSpPr>
        <p:spPr>
          <a:xfrm>
            <a:off x="-1828093" y="4546298"/>
            <a:ext cx="764127" cy="254044"/>
          </a:xfrm>
          <a:prstGeom prst="rect">
            <a:avLst/>
          </a:prstGeom>
          <a:noFill/>
        </p:spPr>
        <p:txBody>
          <a:bodyPr wrap="square" rtlCol="0">
            <a:spAutoFit/>
          </a:bodyPr>
          <a:lstStyle/>
          <a:p>
            <a:pPr algn="ctr"/>
            <a:r>
              <a:rPr lang="en-US" sz="1051"/>
              <a:t>Accent 3</a:t>
            </a:r>
            <a:endParaRPr lang="en-CA" sz="1051"/>
          </a:p>
        </p:txBody>
      </p:sp>
      <p:sp>
        <p:nvSpPr>
          <p:cNvPr id="34" name="Rectangle 33">
            <a:extLst>
              <a:ext uri="{FF2B5EF4-FFF2-40B4-BE49-F238E27FC236}">
                <a16:creationId xmlns:a16="http://schemas.microsoft.com/office/drawing/2014/main" id="{D998FE6F-7093-107D-AFC0-A9052EBF2A19}"/>
              </a:ext>
            </a:extLst>
          </p:cNvPr>
          <p:cNvSpPr/>
          <p:nvPr userDrawn="1"/>
        </p:nvSpPr>
        <p:spPr>
          <a:xfrm>
            <a:off x="-1757918" y="3874750"/>
            <a:ext cx="623775" cy="623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8</a:t>
            </a:r>
          </a:p>
          <a:p>
            <a:pPr algn="ctr"/>
            <a:r>
              <a:rPr lang="en-US" sz="1051"/>
              <a:t>26</a:t>
            </a:r>
          </a:p>
          <a:p>
            <a:pPr algn="ctr"/>
            <a:r>
              <a:rPr lang="en-US" sz="1051"/>
              <a:t>44</a:t>
            </a:r>
          </a:p>
        </p:txBody>
      </p:sp>
      <p:sp>
        <p:nvSpPr>
          <p:cNvPr id="35" name="TextBox 34">
            <a:extLst>
              <a:ext uri="{FF2B5EF4-FFF2-40B4-BE49-F238E27FC236}">
                <a16:creationId xmlns:a16="http://schemas.microsoft.com/office/drawing/2014/main" id="{15B44773-9FF7-8443-845B-14EC81EC1A1D}"/>
              </a:ext>
            </a:extLst>
          </p:cNvPr>
          <p:cNvSpPr txBox="1"/>
          <p:nvPr userDrawn="1"/>
        </p:nvSpPr>
        <p:spPr>
          <a:xfrm>
            <a:off x="-989556" y="4546298"/>
            <a:ext cx="840540" cy="254044"/>
          </a:xfrm>
          <a:prstGeom prst="rect">
            <a:avLst/>
          </a:prstGeom>
          <a:noFill/>
        </p:spPr>
        <p:txBody>
          <a:bodyPr wrap="square" rtlCol="0">
            <a:spAutoFit/>
          </a:bodyPr>
          <a:lstStyle/>
          <a:p>
            <a:pPr algn="ctr"/>
            <a:r>
              <a:rPr lang="en-US" sz="1051"/>
              <a:t>Accent 4</a:t>
            </a:r>
            <a:endParaRPr lang="en-CA" sz="1051"/>
          </a:p>
        </p:txBody>
      </p:sp>
      <p:sp>
        <p:nvSpPr>
          <p:cNvPr id="36" name="Rectangle 35">
            <a:extLst>
              <a:ext uri="{FF2B5EF4-FFF2-40B4-BE49-F238E27FC236}">
                <a16:creationId xmlns:a16="http://schemas.microsoft.com/office/drawing/2014/main" id="{CD384A26-DAD0-C2F5-6F6D-1E99E089B400}"/>
              </a:ext>
            </a:extLst>
          </p:cNvPr>
          <p:cNvSpPr/>
          <p:nvPr userDrawn="1"/>
        </p:nvSpPr>
        <p:spPr>
          <a:xfrm>
            <a:off x="-881171" y="3874750"/>
            <a:ext cx="623775" cy="62377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221</a:t>
            </a:r>
          </a:p>
          <a:p>
            <a:pPr algn="ctr"/>
            <a:r>
              <a:rPr lang="en-US" sz="1051"/>
              <a:t>221</a:t>
            </a:r>
          </a:p>
          <a:p>
            <a:pPr algn="ctr"/>
            <a:r>
              <a:rPr lang="en-US" sz="1051"/>
              <a:t>221</a:t>
            </a:r>
          </a:p>
        </p:txBody>
      </p:sp>
      <p:pic>
        <p:nvPicPr>
          <p:cNvPr id="5" name="Picture 4" descr="A picture containing text, clipart&#10;&#10;Description automatically generated">
            <a:extLst>
              <a:ext uri="{FF2B5EF4-FFF2-40B4-BE49-F238E27FC236}">
                <a16:creationId xmlns:a16="http://schemas.microsoft.com/office/drawing/2014/main" id="{A39148CD-CDE5-CD71-E05F-D413E892AC49}"/>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p:spPr>
      </p:pic>
      <p:sp>
        <p:nvSpPr>
          <p:cNvPr id="11" name="TextBox 10">
            <a:extLst>
              <a:ext uri="{FF2B5EF4-FFF2-40B4-BE49-F238E27FC236}">
                <a16:creationId xmlns:a16="http://schemas.microsoft.com/office/drawing/2014/main" id="{A34C00C7-2D9A-0E42-A581-B4EE6EF3CB81}"/>
              </a:ext>
            </a:extLst>
          </p:cNvPr>
          <p:cNvSpPr txBox="1"/>
          <p:nvPr userDrawn="1"/>
        </p:nvSpPr>
        <p:spPr>
          <a:xfrm>
            <a:off x="6893568" y="253830"/>
            <a:ext cx="1641595" cy="230832"/>
          </a:xfrm>
          <a:prstGeom prst="rect">
            <a:avLst/>
          </a:prstGeom>
          <a:noFill/>
        </p:spPr>
        <p:txBody>
          <a:bodyPr wrap="square" rtlCol="0" anchor="ctr">
            <a:spAutoFit/>
          </a:bodyPr>
          <a:lstStyle/>
          <a:p>
            <a:pPr algn="r"/>
            <a:r>
              <a:rPr lang="en-US" sz="900">
                <a:solidFill>
                  <a:schemeClr val="bg2"/>
                </a:solidFill>
              </a:rPr>
              <a:t>TFS INVESTMENT GROUP</a:t>
            </a:r>
          </a:p>
        </p:txBody>
      </p:sp>
      <p:sp>
        <p:nvSpPr>
          <p:cNvPr id="16" name="Rectangle 15">
            <a:extLst>
              <a:ext uri="{FF2B5EF4-FFF2-40B4-BE49-F238E27FC236}">
                <a16:creationId xmlns:a16="http://schemas.microsoft.com/office/drawing/2014/main" id="{DE43BD0D-B9C9-2DD7-9533-304F10702F23}"/>
              </a:ext>
            </a:extLst>
          </p:cNvPr>
          <p:cNvSpPr/>
          <p:nvPr userDrawn="1"/>
        </p:nvSpPr>
        <p:spPr>
          <a:xfrm>
            <a:off x="9264505" y="-1"/>
            <a:ext cx="1842977" cy="5341121"/>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900" b="1">
                <a:solidFill>
                  <a:schemeClr val="tx1"/>
                </a:solidFill>
                <a:latin typeface="+mj-lt"/>
              </a:rPr>
              <a:t>Font: Arial</a:t>
            </a:r>
          </a:p>
          <a:p>
            <a:pPr marL="171446" indent="-171446" algn="l">
              <a:buClr>
                <a:schemeClr val="accent1"/>
              </a:buClr>
              <a:buFont typeface="Wingdings" panose="05000000000000000000" pitchFamily="2" charset="2"/>
              <a:buChar char="§"/>
            </a:pPr>
            <a:r>
              <a:rPr lang="en-US" sz="900">
                <a:solidFill>
                  <a:schemeClr val="tx1"/>
                </a:solidFill>
                <a:latin typeface="+mj-lt"/>
              </a:rPr>
              <a:t>Title: 20</a:t>
            </a:r>
          </a:p>
          <a:p>
            <a:pPr marL="171446" indent="-171446" algn="l">
              <a:buClr>
                <a:schemeClr val="accent1"/>
              </a:buClr>
              <a:buFont typeface="Wingdings" panose="05000000000000000000" pitchFamily="2" charset="2"/>
              <a:buChar char="§"/>
            </a:pPr>
            <a:r>
              <a:rPr lang="en-US" sz="900">
                <a:solidFill>
                  <a:schemeClr val="tx1"/>
                </a:solidFill>
                <a:latin typeface="+mj-lt"/>
              </a:rPr>
              <a:t>Subtitle: 14</a:t>
            </a:r>
          </a:p>
          <a:p>
            <a:pPr marL="171446" indent="-171446" algn="l">
              <a:buClr>
                <a:schemeClr val="accent1"/>
              </a:buClr>
              <a:buFont typeface="Wingdings" panose="05000000000000000000" pitchFamily="2" charset="2"/>
              <a:buChar char="§"/>
            </a:pPr>
            <a:r>
              <a:rPr lang="en-US" sz="900">
                <a:solidFill>
                  <a:schemeClr val="tx1"/>
                </a:solidFill>
                <a:latin typeface="+mj-lt"/>
              </a:rPr>
              <a:t>Content Headings: 12</a:t>
            </a:r>
          </a:p>
          <a:p>
            <a:pPr marL="171446" indent="-171446" algn="l">
              <a:buClr>
                <a:schemeClr val="accent1"/>
              </a:buClr>
              <a:buFont typeface="Wingdings" panose="05000000000000000000" pitchFamily="2" charset="2"/>
              <a:buChar char="§"/>
            </a:pPr>
            <a:r>
              <a:rPr lang="en-US" sz="900">
                <a:solidFill>
                  <a:schemeClr val="tx1"/>
                </a:solidFill>
                <a:latin typeface="+mj-lt"/>
              </a:rPr>
              <a:t>General: 9</a:t>
            </a:r>
          </a:p>
          <a:p>
            <a:pPr marL="171446" indent="-171446" algn="l">
              <a:buClr>
                <a:schemeClr val="accent1"/>
              </a:buClr>
              <a:buFont typeface="Wingdings" panose="05000000000000000000" pitchFamily="2" charset="2"/>
              <a:buChar char="§"/>
            </a:pPr>
            <a:r>
              <a:rPr lang="en-US" sz="900">
                <a:solidFill>
                  <a:schemeClr val="tx1"/>
                </a:solidFill>
                <a:latin typeface="+mj-lt"/>
              </a:rPr>
              <a:t>Graphs: 9</a:t>
            </a:r>
          </a:p>
          <a:p>
            <a:pPr algn="l"/>
            <a:endParaRPr lang="en-US" sz="900" b="1">
              <a:solidFill>
                <a:schemeClr val="tx1"/>
              </a:solidFill>
              <a:latin typeface="+mj-lt"/>
            </a:endParaRPr>
          </a:p>
          <a:p>
            <a:pPr algn="l"/>
            <a:r>
              <a:rPr lang="en-US" sz="900" b="1">
                <a:solidFill>
                  <a:schemeClr val="tx1"/>
                </a:solidFill>
                <a:latin typeface="+mj-lt"/>
              </a:rPr>
              <a:t>Dollar Notation</a:t>
            </a:r>
          </a:p>
          <a:p>
            <a:pPr marL="171446" indent="-171446" algn="l">
              <a:buClr>
                <a:schemeClr val="accent1"/>
              </a:buClr>
              <a:buFont typeface="Wingdings" panose="05000000000000000000" pitchFamily="2" charset="2"/>
              <a:buChar char="§"/>
            </a:pPr>
            <a:r>
              <a:rPr lang="en-US" sz="900">
                <a:solidFill>
                  <a:schemeClr val="tx1"/>
                </a:solidFill>
                <a:latin typeface="+mj-lt"/>
              </a:rPr>
              <a:t>General - $#mm and $#bn</a:t>
            </a:r>
          </a:p>
          <a:p>
            <a:pPr marL="171446" indent="-171446" algn="l">
              <a:buClr>
                <a:schemeClr val="accent1"/>
              </a:buClr>
              <a:buFont typeface="Wingdings" panose="05000000000000000000" pitchFamily="2" charset="2"/>
              <a:buChar char="§"/>
            </a:pPr>
            <a:r>
              <a:rPr lang="en-US" sz="900">
                <a:solidFill>
                  <a:schemeClr val="tx1"/>
                </a:solidFill>
                <a:latin typeface="+mj-lt"/>
              </a:rPr>
              <a:t>Currency - US$## and C$##</a:t>
            </a:r>
          </a:p>
          <a:p>
            <a:pPr marL="171446" indent="-171446" algn="l">
              <a:buClr>
                <a:schemeClr val="accent1"/>
              </a:buClr>
              <a:buFont typeface="Wingdings" panose="05000000000000000000" pitchFamily="2" charset="2"/>
              <a:buChar char="§"/>
            </a:pPr>
            <a:r>
              <a:rPr lang="en-US" sz="900">
                <a:solidFill>
                  <a:schemeClr val="tx1"/>
                </a:solidFill>
                <a:latin typeface="+mj-lt"/>
              </a:rPr>
              <a:t>Ranges - $#-#mm (and bn)</a:t>
            </a:r>
          </a:p>
          <a:p>
            <a:pPr marL="171446" indent="-171446" algn="l">
              <a:buClr>
                <a:schemeClr val="accent1"/>
              </a:buClr>
              <a:buFont typeface="Wingdings" panose="05000000000000000000" pitchFamily="2" charset="2"/>
              <a:buChar char="§"/>
            </a:pPr>
            <a:r>
              <a:rPr lang="en-US" sz="900">
                <a:solidFill>
                  <a:schemeClr val="tx1"/>
                </a:solidFill>
                <a:latin typeface="+mj-lt"/>
              </a:rPr>
              <a:t>1 decimal place, 2 for per share</a:t>
            </a:r>
          </a:p>
          <a:p>
            <a:pPr marL="171446" indent="-171446" algn="l">
              <a:buClr>
                <a:schemeClr val="accent1"/>
              </a:buClr>
              <a:buFont typeface="Wingdings" panose="05000000000000000000" pitchFamily="2" charset="2"/>
              <a:buChar char="§"/>
            </a:pPr>
            <a:r>
              <a:rPr lang="en-US" sz="900">
                <a:solidFill>
                  <a:schemeClr val="tx1"/>
                </a:solidFill>
                <a:latin typeface="+mj-lt"/>
              </a:rPr>
              <a:t>General - #,##0.0;(#,##0.0);-</a:t>
            </a:r>
          </a:p>
          <a:p>
            <a:pPr marL="171446" indent="-171446" algn="l">
              <a:buClr>
                <a:schemeClr val="accent1"/>
              </a:buClr>
              <a:buFont typeface="Wingdings" panose="05000000000000000000" pitchFamily="2" charset="2"/>
              <a:buChar char="§"/>
            </a:pPr>
            <a:endParaRPr lang="en-US" sz="900">
              <a:solidFill>
                <a:schemeClr val="tx1"/>
              </a:solidFill>
              <a:latin typeface="+mj-lt"/>
            </a:endParaRPr>
          </a:p>
          <a:p>
            <a:pPr marL="0" indent="0" algn="l">
              <a:buClr>
                <a:schemeClr val="accent1"/>
              </a:buClr>
              <a:buFont typeface="Wingdings" panose="05000000000000000000" pitchFamily="2" charset="2"/>
              <a:buNone/>
            </a:pPr>
            <a:r>
              <a:rPr lang="en-US" sz="900" b="1">
                <a:solidFill>
                  <a:schemeClr val="tx1"/>
                </a:solidFill>
                <a:latin typeface="+mj-lt"/>
              </a:rPr>
              <a:t>Sources and Footnotes:</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Mark footnote with </a:t>
            </a:r>
            <a:r>
              <a:rPr lang="en-US" sz="900" i="1" baseline="30000">
                <a:solidFill>
                  <a:schemeClr val="tx1"/>
                </a:solidFill>
                <a:latin typeface="+mj-lt"/>
              </a:rPr>
              <a:t>(#) </a:t>
            </a:r>
            <a:r>
              <a:rPr lang="en-US" sz="900" i="0" baseline="0">
                <a:solidFill>
                  <a:schemeClr val="tx1"/>
                </a:solidFill>
                <a:latin typeface="+mj-lt"/>
              </a:rPr>
              <a:t>in your text</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i="0" baseline="0">
                <a:solidFill>
                  <a:schemeClr val="tx1"/>
                </a:solidFill>
                <a:latin typeface="+mj-lt"/>
              </a:rPr>
              <a:t>Begin footnote with (#) in the footer and “Sources:” (even if there is only one source)</a:t>
            </a:r>
            <a:endParaRPr lang="en-US" sz="900" i="0" baseline="30000">
              <a:solidFill>
                <a:schemeClr val="tx1"/>
              </a:solidFill>
              <a:latin typeface="+mj-lt"/>
            </a:endParaRP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lways pt 7 font siz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Capitalized Cas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and” between 2</a:t>
            </a:r>
            <a:r>
              <a:rPr lang="en-US" sz="900" baseline="30000">
                <a:solidFill>
                  <a:schemeClr val="tx1"/>
                </a:solidFill>
                <a:latin typeface="+mj-lt"/>
              </a:rPr>
              <a:t>nd</a:t>
            </a:r>
            <a:r>
              <a:rPr lang="en-US" sz="900">
                <a:solidFill>
                  <a:schemeClr val="tx1"/>
                </a:solidFill>
                <a:latin typeface="+mj-lt"/>
              </a:rPr>
              <a:t> last and last sourc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i.e. (1) Sources: Bloomberg</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900">
              <a:solidFill>
                <a:schemeClr val="tx1"/>
              </a:solidFill>
              <a:latin typeface="+mj-lt"/>
            </a:endParaRPr>
          </a:p>
          <a:p>
            <a:pPr marL="0" marR="0" lvl="0" indent="0"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900" b="1">
                <a:solidFill>
                  <a:schemeClr val="tx1"/>
                </a:solidFill>
                <a:latin typeface="+mj-lt"/>
              </a:rPr>
              <a:t>Charts and Graphs:</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nt size 9 and Arial 9 (black font)</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llow number notations abov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Use </a:t>
            </a:r>
            <a:r>
              <a:rPr lang="en-US" sz="900" err="1">
                <a:solidFill>
                  <a:schemeClr val="tx1"/>
                </a:solidFill>
                <a:latin typeface="+mj-lt"/>
              </a:rPr>
              <a:t>TFSIG</a:t>
            </a:r>
            <a:r>
              <a:rPr lang="en-US" sz="900">
                <a:solidFill>
                  <a:schemeClr val="tx1"/>
                </a:solidFill>
                <a:latin typeface="+mj-lt"/>
              </a:rPr>
              <a:t> </a:t>
            </a:r>
            <a:r>
              <a:rPr lang="en-US" sz="900" err="1">
                <a:solidFill>
                  <a:schemeClr val="tx1"/>
                </a:solidFill>
                <a:latin typeface="+mj-lt"/>
              </a:rPr>
              <a:t>colours</a:t>
            </a:r>
            <a:endParaRPr lang="en-US" sz="900">
              <a:solidFill>
                <a:schemeClr val="tx1"/>
              </a:solidFill>
              <a:latin typeface="+mj-lt"/>
            </a:endParaRP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lines – Black</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tick marks – major and outsid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horizontal or vertical lines (default grey ones)</a:t>
            </a:r>
          </a:p>
        </p:txBody>
      </p:sp>
    </p:spTree>
    <p:extLst>
      <p:ext uri="{BB962C8B-B14F-4D97-AF65-F5344CB8AC3E}">
        <p14:creationId xmlns:p14="http://schemas.microsoft.com/office/powerpoint/2010/main" val="108896749"/>
      </p:ext>
    </p:extLst>
  </p:cSld>
  <p:clrMap bg1="lt1" tx1="dk1" bg2="lt2" tx2="dk2" accent1="accent1" accent2="accent2" accent3="accent3" accent4="accent4" accent5="accent5" accent6="accent6" hlink="hlink" folHlink="folHlink"/>
  <p:sldLayoutIdLst>
    <p:sldLayoutId id="2147483693" r:id="rId1"/>
    <p:sldLayoutId id="2147483685" r:id="rId2"/>
    <p:sldLayoutId id="2147483679" r:id="rId3"/>
    <p:sldLayoutId id="2147483684" r:id="rId4"/>
    <p:sldLayoutId id="2147483689" r:id="rId5"/>
    <p:sldLayoutId id="2147483690" r:id="rId6"/>
    <p:sldLayoutId id="2147483688" r:id="rId7"/>
    <p:sldLayoutId id="2147483691" r:id="rId8"/>
    <p:sldLayoutId id="2147483692" r:id="rId9"/>
    <p:sldLayoutId id="2147483687" r:id="rId10"/>
    <p:sldLayoutId id="2147483683" r:id="rId11"/>
    <p:sldLayoutId id="2147483703" r:id="rId12"/>
    <p:sldLayoutId id="2147483707" r:id="rId13"/>
  </p:sldLayoutIdLst>
  <p:txStyles>
    <p:titleStyle>
      <a:lvl1pPr algn="l" defTabSz="914377" rtl="0" eaLnBrk="1" latinLnBrk="0" hangingPunct="1">
        <a:lnSpc>
          <a:spcPct val="100000"/>
        </a:lnSpc>
        <a:spcBef>
          <a:spcPct val="0"/>
        </a:spcBef>
        <a:buNone/>
        <a:defRPr sz="2000" kern="1200">
          <a:solidFill>
            <a:schemeClr val="accent1"/>
          </a:solidFill>
          <a:latin typeface="+mj-lt"/>
          <a:ea typeface="+mj-ea"/>
          <a:cs typeface="Goldman Sans Bold" panose="020B0803020203020204" pitchFamily="34" charset="0"/>
        </a:defRPr>
      </a:lvl1pPr>
    </p:titleStyle>
    <p:bodyStyle>
      <a:lvl1pPr marL="228594" indent="-228594" algn="l" defTabSz="914377"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51"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45"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38"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57" indent="-228594" algn="l" defTabSz="914377"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537"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726"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Master Tit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Level 1</a:t>
            </a:r>
          </a:p>
          <a:p>
            <a:pPr lvl="1"/>
            <a:r>
              <a:rPr lang="en-US"/>
              <a:t>Level 2</a:t>
            </a:r>
          </a:p>
          <a:p>
            <a:pPr lvl="2"/>
            <a:r>
              <a:rPr lang="en-US"/>
              <a:t>Level 3</a:t>
            </a:r>
          </a:p>
          <a:p>
            <a:pPr lvl="3"/>
            <a:r>
              <a:rPr lang="en-US"/>
              <a:t>Level 4</a:t>
            </a:r>
          </a:p>
          <a:p>
            <a:pPr lvl="4"/>
            <a:r>
              <a:rPr lang="en-US"/>
              <a:t>Level 5</a:t>
            </a:r>
          </a:p>
        </p:txBody>
      </p:sp>
      <p:sp>
        <p:nvSpPr>
          <p:cNvPr id="8" name="Date Placeholder 7">
            <a:extLst>
              <a:ext uri="{FF2B5EF4-FFF2-40B4-BE49-F238E27FC236}">
                <a16:creationId xmlns:a16="http://schemas.microsoft.com/office/drawing/2014/main" id="{D812E4C5-967F-4468-9D64-7C21F0F98D40}"/>
              </a:ext>
            </a:extLst>
          </p:cNvPr>
          <p:cNvSpPr>
            <a:spLocks noGrp="1"/>
          </p:cNvSpPr>
          <p:nvPr>
            <p:ph type="dt" sz="half" idx="2"/>
          </p:nvPr>
        </p:nvSpPr>
        <p:spPr>
          <a:xfrm>
            <a:off x="628650" y="6356358"/>
            <a:ext cx="20574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fld id="{368A9EC3-EB35-4F5D-A481-D043DD8BAC84}" type="datetimeFigureOut">
              <a:rPr lang="en-US" smtClean="0"/>
              <a:pPr/>
              <a:t>2/24/2025</a:t>
            </a:fld>
            <a:endParaRPr lang="en-US"/>
          </a:p>
        </p:txBody>
      </p:sp>
      <p:sp>
        <p:nvSpPr>
          <p:cNvPr id="9" name="Footer Placeholder 8">
            <a:extLst>
              <a:ext uri="{FF2B5EF4-FFF2-40B4-BE49-F238E27FC236}">
                <a16:creationId xmlns:a16="http://schemas.microsoft.com/office/drawing/2014/main" id="{CC3C1695-E68D-41C7-86C7-181E28280176}"/>
              </a:ext>
            </a:extLst>
          </p:cNvPr>
          <p:cNvSpPr>
            <a:spLocks noGrp="1"/>
          </p:cNvSpPr>
          <p:nvPr>
            <p:ph type="ftr" sz="quarter" idx="3"/>
          </p:nvPr>
        </p:nvSpPr>
        <p:spPr>
          <a:xfrm>
            <a:off x="3028950" y="6356358"/>
            <a:ext cx="3086100" cy="365125"/>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endParaRPr lang="en-US"/>
          </a:p>
        </p:txBody>
      </p:sp>
      <p:sp>
        <p:nvSpPr>
          <p:cNvPr id="10" name="Slide Number Placeholder 9">
            <a:extLst>
              <a:ext uri="{FF2B5EF4-FFF2-40B4-BE49-F238E27FC236}">
                <a16:creationId xmlns:a16="http://schemas.microsoft.com/office/drawing/2014/main" id="{5C547560-5BA1-421D-911E-18D76B3441D6}"/>
              </a:ext>
            </a:extLst>
          </p:cNvPr>
          <p:cNvSpPr>
            <a:spLocks noGrp="1"/>
          </p:cNvSpPr>
          <p:nvPr>
            <p:ph type="sldNum" sz="quarter" idx="4"/>
          </p:nvPr>
        </p:nvSpPr>
        <p:spPr>
          <a:xfrm>
            <a:off x="6457950" y="6356358"/>
            <a:ext cx="2057400" cy="365125"/>
          </a:xfrm>
          <a:prstGeom prst="rect">
            <a:avLst/>
          </a:prstGeom>
        </p:spPr>
        <p:txBody>
          <a:bodyPr vert="horz" lIns="91440" tIns="45720" rIns="91440" bIns="45720" rtlCol="0" anchor="ctr"/>
          <a:lstStyle>
            <a:lvl1pPr algn="r">
              <a:defRPr sz="1200">
                <a:solidFill>
                  <a:schemeClr val="tx1">
                    <a:tint val="75000"/>
                  </a:schemeClr>
                </a:solidFill>
                <a:latin typeface="+mj-lt"/>
                <a:cs typeface="Goldman Sans Thin" panose="020B0303020203020204" pitchFamily="34" charset="0"/>
              </a:defRPr>
            </a:lvl1pPr>
          </a:lstStyle>
          <a:p>
            <a:fld id="{1B80B332-6B81-4811-A13B-2B89943A5333}" type="slidenum">
              <a:rPr lang="en-US" smtClean="0"/>
              <a:pPr/>
              <a:t>‹#›</a:t>
            </a:fld>
            <a:endParaRPr lang="en-US"/>
          </a:p>
        </p:txBody>
      </p:sp>
      <p:sp>
        <p:nvSpPr>
          <p:cNvPr id="4" name="Rectangle 3">
            <a:extLst>
              <a:ext uri="{FF2B5EF4-FFF2-40B4-BE49-F238E27FC236}">
                <a16:creationId xmlns:a16="http://schemas.microsoft.com/office/drawing/2014/main" id="{A3E98B7F-4DAA-1283-5D39-68D4AEAFC324}"/>
              </a:ext>
            </a:extLst>
          </p:cNvPr>
          <p:cNvSpPr/>
          <p:nvPr userDrawn="1"/>
        </p:nvSpPr>
        <p:spPr>
          <a:xfrm>
            <a:off x="-1963479" y="0"/>
            <a:ext cx="1842977" cy="5341120"/>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900">
              <a:solidFill>
                <a:schemeClr val="tx1"/>
              </a:solidFill>
              <a:latin typeface="+mj-lt"/>
            </a:endParaRPr>
          </a:p>
        </p:txBody>
      </p:sp>
      <p:graphicFrame>
        <p:nvGraphicFramePr>
          <p:cNvPr id="6" name="Table 8">
            <a:extLst>
              <a:ext uri="{FF2B5EF4-FFF2-40B4-BE49-F238E27FC236}">
                <a16:creationId xmlns:a16="http://schemas.microsoft.com/office/drawing/2014/main" id="{AC2C8BEE-05CE-E164-CC60-9DCF360E0523}"/>
              </a:ext>
            </a:extLst>
          </p:cNvPr>
          <p:cNvGraphicFramePr>
            <a:graphicFrameLocks/>
          </p:cNvGraphicFramePr>
          <p:nvPr userDrawn="1"/>
        </p:nvGraphicFramePr>
        <p:xfrm>
          <a:off x="-1757915" y="141441"/>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a:solidFill>
                            <a:schemeClr val="tx2"/>
                          </a:solidFill>
                          <a:latin typeface="+mj-lt"/>
                        </a:rPr>
                        <a:t>Font </a:t>
                      </a:r>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Rectangle 6">
            <a:extLst>
              <a:ext uri="{FF2B5EF4-FFF2-40B4-BE49-F238E27FC236}">
                <a16:creationId xmlns:a16="http://schemas.microsoft.com/office/drawing/2014/main" id="{35AEC9A5-A30E-99DB-F0F9-CC2A83CEBFB0}"/>
              </a:ext>
            </a:extLst>
          </p:cNvPr>
          <p:cNvSpPr/>
          <p:nvPr userDrawn="1"/>
        </p:nvSpPr>
        <p:spPr>
          <a:xfrm>
            <a:off x="-1757915" y="484666"/>
            <a:ext cx="623775" cy="623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0</a:t>
            </a:r>
          </a:p>
          <a:p>
            <a:pPr algn="ctr"/>
            <a:r>
              <a:rPr lang="en-US" sz="1051"/>
              <a:t>0</a:t>
            </a:r>
          </a:p>
          <a:p>
            <a:pPr algn="ctr"/>
            <a:r>
              <a:rPr lang="en-US" sz="1051"/>
              <a:t>0</a:t>
            </a:r>
          </a:p>
        </p:txBody>
      </p:sp>
      <p:sp>
        <p:nvSpPr>
          <p:cNvPr id="12" name="TextBox 11">
            <a:extLst>
              <a:ext uri="{FF2B5EF4-FFF2-40B4-BE49-F238E27FC236}">
                <a16:creationId xmlns:a16="http://schemas.microsoft.com/office/drawing/2014/main" id="{44718FC3-D108-23F3-F8EC-696452B21295}"/>
              </a:ext>
            </a:extLst>
          </p:cNvPr>
          <p:cNvSpPr txBox="1"/>
          <p:nvPr userDrawn="1"/>
        </p:nvSpPr>
        <p:spPr>
          <a:xfrm>
            <a:off x="-1793358" y="1156214"/>
            <a:ext cx="694661" cy="254044"/>
          </a:xfrm>
          <a:prstGeom prst="rect">
            <a:avLst/>
          </a:prstGeom>
          <a:noFill/>
        </p:spPr>
        <p:txBody>
          <a:bodyPr wrap="square" rtlCol="0">
            <a:spAutoFit/>
          </a:bodyPr>
          <a:lstStyle/>
          <a:p>
            <a:pPr algn="ctr"/>
            <a:r>
              <a:rPr lang="en-US" sz="1051"/>
              <a:t>General</a:t>
            </a:r>
            <a:endParaRPr lang="en-CA" sz="1051"/>
          </a:p>
        </p:txBody>
      </p:sp>
      <p:sp>
        <p:nvSpPr>
          <p:cNvPr id="13" name="Rectangle 12">
            <a:extLst>
              <a:ext uri="{FF2B5EF4-FFF2-40B4-BE49-F238E27FC236}">
                <a16:creationId xmlns:a16="http://schemas.microsoft.com/office/drawing/2014/main" id="{D14F1B15-4C5A-BD8F-A30A-BD19EEDF4B53}"/>
              </a:ext>
            </a:extLst>
          </p:cNvPr>
          <p:cNvSpPr/>
          <p:nvPr userDrawn="1"/>
        </p:nvSpPr>
        <p:spPr>
          <a:xfrm>
            <a:off x="-881171" y="484666"/>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15</a:t>
            </a:r>
          </a:p>
          <a:p>
            <a:pPr algn="ctr"/>
            <a:r>
              <a:rPr lang="en-US" sz="1051"/>
              <a:t>53</a:t>
            </a:r>
          </a:p>
          <a:p>
            <a:pPr algn="ctr"/>
            <a:r>
              <a:rPr lang="en-US" sz="1051"/>
              <a:t>87</a:t>
            </a:r>
          </a:p>
        </p:txBody>
      </p:sp>
      <p:sp>
        <p:nvSpPr>
          <p:cNvPr id="14" name="TextBox 13">
            <a:extLst>
              <a:ext uri="{FF2B5EF4-FFF2-40B4-BE49-F238E27FC236}">
                <a16:creationId xmlns:a16="http://schemas.microsoft.com/office/drawing/2014/main" id="{50A98D96-C95C-34D5-0119-DA7D722BF98C}"/>
              </a:ext>
            </a:extLst>
          </p:cNvPr>
          <p:cNvSpPr txBox="1"/>
          <p:nvPr userDrawn="1"/>
        </p:nvSpPr>
        <p:spPr>
          <a:xfrm>
            <a:off x="-916614" y="1156214"/>
            <a:ext cx="694661" cy="254044"/>
          </a:xfrm>
          <a:prstGeom prst="rect">
            <a:avLst/>
          </a:prstGeom>
          <a:noFill/>
        </p:spPr>
        <p:txBody>
          <a:bodyPr wrap="square" rtlCol="0">
            <a:spAutoFit/>
          </a:bodyPr>
          <a:lstStyle/>
          <a:p>
            <a:pPr algn="ctr"/>
            <a:r>
              <a:rPr lang="en-US" sz="1051" err="1"/>
              <a:t>Colour</a:t>
            </a:r>
            <a:endParaRPr lang="en-CA" sz="1051"/>
          </a:p>
        </p:txBody>
      </p:sp>
      <p:graphicFrame>
        <p:nvGraphicFramePr>
          <p:cNvPr id="15" name="Table 8">
            <a:extLst>
              <a:ext uri="{FF2B5EF4-FFF2-40B4-BE49-F238E27FC236}">
                <a16:creationId xmlns:a16="http://schemas.microsoft.com/office/drawing/2014/main" id="{670A8C97-741E-2B82-1217-8F2BC954A4DD}"/>
              </a:ext>
            </a:extLst>
          </p:cNvPr>
          <p:cNvGraphicFramePr>
            <a:graphicFrameLocks/>
          </p:cNvGraphicFramePr>
          <p:nvPr userDrawn="1"/>
        </p:nvGraphicFramePr>
        <p:xfrm>
          <a:off x="-1757915" y="1500662"/>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7" name="TextBox 16">
            <a:extLst>
              <a:ext uri="{FF2B5EF4-FFF2-40B4-BE49-F238E27FC236}">
                <a16:creationId xmlns:a16="http://schemas.microsoft.com/office/drawing/2014/main" id="{686F4546-CD9C-FAF7-D157-367198FCCFC5}"/>
              </a:ext>
            </a:extLst>
          </p:cNvPr>
          <p:cNvSpPr txBox="1"/>
          <p:nvPr userDrawn="1"/>
        </p:nvSpPr>
        <p:spPr>
          <a:xfrm>
            <a:off x="-1793358" y="2514207"/>
            <a:ext cx="694661" cy="254044"/>
          </a:xfrm>
          <a:prstGeom prst="rect">
            <a:avLst/>
          </a:prstGeom>
          <a:noFill/>
        </p:spPr>
        <p:txBody>
          <a:bodyPr wrap="square" rtlCol="0">
            <a:spAutoFit/>
          </a:bodyPr>
          <a:lstStyle/>
          <a:p>
            <a:pPr algn="ctr"/>
            <a:r>
              <a:rPr lang="en-US" sz="1051"/>
              <a:t>Primary</a:t>
            </a:r>
            <a:endParaRPr lang="en-CA" sz="1051"/>
          </a:p>
        </p:txBody>
      </p:sp>
      <p:sp>
        <p:nvSpPr>
          <p:cNvPr id="18" name="Rectangle 17">
            <a:extLst>
              <a:ext uri="{FF2B5EF4-FFF2-40B4-BE49-F238E27FC236}">
                <a16:creationId xmlns:a16="http://schemas.microsoft.com/office/drawing/2014/main" id="{5ED42EC4-8947-9721-80D1-EE1CA1F5A265}"/>
              </a:ext>
            </a:extLst>
          </p:cNvPr>
          <p:cNvSpPr/>
          <p:nvPr userDrawn="1"/>
        </p:nvSpPr>
        <p:spPr>
          <a:xfrm>
            <a:off x="-1757918" y="1842659"/>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15</a:t>
            </a:r>
          </a:p>
          <a:p>
            <a:pPr algn="ctr"/>
            <a:r>
              <a:rPr lang="en-US" sz="1051"/>
              <a:t>53</a:t>
            </a:r>
          </a:p>
          <a:p>
            <a:pPr algn="ctr"/>
            <a:r>
              <a:rPr lang="en-US" sz="1051"/>
              <a:t>87</a:t>
            </a:r>
          </a:p>
        </p:txBody>
      </p:sp>
      <p:sp>
        <p:nvSpPr>
          <p:cNvPr id="19" name="TextBox 18">
            <a:extLst>
              <a:ext uri="{FF2B5EF4-FFF2-40B4-BE49-F238E27FC236}">
                <a16:creationId xmlns:a16="http://schemas.microsoft.com/office/drawing/2014/main" id="{AED6A09F-12BA-D7F4-2ABC-B96450364D82}"/>
              </a:ext>
            </a:extLst>
          </p:cNvPr>
          <p:cNvSpPr txBox="1"/>
          <p:nvPr userDrawn="1"/>
        </p:nvSpPr>
        <p:spPr>
          <a:xfrm>
            <a:off x="-989556" y="2514207"/>
            <a:ext cx="840540" cy="254044"/>
          </a:xfrm>
          <a:prstGeom prst="rect">
            <a:avLst/>
          </a:prstGeom>
          <a:noFill/>
        </p:spPr>
        <p:txBody>
          <a:bodyPr wrap="square" rtlCol="0">
            <a:spAutoFit/>
          </a:bodyPr>
          <a:lstStyle/>
          <a:p>
            <a:pPr algn="ctr"/>
            <a:r>
              <a:rPr lang="en-US" sz="1051"/>
              <a:t>Secondary</a:t>
            </a:r>
            <a:endParaRPr lang="en-CA" sz="1051"/>
          </a:p>
        </p:txBody>
      </p:sp>
      <p:sp>
        <p:nvSpPr>
          <p:cNvPr id="20" name="Rectangle 19">
            <a:extLst>
              <a:ext uri="{FF2B5EF4-FFF2-40B4-BE49-F238E27FC236}">
                <a16:creationId xmlns:a16="http://schemas.microsoft.com/office/drawing/2014/main" id="{5EC362E1-6B32-9857-8DA7-1B92BF9B60D5}"/>
              </a:ext>
            </a:extLst>
          </p:cNvPr>
          <p:cNvSpPr/>
          <p:nvPr userDrawn="1"/>
        </p:nvSpPr>
        <p:spPr>
          <a:xfrm>
            <a:off x="-881171" y="1842659"/>
            <a:ext cx="623775" cy="623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46</a:t>
            </a:r>
          </a:p>
          <a:p>
            <a:pPr algn="ctr"/>
            <a:r>
              <a:rPr lang="en-US" sz="1051"/>
              <a:t>137</a:t>
            </a:r>
          </a:p>
          <a:p>
            <a:pPr algn="ctr"/>
            <a:r>
              <a:rPr lang="en-US" sz="1051"/>
              <a:t>219</a:t>
            </a:r>
          </a:p>
        </p:txBody>
      </p:sp>
      <p:sp>
        <p:nvSpPr>
          <p:cNvPr id="22" name="TextBox 21">
            <a:extLst>
              <a:ext uri="{FF2B5EF4-FFF2-40B4-BE49-F238E27FC236}">
                <a16:creationId xmlns:a16="http://schemas.microsoft.com/office/drawing/2014/main" id="{C4206984-2D8C-7BE3-8259-EE4E72C938F5}"/>
              </a:ext>
            </a:extLst>
          </p:cNvPr>
          <p:cNvSpPr txBox="1"/>
          <p:nvPr userDrawn="1"/>
        </p:nvSpPr>
        <p:spPr>
          <a:xfrm>
            <a:off x="-1828093" y="3530206"/>
            <a:ext cx="764127" cy="254044"/>
          </a:xfrm>
          <a:prstGeom prst="rect">
            <a:avLst/>
          </a:prstGeom>
          <a:noFill/>
        </p:spPr>
        <p:txBody>
          <a:bodyPr wrap="square" rtlCol="0">
            <a:spAutoFit/>
          </a:bodyPr>
          <a:lstStyle/>
          <a:p>
            <a:pPr algn="ctr"/>
            <a:r>
              <a:rPr lang="en-US" sz="1051"/>
              <a:t>Accent 1</a:t>
            </a:r>
            <a:endParaRPr lang="en-CA" sz="1051"/>
          </a:p>
        </p:txBody>
      </p:sp>
      <p:sp>
        <p:nvSpPr>
          <p:cNvPr id="28" name="Rectangle 27">
            <a:extLst>
              <a:ext uri="{FF2B5EF4-FFF2-40B4-BE49-F238E27FC236}">
                <a16:creationId xmlns:a16="http://schemas.microsoft.com/office/drawing/2014/main" id="{10FBCB18-432E-6447-D0DF-A685A45E862C}"/>
              </a:ext>
            </a:extLst>
          </p:cNvPr>
          <p:cNvSpPr/>
          <p:nvPr userDrawn="1"/>
        </p:nvSpPr>
        <p:spPr>
          <a:xfrm>
            <a:off x="-1757918" y="2858659"/>
            <a:ext cx="623775" cy="623775"/>
          </a:xfrm>
          <a:prstGeom prst="rect">
            <a:avLst/>
          </a:prstGeom>
          <a:solidFill>
            <a:srgbClr val="74B1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116</a:t>
            </a:r>
          </a:p>
          <a:p>
            <a:pPr algn="ctr"/>
            <a:r>
              <a:rPr lang="en-US" sz="1051"/>
              <a:t>177</a:t>
            </a:r>
          </a:p>
          <a:p>
            <a:pPr algn="ctr"/>
            <a:r>
              <a:rPr lang="en-US" sz="1051"/>
              <a:t>231</a:t>
            </a:r>
          </a:p>
        </p:txBody>
      </p:sp>
      <p:sp>
        <p:nvSpPr>
          <p:cNvPr id="31" name="TextBox 30">
            <a:extLst>
              <a:ext uri="{FF2B5EF4-FFF2-40B4-BE49-F238E27FC236}">
                <a16:creationId xmlns:a16="http://schemas.microsoft.com/office/drawing/2014/main" id="{9E1036D1-AFFE-5FD0-7969-CB77700AAA22}"/>
              </a:ext>
            </a:extLst>
          </p:cNvPr>
          <p:cNvSpPr txBox="1"/>
          <p:nvPr userDrawn="1"/>
        </p:nvSpPr>
        <p:spPr>
          <a:xfrm>
            <a:off x="-989556" y="3530206"/>
            <a:ext cx="840540" cy="254044"/>
          </a:xfrm>
          <a:prstGeom prst="rect">
            <a:avLst/>
          </a:prstGeom>
          <a:noFill/>
        </p:spPr>
        <p:txBody>
          <a:bodyPr wrap="square" rtlCol="0">
            <a:spAutoFit/>
          </a:bodyPr>
          <a:lstStyle/>
          <a:p>
            <a:pPr algn="ctr"/>
            <a:r>
              <a:rPr lang="en-US" sz="1051"/>
              <a:t>Accent 2</a:t>
            </a:r>
            <a:endParaRPr lang="en-CA" sz="1051"/>
          </a:p>
        </p:txBody>
      </p:sp>
      <p:sp>
        <p:nvSpPr>
          <p:cNvPr id="32" name="Rectangle 31">
            <a:extLst>
              <a:ext uri="{FF2B5EF4-FFF2-40B4-BE49-F238E27FC236}">
                <a16:creationId xmlns:a16="http://schemas.microsoft.com/office/drawing/2014/main" id="{88B76CD8-7FE4-058C-6212-5BC94606E49D}"/>
              </a:ext>
            </a:extLst>
          </p:cNvPr>
          <p:cNvSpPr/>
          <p:nvPr userDrawn="1"/>
        </p:nvSpPr>
        <p:spPr>
          <a:xfrm>
            <a:off x="-881171" y="2858659"/>
            <a:ext cx="623775" cy="623775"/>
          </a:xfrm>
          <a:prstGeom prst="rect">
            <a:avLst/>
          </a:prstGeom>
          <a:solidFill>
            <a:srgbClr val="DDD9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221</a:t>
            </a:r>
          </a:p>
          <a:p>
            <a:pPr algn="ctr"/>
            <a:r>
              <a:rPr lang="en-US" sz="1051"/>
              <a:t>217</a:t>
            </a:r>
          </a:p>
          <a:p>
            <a:pPr algn="ctr"/>
            <a:r>
              <a:rPr lang="en-US" sz="1051"/>
              <a:t>195</a:t>
            </a:r>
          </a:p>
        </p:txBody>
      </p:sp>
      <p:sp>
        <p:nvSpPr>
          <p:cNvPr id="33" name="TextBox 32">
            <a:extLst>
              <a:ext uri="{FF2B5EF4-FFF2-40B4-BE49-F238E27FC236}">
                <a16:creationId xmlns:a16="http://schemas.microsoft.com/office/drawing/2014/main" id="{A3D5112E-70E4-8B13-A206-1E9D20426DF9}"/>
              </a:ext>
            </a:extLst>
          </p:cNvPr>
          <p:cNvSpPr txBox="1"/>
          <p:nvPr userDrawn="1"/>
        </p:nvSpPr>
        <p:spPr>
          <a:xfrm>
            <a:off x="-1828093" y="4546298"/>
            <a:ext cx="764127" cy="254044"/>
          </a:xfrm>
          <a:prstGeom prst="rect">
            <a:avLst/>
          </a:prstGeom>
          <a:noFill/>
        </p:spPr>
        <p:txBody>
          <a:bodyPr wrap="square" rtlCol="0">
            <a:spAutoFit/>
          </a:bodyPr>
          <a:lstStyle/>
          <a:p>
            <a:pPr algn="ctr"/>
            <a:r>
              <a:rPr lang="en-US" sz="1051"/>
              <a:t>Accent 3</a:t>
            </a:r>
            <a:endParaRPr lang="en-CA" sz="1051"/>
          </a:p>
        </p:txBody>
      </p:sp>
      <p:sp>
        <p:nvSpPr>
          <p:cNvPr id="34" name="Rectangle 33">
            <a:extLst>
              <a:ext uri="{FF2B5EF4-FFF2-40B4-BE49-F238E27FC236}">
                <a16:creationId xmlns:a16="http://schemas.microsoft.com/office/drawing/2014/main" id="{D998FE6F-7093-107D-AFC0-A9052EBF2A19}"/>
              </a:ext>
            </a:extLst>
          </p:cNvPr>
          <p:cNvSpPr/>
          <p:nvPr userDrawn="1"/>
        </p:nvSpPr>
        <p:spPr>
          <a:xfrm>
            <a:off x="-1757918" y="3874750"/>
            <a:ext cx="623775" cy="623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8</a:t>
            </a:r>
          </a:p>
          <a:p>
            <a:pPr algn="ctr"/>
            <a:r>
              <a:rPr lang="en-US" sz="1051"/>
              <a:t>26</a:t>
            </a:r>
          </a:p>
          <a:p>
            <a:pPr algn="ctr"/>
            <a:r>
              <a:rPr lang="en-US" sz="1051"/>
              <a:t>44</a:t>
            </a:r>
          </a:p>
        </p:txBody>
      </p:sp>
      <p:sp>
        <p:nvSpPr>
          <p:cNvPr id="35" name="TextBox 34">
            <a:extLst>
              <a:ext uri="{FF2B5EF4-FFF2-40B4-BE49-F238E27FC236}">
                <a16:creationId xmlns:a16="http://schemas.microsoft.com/office/drawing/2014/main" id="{15B44773-9FF7-8443-845B-14EC81EC1A1D}"/>
              </a:ext>
            </a:extLst>
          </p:cNvPr>
          <p:cNvSpPr txBox="1"/>
          <p:nvPr userDrawn="1"/>
        </p:nvSpPr>
        <p:spPr>
          <a:xfrm>
            <a:off x="-989556" y="4546298"/>
            <a:ext cx="840540" cy="254044"/>
          </a:xfrm>
          <a:prstGeom prst="rect">
            <a:avLst/>
          </a:prstGeom>
          <a:noFill/>
        </p:spPr>
        <p:txBody>
          <a:bodyPr wrap="square" rtlCol="0">
            <a:spAutoFit/>
          </a:bodyPr>
          <a:lstStyle/>
          <a:p>
            <a:pPr algn="ctr"/>
            <a:r>
              <a:rPr lang="en-US" sz="1051"/>
              <a:t>Accent 4</a:t>
            </a:r>
            <a:endParaRPr lang="en-CA" sz="1051"/>
          </a:p>
        </p:txBody>
      </p:sp>
      <p:sp>
        <p:nvSpPr>
          <p:cNvPr id="36" name="Rectangle 35">
            <a:extLst>
              <a:ext uri="{FF2B5EF4-FFF2-40B4-BE49-F238E27FC236}">
                <a16:creationId xmlns:a16="http://schemas.microsoft.com/office/drawing/2014/main" id="{CD384A26-DAD0-C2F5-6F6D-1E99E089B400}"/>
              </a:ext>
            </a:extLst>
          </p:cNvPr>
          <p:cNvSpPr/>
          <p:nvPr userDrawn="1"/>
        </p:nvSpPr>
        <p:spPr>
          <a:xfrm>
            <a:off x="-881171" y="3874750"/>
            <a:ext cx="623775" cy="62377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221</a:t>
            </a:r>
          </a:p>
          <a:p>
            <a:pPr algn="ctr"/>
            <a:r>
              <a:rPr lang="en-US" sz="1051"/>
              <a:t>221</a:t>
            </a:r>
          </a:p>
          <a:p>
            <a:pPr algn="ctr"/>
            <a:r>
              <a:rPr lang="en-US" sz="1051"/>
              <a:t>221</a:t>
            </a:r>
          </a:p>
        </p:txBody>
      </p:sp>
      <p:pic>
        <p:nvPicPr>
          <p:cNvPr id="5" name="Picture 4" descr="A picture containing text, clipart&#10;&#10;Description automatically generated">
            <a:extLst>
              <a:ext uri="{FF2B5EF4-FFF2-40B4-BE49-F238E27FC236}">
                <a16:creationId xmlns:a16="http://schemas.microsoft.com/office/drawing/2014/main" id="{A39148CD-CDE5-CD71-E05F-D413E892AC4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p:spPr>
      </p:pic>
      <p:sp>
        <p:nvSpPr>
          <p:cNvPr id="11" name="TextBox 10">
            <a:extLst>
              <a:ext uri="{FF2B5EF4-FFF2-40B4-BE49-F238E27FC236}">
                <a16:creationId xmlns:a16="http://schemas.microsoft.com/office/drawing/2014/main" id="{A34C00C7-2D9A-0E42-A581-B4EE6EF3CB81}"/>
              </a:ext>
            </a:extLst>
          </p:cNvPr>
          <p:cNvSpPr txBox="1"/>
          <p:nvPr userDrawn="1"/>
        </p:nvSpPr>
        <p:spPr>
          <a:xfrm>
            <a:off x="6893568" y="253830"/>
            <a:ext cx="1641595" cy="230832"/>
          </a:xfrm>
          <a:prstGeom prst="rect">
            <a:avLst/>
          </a:prstGeom>
          <a:noFill/>
        </p:spPr>
        <p:txBody>
          <a:bodyPr wrap="square" rtlCol="0" anchor="ctr">
            <a:spAutoFit/>
          </a:bodyPr>
          <a:lstStyle/>
          <a:p>
            <a:pPr algn="r"/>
            <a:r>
              <a:rPr lang="en-US" sz="900">
                <a:solidFill>
                  <a:schemeClr val="bg2"/>
                </a:solidFill>
              </a:rPr>
              <a:t>TFS INVESTMENT GROUP</a:t>
            </a:r>
          </a:p>
        </p:txBody>
      </p:sp>
      <p:sp>
        <p:nvSpPr>
          <p:cNvPr id="16" name="Rectangle 15">
            <a:extLst>
              <a:ext uri="{FF2B5EF4-FFF2-40B4-BE49-F238E27FC236}">
                <a16:creationId xmlns:a16="http://schemas.microsoft.com/office/drawing/2014/main" id="{DE43BD0D-B9C9-2DD7-9533-304F10702F23}"/>
              </a:ext>
            </a:extLst>
          </p:cNvPr>
          <p:cNvSpPr/>
          <p:nvPr userDrawn="1"/>
        </p:nvSpPr>
        <p:spPr>
          <a:xfrm>
            <a:off x="9264505" y="-1"/>
            <a:ext cx="1842977" cy="5341121"/>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900" b="1">
                <a:solidFill>
                  <a:schemeClr val="tx1"/>
                </a:solidFill>
                <a:latin typeface="+mj-lt"/>
              </a:rPr>
              <a:t>Font: Arial</a:t>
            </a:r>
          </a:p>
          <a:p>
            <a:pPr marL="171446" indent="-171446" algn="l">
              <a:buClr>
                <a:schemeClr val="accent1"/>
              </a:buClr>
              <a:buFont typeface="Wingdings" panose="05000000000000000000" pitchFamily="2" charset="2"/>
              <a:buChar char="§"/>
            </a:pPr>
            <a:r>
              <a:rPr lang="en-US" sz="900">
                <a:solidFill>
                  <a:schemeClr val="tx1"/>
                </a:solidFill>
                <a:latin typeface="+mj-lt"/>
              </a:rPr>
              <a:t>Title: 20</a:t>
            </a:r>
          </a:p>
          <a:p>
            <a:pPr marL="171446" indent="-171446" algn="l">
              <a:buClr>
                <a:schemeClr val="accent1"/>
              </a:buClr>
              <a:buFont typeface="Wingdings" panose="05000000000000000000" pitchFamily="2" charset="2"/>
              <a:buChar char="§"/>
            </a:pPr>
            <a:r>
              <a:rPr lang="en-US" sz="900">
                <a:solidFill>
                  <a:schemeClr val="tx1"/>
                </a:solidFill>
                <a:latin typeface="+mj-lt"/>
              </a:rPr>
              <a:t>Subtitle: 14</a:t>
            </a:r>
          </a:p>
          <a:p>
            <a:pPr marL="171446" indent="-171446" algn="l">
              <a:buClr>
                <a:schemeClr val="accent1"/>
              </a:buClr>
              <a:buFont typeface="Wingdings" panose="05000000000000000000" pitchFamily="2" charset="2"/>
              <a:buChar char="§"/>
            </a:pPr>
            <a:r>
              <a:rPr lang="en-US" sz="900">
                <a:solidFill>
                  <a:schemeClr val="tx1"/>
                </a:solidFill>
                <a:latin typeface="+mj-lt"/>
              </a:rPr>
              <a:t>Content Headings: 12</a:t>
            </a:r>
          </a:p>
          <a:p>
            <a:pPr marL="171446" indent="-171446" algn="l">
              <a:buClr>
                <a:schemeClr val="accent1"/>
              </a:buClr>
              <a:buFont typeface="Wingdings" panose="05000000000000000000" pitchFamily="2" charset="2"/>
              <a:buChar char="§"/>
            </a:pPr>
            <a:r>
              <a:rPr lang="en-US" sz="900">
                <a:solidFill>
                  <a:schemeClr val="tx1"/>
                </a:solidFill>
                <a:latin typeface="+mj-lt"/>
              </a:rPr>
              <a:t>General: 9</a:t>
            </a:r>
          </a:p>
          <a:p>
            <a:pPr marL="171446" indent="-171446" algn="l">
              <a:buClr>
                <a:schemeClr val="accent1"/>
              </a:buClr>
              <a:buFont typeface="Wingdings" panose="05000000000000000000" pitchFamily="2" charset="2"/>
              <a:buChar char="§"/>
            </a:pPr>
            <a:r>
              <a:rPr lang="en-US" sz="900">
                <a:solidFill>
                  <a:schemeClr val="tx1"/>
                </a:solidFill>
                <a:latin typeface="+mj-lt"/>
              </a:rPr>
              <a:t>Graphs: 9</a:t>
            </a:r>
          </a:p>
          <a:p>
            <a:pPr algn="l"/>
            <a:endParaRPr lang="en-US" sz="900" b="1">
              <a:solidFill>
                <a:schemeClr val="tx1"/>
              </a:solidFill>
              <a:latin typeface="+mj-lt"/>
            </a:endParaRPr>
          </a:p>
          <a:p>
            <a:pPr algn="l"/>
            <a:r>
              <a:rPr lang="en-US" sz="900" b="1">
                <a:solidFill>
                  <a:schemeClr val="tx1"/>
                </a:solidFill>
                <a:latin typeface="+mj-lt"/>
              </a:rPr>
              <a:t>Dollar Notation</a:t>
            </a:r>
          </a:p>
          <a:p>
            <a:pPr marL="171446" indent="-171446" algn="l">
              <a:buClr>
                <a:schemeClr val="accent1"/>
              </a:buClr>
              <a:buFont typeface="Wingdings" panose="05000000000000000000" pitchFamily="2" charset="2"/>
              <a:buChar char="§"/>
            </a:pPr>
            <a:r>
              <a:rPr lang="en-US" sz="900">
                <a:solidFill>
                  <a:schemeClr val="tx1"/>
                </a:solidFill>
                <a:latin typeface="+mj-lt"/>
              </a:rPr>
              <a:t>General - $#mm and $#bn</a:t>
            </a:r>
          </a:p>
          <a:p>
            <a:pPr marL="171446" indent="-171446" algn="l">
              <a:buClr>
                <a:schemeClr val="accent1"/>
              </a:buClr>
              <a:buFont typeface="Wingdings" panose="05000000000000000000" pitchFamily="2" charset="2"/>
              <a:buChar char="§"/>
            </a:pPr>
            <a:r>
              <a:rPr lang="en-US" sz="900">
                <a:solidFill>
                  <a:schemeClr val="tx1"/>
                </a:solidFill>
                <a:latin typeface="+mj-lt"/>
              </a:rPr>
              <a:t>Currency - US$## and C$##</a:t>
            </a:r>
          </a:p>
          <a:p>
            <a:pPr marL="171446" indent="-171446" algn="l">
              <a:buClr>
                <a:schemeClr val="accent1"/>
              </a:buClr>
              <a:buFont typeface="Wingdings" panose="05000000000000000000" pitchFamily="2" charset="2"/>
              <a:buChar char="§"/>
            </a:pPr>
            <a:r>
              <a:rPr lang="en-US" sz="900">
                <a:solidFill>
                  <a:schemeClr val="tx1"/>
                </a:solidFill>
                <a:latin typeface="+mj-lt"/>
              </a:rPr>
              <a:t>Ranges - $#-#mm (and bn)</a:t>
            </a:r>
          </a:p>
          <a:p>
            <a:pPr marL="171446" indent="-171446" algn="l">
              <a:buClr>
                <a:schemeClr val="accent1"/>
              </a:buClr>
              <a:buFont typeface="Wingdings" panose="05000000000000000000" pitchFamily="2" charset="2"/>
              <a:buChar char="§"/>
            </a:pPr>
            <a:r>
              <a:rPr lang="en-US" sz="900">
                <a:solidFill>
                  <a:schemeClr val="tx1"/>
                </a:solidFill>
                <a:latin typeface="+mj-lt"/>
              </a:rPr>
              <a:t>1 decimal place, 2 for per share</a:t>
            </a:r>
          </a:p>
          <a:p>
            <a:pPr marL="171446" indent="-171446" algn="l">
              <a:buClr>
                <a:schemeClr val="accent1"/>
              </a:buClr>
              <a:buFont typeface="Wingdings" panose="05000000000000000000" pitchFamily="2" charset="2"/>
              <a:buChar char="§"/>
            </a:pPr>
            <a:r>
              <a:rPr lang="en-US" sz="900">
                <a:solidFill>
                  <a:schemeClr val="tx1"/>
                </a:solidFill>
                <a:latin typeface="+mj-lt"/>
              </a:rPr>
              <a:t>General - #,##0.0;(#,##0.0);-</a:t>
            </a:r>
          </a:p>
          <a:p>
            <a:pPr marL="171446" indent="-171446" algn="l">
              <a:buClr>
                <a:schemeClr val="accent1"/>
              </a:buClr>
              <a:buFont typeface="Wingdings" panose="05000000000000000000" pitchFamily="2" charset="2"/>
              <a:buChar char="§"/>
            </a:pPr>
            <a:endParaRPr lang="en-US" sz="900">
              <a:solidFill>
                <a:schemeClr val="tx1"/>
              </a:solidFill>
              <a:latin typeface="+mj-lt"/>
            </a:endParaRPr>
          </a:p>
          <a:p>
            <a:pPr marL="0" indent="0" algn="l">
              <a:buClr>
                <a:schemeClr val="accent1"/>
              </a:buClr>
              <a:buFont typeface="Wingdings" panose="05000000000000000000" pitchFamily="2" charset="2"/>
              <a:buNone/>
            </a:pPr>
            <a:r>
              <a:rPr lang="en-US" sz="900" b="1">
                <a:solidFill>
                  <a:schemeClr val="tx1"/>
                </a:solidFill>
                <a:latin typeface="+mj-lt"/>
              </a:rPr>
              <a:t>Sources and Footnotes:</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Mark footnote with </a:t>
            </a:r>
            <a:r>
              <a:rPr lang="en-US" sz="900" i="1" baseline="30000">
                <a:solidFill>
                  <a:schemeClr val="tx1"/>
                </a:solidFill>
                <a:latin typeface="+mj-lt"/>
              </a:rPr>
              <a:t>(#) </a:t>
            </a:r>
            <a:r>
              <a:rPr lang="en-US" sz="900" i="0" baseline="0">
                <a:solidFill>
                  <a:schemeClr val="tx1"/>
                </a:solidFill>
                <a:latin typeface="+mj-lt"/>
              </a:rPr>
              <a:t>in your text</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i="0" baseline="0">
                <a:solidFill>
                  <a:schemeClr val="tx1"/>
                </a:solidFill>
                <a:latin typeface="+mj-lt"/>
              </a:rPr>
              <a:t>Begin footnote with (#) in the footer and “Sources:” (even if there is only one source)</a:t>
            </a:r>
            <a:endParaRPr lang="en-US" sz="900" i="0" baseline="30000">
              <a:solidFill>
                <a:schemeClr val="tx1"/>
              </a:solidFill>
              <a:latin typeface="+mj-lt"/>
            </a:endParaRP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lways pt 7 font siz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Capitalized Cas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and” between 2</a:t>
            </a:r>
            <a:r>
              <a:rPr lang="en-US" sz="900" baseline="30000">
                <a:solidFill>
                  <a:schemeClr val="tx1"/>
                </a:solidFill>
                <a:latin typeface="+mj-lt"/>
              </a:rPr>
              <a:t>nd</a:t>
            </a:r>
            <a:r>
              <a:rPr lang="en-US" sz="900">
                <a:solidFill>
                  <a:schemeClr val="tx1"/>
                </a:solidFill>
                <a:latin typeface="+mj-lt"/>
              </a:rPr>
              <a:t> last and last sourc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i.e. (1) Sources: Bloomberg</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900">
              <a:solidFill>
                <a:schemeClr val="tx1"/>
              </a:solidFill>
              <a:latin typeface="+mj-lt"/>
            </a:endParaRPr>
          </a:p>
          <a:p>
            <a:pPr marL="0" marR="0" lvl="0" indent="0"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900" b="1">
                <a:solidFill>
                  <a:schemeClr val="tx1"/>
                </a:solidFill>
                <a:latin typeface="+mj-lt"/>
              </a:rPr>
              <a:t>Charts and Graphs:</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nt size 9 and Arial 9 (black font)</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llow number notations abov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Use </a:t>
            </a:r>
            <a:r>
              <a:rPr lang="en-US" sz="900" err="1">
                <a:solidFill>
                  <a:schemeClr val="tx1"/>
                </a:solidFill>
                <a:latin typeface="+mj-lt"/>
              </a:rPr>
              <a:t>TFSIGcolours</a:t>
            </a:r>
            <a:endParaRPr lang="en-US" sz="900">
              <a:solidFill>
                <a:schemeClr val="tx1"/>
              </a:solidFill>
              <a:latin typeface="+mj-lt"/>
            </a:endParaRP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lines – Black</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tick marks – major and outsid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horizontal or vertical lines (default grey ones)</a:t>
            </a:r>
          </a:p>
        </p:txBody>
      </p:sp>
    </p:spTree>
    <p:extLst>
      <p:ext uri="{BB962C8B-B14F-4D97-AF65-F5344CB8AC3E}">
        <p14:creationId xmlns:p14="http://schemas.microsoft.com/office/powerpoint/2010/main" val="108896749"/>
      </p:ext>
    </p:extLst>
  </p:cSld>
  <p:clrMap bg1="lt1" tx1="dk1" bg2="lt2" tx2="dk2" accent1="accent1" accent2="accent2" accent3="accent3" accent4="accent4" accent5="accent5" accent6="accent6" hlink="hlink" folHlink="folHlink"/>
  <p:sldLayoutIdLst>
    <p:sldLayoutId id="2147483699" r:id="rId1"/>
    <p:sldLayoutId id="2147483705" r:id="rId2"/>
    <p:sldLayoutId id="2147483700" r:id="rId3"/>
    <p:sldLayoutId id="2147483704" r:id="rId4"/>
    <p:sldLayoutId id="2147483696" r:id="rId5"/>
    <p:sldLayoutId id="2147483701" r:id="rId6"/>
    <p:sldLayoutId id="2147483697" r:id="rId7"/>
    <p:sldLayoutId id="2147483706" r:id="rId8"/>
    <p:sldLayoutId id="2147483708" r:id="rId9"/>
  </p:sldLayoutIdLst>
  <p:txStyles>
    <p:titleStyle>
      <a:lvl1pPr algn="l" defTabSz="914377" rtl="0" eaLnBrk="1" latinLnBrk="0" hangingPunct="1">
        <a:lnSpc>
          <a:spcPct val="100000"/>
        </a:lnSpc>
        <a:spcBef>
          <a:spcPct val="0"/>
        </a:spcBef>
        <a:buNone/>
        <a:defRPr sz="2000" kern="1200">
          <a:solidFill>
            <a:schemeClr val="accent1"/>
          </a:solidFill>
          <a:latin typeface="+mj-lt"/>
          <a:ea typeface="+mj-ea"/>
          <a:cs typeface="Goldman Sans Bold" panose="020B0803020203020204" pitchFamily="34" charset="0"/>
        </a:defRPr>
      </a:lvl1pPr>
    </p:titleStyle>
    <p:bodyStyle>
      <a:lvl1pPr marL="228594" indent="-228594" algn="l" defTabSz="914377"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51"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45"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38"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57" indent="-228594" algn="l" defTabSz="914377"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537"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726"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chart" Target="../charts/chart14.xml"/></Relationships>
</file>

<file path=ppt/slides/_rels/slide1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chart" Target="../charts/chart18.xml"/></Relationships>
</file>

<file path=ppt/slides/_rels/slide21.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image" Target="../media/image9.png"/><Relationship Id="rId1" Type="http://schemas.openxmlformats.org/officeDocument/2006/relationships/slideLayout" Target="../slideLayouts/slideLayout16.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22.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3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0.xml"/><Relationship Id="rId1" Type="http://schemas.openxmlformats.org/officeDocument/2006/relationships/slideLayout" Target="../slideLayouts/slideLayout22.xml"/><Relationship Id="rId4" Type="http://schemas.openxmlformats.org/officeDocument/2006/relationships/image" Target="../media/image20.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12.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chart" Target="../charts/chart5.xml"/></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chart" Target="../charts/chart6.xml"/><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xml"/><Relationship Id="rId1" Type="http://schemas.openxmlformats.org/officeDocument/2006/relationships/slideLayout" Target="../slideLayouts/slideLayout20.xm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31F13-B41B-876B-D1BD-EE75CD2E1EFC}"/>
              </a:ext>
            </a:extLst>
          </p:cNvPr>
          <p:cNvSpPr>
            <a:spLocks noGrp="1"/>
          </p:cNvSpPr>
          <p:nvPr>
            <p:ph type="title"/>
          </p:nvPr>
        </p:nvSpPr>
        <p:spPr/>
        <p:txBody>
          <a:bodyPr/>
          <a:lstStyle/>
          <a:p>
            <a:r>
              <a:rPr lang="en-CA"/>
              <a:t>Lightspeed Commerce (NYSE: LSPD)</a:t>
            </a:r>
          </a:p>
        </p:txBody>
      </p:sp>
      <p:sp>
        <p:nvSpPr>
          <p:cNvPr id="3" name="Text Placeholder 2">
            <a:extLst>
              <a:ext uri="{FF2B5EF4-FFF2-40B4-BE49-F238E27FC236}">
                <a16:creationId xmlns:a16="http://schemas.microsoft.com/office/drawing/2014/main" id="{AAE9241F-4E75-9F0D-58FC-4E828EFD3465}"/>
              </a:ext>
            </a:extLst>
          </p:cNvPr>
          <p:cNvSpPr>
            <a:spLocks noGrp="1"/>
          </p:cNvSpPr>
          <p:nvPr>
            <p:ph type="body" sz="quarter" idx="18"/>
          </p:nvPr>
        </p:nvSpPr>
        <p:spPr/>
        <p:txBody>
          <a:bodyPr/>
          <a:lstStyle/>
          <a:p>
            <a:r>
              <a:rPr lang="en-CA"/>
              <a:t>Powering Profits One Tap at a Time </a:t>
            </a:r>
          </a:p>
        </p:txBody>
      </p:sp>
      <p:sp>
        <p:nvSpPr>
          <p:cNvPr id="4" name="Text Placeholder 3">
            <a:extLst>
              <a:ext uri="{FF2B5EF4-FFF2-40B4-BE49-F238E27FC236}">
                <a16:creationId xmlns:a16="http://schemas.microsoft.com/office/drawing/2014/main" id="{DBD00F62-1F0E-1306-020A-D7EE7E5D41F6}"/>
              </a:ext>
            </a:extLst>
          </p:cNvPr>
          <p:cNvSpPr>
            <a:spLocks noGrp="1"/>
          </p:cNvSpPr>
          <p:nvPr>
            <p:ph type="body" sz="quarter" idx="19"/>
          </p:nvPr>
        </p:nvSpPr>
        <p:spPr/>
        <p:txBody>
          <a:bodyPr/>
          <a:lstStyle/>
          <a:p>
            <a:r>
              <a:rPr lang="en-CA" sz="700"/>
              <a:t>February 24</a:t>
            </a:r>
            <a:r>
              <a:rPr lang="en-CA" sz="700" baseline="30000"/>
              <a:t>th</a:t>
            </a:r>
            <a:r>
              <a:rPr lang="en-CA" sz="700"/>
              <a:t>, 2025</a:t>
            </a:r>
          </a:p>
        </p:txBody>
      </p:sp>
      <p:pic>
        <p:nvPicPr>
          <p:cNvPr id="1026" name="Picture 2" descr="Lightspeed Commerce - Siinda">
            <a:extLst>
              <a:ext uri="{FF2B5EF4-FFF2-40B4-BE49-F238E27FC236}">
                <a16:creationId xmlns:a16="http://schemas.microsoft.com/office/drawing/2014/main" id="{7D621FFB-1082-31EF-64E9-CCE08EB2F9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72406" y="6163733"/>
            <a:ext cx="1530036" cy="3506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7444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1A3C93-38F4-ABEA-6D4C-E3589C3626AD}"/>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07747479-885E-A4F1-CDA0-D52F4BC0D06E}"/>
              </a:ext>
            </a:extLst>
          </p:cNvPr>
          <p:cNvSpPr>
            <a:spLocks noGrp="1"/>
          </p:cNvSpPr>
          <p:nvPr>
            <p:ph type="title"/>
          </p:nvPr>
        </p:nvSpPr>
        <p:spPr/>
        <p:txBody>
          <a:bodyPr/>
          <a:lstStyle/>
          <a:p>
            <a:r>
              <a:rPr lang="en-US"/>
              <a:t>III. Industry Overview</a:t>
            </a:r>
          </a:p>
        </p:txBody>
      </p:sp>
      <p:sp>
        <p:nvSpPr>
          <p:cNvPr id="10" name="Text Placeholder 9">
            <a:extLst>
              <a:ext uri="{FF2B5EF4-FFF2-40B4-BE49-F238E27FC236}">
                <a16:creationId xmlns:a16="http://schemas.microsoft.com/office/drawing/2014/main" id="{35EA05C3-87D5-9595-4A45-E765E519DEEF}"/>
              </a:ext>
            </a:extLst>
          </p:cNvPr>
          <p:cNvSpPr>
            <a:spLocks noGrp="1"/>
          </p:cNvSpPr>
          <p:nvPr>
            <p:ph type="body" sz="quarter" idx="18"/>
          </p:nvPr>
        </p:nvSpPr>
        <p:spPr/>
        <p:txBody>
          <a:bodyPr/>
          <a:lstStyle/>
          <a:p>
            <a:endParaRPr lang="en-US"/>
          </a:p>
        </p:txBody>
      </p:sp>
      <p:sp>
        <p:nvSpPr>
          <p:cNvPr id="11" name="Text Placeholder 10">
            <a:extLst>
              <a:ext uri="{FF2B5EF4-FFF2-40B4-BE49-F238E27FC236}">
                <a16:creationId xmlns:a16="http://schemas.microsoft.com/office/drawing/2014/main" id="{1A4487A8-4713-17C4-9E88-EBDCF275AE3A}"/>
              </a:ext>
            </a:extLst>
          </p:cNvPr>
          <p:cNvSpPr>
            <a:spLocks noGrp="1"/>
          </p:cNvSpPr>
          <p:nvPr>
            <p:ph type="body" sz="quarter" idx="19"/>
          </p:nvPr>
        </p:nvSpPr>
        <p:spPr/>
        <p:txBody>
          <a:bodyPr/>
          <a:lstStyle/>
          <a:p>
            <a:endParaRPr lang="en-US"/>
          </a:p>
        </p:txBody>
      </p:sp>
    </p:spTree>
    <p:extLst>
      <p:ext uri="{BB962C8B-B14F-4D97-AF65-F5344CB8AC3E}">
        <p14:creationId xmlns:p14="http://schemas.microsoft.com/office/powerpoint/2010/main" val="23129663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1A70B922-9804-34B4-E68F-AE9891962524}"/>
              </a:ext>
            </a:extLst>
          </p:cNvPr>
          <p:cNvSpPr>
            <a:spLocks noGrp="1"/>
          </p:cNvSpPr>
          <p:nvPr>
            <p:ph type="body" sz="quarter" idx="13"/>
          </p:nvPr>
        </p:nvSpPr>
        <p:spPr/>
        <p:txBody>
          <a:bodyPr/>
          <a:lstStyle/>
          <a:p>
            <a:r>
              <a:rPr lang="en-US"/>
              <a:t>Source(s): Lightspeed Commerce 40-F, Statista</a:t>
            </a:r>
          </a:p>
        </p:txBody>
      </p:sp>
      <p:sp>
        <p:nvSpPr>
          <p:cNvPr id="3" name="Text Placeholder 2">
            <a:extLst>
              <a:ext uri="{FF2B5EF4-FFF2-40B4-BE49-F238E27FC236}">
                <a16:creationId xmlns:a16="http://schemas.microsoft.com/office/drawing/2014/main" id="{0C15ED83-5312-6D89-30A8-115FDB422176}"/>
              </a:ext>
            </a:extLst>
          </p:cNvPr>
          <p:cNvSpPr>
            <a:spLocks noGrp="1"/>
          </p:cNvSpPr>
          <p:nvPr>
            <p:ph type="body" sz="quarter" idx="21"/>
          </p:nvPr>
        </p:nvSpPr>
        <p:spPr/>
        <p:txBody>
          <a:bodyPr vert="horz" lIns="91440" tIns="45720" rIns="91440" bIns="45720" rtlCol="0" anchor="t">
            <a:normAutofit/>
          </a:bodyPr>
          <a:lstStyle/>
          <a:p>
            <a:r>
              <a:rPr lang="en-US"/>
              <a:t>Progression of the POS industry</a:t>
            </a:r>
          </a:p>
        </p:txBody>
      </p:sp>
      <p:sp>
        <p:nvSpPr>
          <p:cNvPr id="4" name="Title 3">
            <a:extLst>
              <a:ext uri="{FF2B5EF4-FFF2-40B4-BE49-F238E27FC236}">
                <a16:creationId xmlns:a16="http://schemas.microsoft.com/office/drawing/2014/main" id="{00CD6584-A73F-B3E0-225A-3DA913FB19DB}"/>
              </a:ext>
            </a:extLst>
          </p:cNvPr>
          <p:cNvSpPr>
            <a:spLocks noGrp="1"/>
          </p:cNvSpPr>
          <p:nvPr>
            <p:ph type="title"/>
          </p:nvPr>
        </p:nvSpPr>
        <p:spPr/>
        <p:txBody>
          <a:bodyPr/>
          <a:lstStyle/>
          <a:p>
            <a:r>
              <a:rPr lang="en-US"/>
              <a:t>Industry Outlook</a:t>
            </a:r>
          </a:p>
        </p:txBody>
      </p:sp>
      <p:sp>
        <p:nvSpPr>
          <p:cNvPr id="18" name="Text Placeholder 17">
            <a:extLst>
              <a:ext uri="{FF2B5EF4-FFF2-40B4-BE49-F238E27FC236}">
                <a16:creationId xmlns:a16="http://schemas.microsoft.com/office/drawing/2014/main" id="{C01AC213-0F1E-CD4B-F8BB-E4899F802FFE}"/>
              </a:ext>
            </a:extLst>
          </p:cNvPr>
          <p:cNvSpPr>
            <a:spLocks noGrp="1"/>
          </p:cNvSpPr>
          <p:nvPr>
            <p:ph type="body" idx="22"/>
          </p:nvPr>
        </p:nvSpPr>
        <p:spPr/>
        <p:txBody>
          <a:bodyPr/>
          <a:lstStyle/>
          <a:p>
            <a:r>
              <a:rPr lang="en-US"/>
              <a:t>Recent Developments</a:t>
            </a:r>
          </a:p>
        </p:txBody>
      </p:sp>
      <p:sp>
        <p:nvSpPr>
          <p:cNvPr id="19" name="Content Placeholder 18">
            <a:extLst>
              <a:ext uri="{FF2B5EF4-FFF2-40B4-BE49-F238E27FC236}">
                <a16:creationId xmlns:a16="http://schemas.microsoft.com/office/drawing/2014/main" id="{E8217FE0-CEED-3389-1B28-973940881080}"/>
              </a:ext>
            </a:extLst>
          </p:cNvPr>
          <p:cNvSpPr>
            <a:spLocks noGrp="1"/>
          </p:cNvSpPr>
          <p:nvPr>
            <p:ph sz="quarter" idx="23"/>
          </p:nvPr>
        </p:nvSpPr>
        <p:spPr/>
        <p:txBody>
          <a:bodyPr>
            <a:normAutofit/>
          </a:bodyPr>
          <a:lstStyle/>
          <a:p>
            <a:pPr marL="227965" indent="-227965"/>
            <a:r>
              <a:rPr lang="en-US">
                <a:latin typeface="+mn-lt"/>
              </a:rPr>
              <a:t>The POS industry is comprised of:</a:t>
            </a:r>
          </a:p>
          <a:p>
            <a:pPr marL="448945" lvl="1" indent="-227965"/>
            <a:r>
              <a:rPr lang="en-US">
                <a:latin typeface="+mn-lt"/>
              </a:rPr>
              <a:t>Cloud based, SaaS solutions</a:t>
            </a:r>
          </a:p>
          <a:p>
            <a:pPr marL="448945" lvl="1" indent="-227965"/>
            <a:r>
              <a:rPr lang="en-US">
                <a:latin typeface="+mn-lt"/>
              </a:rPr>
              <a:t>Financial and accounting software</a:t>
            </a:r>
          </a:p>
          <a:p>
            <a:pPr marL="448945" lvl="1" indent="-227965"/>
            <a:r>
              <a:rPr lang="en-US">
                <a:latin typeface="+mn-lt"/>
              </a:rPr>
              <a:t>E-commerce and payments</a:t>
            </a:r>
          </a:p>
          <a:p>
            <a:pPr marL="227965" indent="-227965"/>
            <a:r>
              <a:rPr lang="en-US">
                <a:latin typeface="+mn-lt"/>
              </a:rPr>
              <a:t>Macroeconomic drivers:</a:t>
            </a:r>
            <a:endParaRPr lang="en-US"/>
          </a:p>
          <a:p>
            <a:pPr marL="448945" lvl="1" indent="-227965"/>
            <a:r>
              <a:rPr lang="en-US">
                <a:latin typeface="+mn-lt"/>
              </a:rPr>
              <a:t>GDP growth</a:t>
            </a:r>
          </a:p>
          <a:p>
            <a:pPr marL="448945" lvl="1" indent="-227965"/>
            <a:r>
              <a:rPr lang="en-US">
                <a:latin typeface="+mn-lt"/>
              </a:rPr>
              <a:t>Currency volatility </a:t>
            </a:r>
          </a:p>
          <a:p>
            <a:pPr marL="227965" indent="-227965"/>
            <a:r>
              <a:rPr lang="en-US">
                <a:latin typeface="+mn-lt"/>
              </a:rPr>
              <a:t>Industry drivers:</a:t>
            </a:r>
          </a:p>
          <a:p>
            <a:pPr marL="448945" lvl="1" indent="-227965"/>
            <a:r>
              <a:rPr lang="en-US">
                <a:latin typeface="+mn-lt"/>
              </a:rPr>
              <a:t>Tech advancements</a:t>
            </a:r>
          </a:p>
          <a:p>
            <a:pPr marL="448945" lvl="1" indent="-227965"/>
            <a:r>
              <a:rPr lang="en-US">
                <a:latin typeface="+mn-lt"/>
              </a:rPr>
              <a:t>Online growth</a:t>
            </a:r>
          </a:p>
          <a:p>
            <a:pPr marL="448622" lvl="1" indent="-227965"/>
            <a:endParaRPr lang="en-US" sz="1000">
              <a:latin typeface="+mn-lt"/>
            </a:endParaRPr>
          </a:p>
          <a:p>
            <a:endParaRPr lang="en-US"/>
          </a:p>
        </p:txBody>
      </p:sp>
      <p:sp>
        <p:nvSpPr>
          <p:cNvPr id="7" name="Text Placeholder 6">
            <a:extLst>
              <a:ext uri="{FF2B5EF4-FFF2-40B4-BE49-F238E27FC236}">
                <a16:creationId xmlns:a16="http://schemas.microsoft.com/office/drawing/2014/main" id="{3006AE46-3180-CFF3-D7FF-AB30A5CF1012}"/>
              </a:ext>
            </a:extLst>
          </p:cNvPr>
          <p:cNvSpPr>
            <a:spLocks noGrp="1"/>
          </p:cNvSpPr>
          <p:nvPr>
            <p:ph type="body" idx="26"/>
          </p:nvPr>
        </p:nvSpPr>
        <p:spPr/>
        <p:txBody>
          <a:bodyPr/>
          <a:lstStyle/>
          <a:p>
            <a:r>
              <a:rPr lang="en-US"/>
              <a:t>Industry Description and Drivers</a:t>
            </a:r>
          </a:p>
        </p:txBody>
      </p:sp>
      <p:sp>
        <p:nvSpPr>
          <p:cNvPr id="20" name="Text Placeholder 19">
            <a:extLst>
              <a:ext uri="{FF2B5EF4-FFF2-40B4-BE49-F238E27FC236}">
                <a16:creationId xmlns:a16="http://schemas.microsoft.com/office/drawing/2014/main" id="{C7BDA901-01F9-F8A6-389A-BEDD954879AC}"/>
              </a:ext>
            </a:extLst>
          </p:cNvPr>
          <p:cNvSpPr>
            <a:spLocks noGrp="1"/>
          </p:cNvSpPr>
          <p:nvPr>
            <p:ph type="body" idx="27"/>
          </p:nvPr>
        </p:nvSpPr>
        <p:spPr/>
        <p:txBody>
          <a:bodyPr>
            <a:normAutofit fontScale="47500" lnSpcReduction="20000"/>
          </a:bodyPr>
          <a:lstStyle/>
          <a:p>
            <a:endParaRPr lang="en-US"/>
          </a:p>
          <a:p>
            <a:r>
              <a:rPr lang="en-US" sz="2500"/>
              <a:t>Global POS Market Size (</a:t>
            </a:r>
            <a:r>
              <a:rPr lang="en-US" sz="2500" i="1"/>
              <a:t>USD bn</a:t>
            </a:r>
            <a:r>
              <a:rPr lang="en-US" sz="2500"/>
              <a:t>) (2019 – 2032E)</a:t>
            </a:r>
          </a:p>
          <a:p>
            <a:endParaRPr lang="en-US"/>
          </a:p>
        </p:txBody>
      </p:sp>
      <p:sp>
        <p:nvSpPr>
          <p:cNvPr id="21" name="Content Placeholder 20">
            <a:extLst>
              <a:ext uri="{FF2B5EF4-FFF2-40B4-BE49-F238E27FC236}">
                <a16:creationId xmlns:a16="http://schemas.microsoft.com/office/drawing/2014/main" id="{376C8074-4429-E6A9-8140-02D4F76340EF}"/>
              </a:ext>
            </a:extLst>
          </p:cNvPr>
          <p:cNvSpPr>
            <a:spLocks noGrp="1"/>
          </p:cNvSpPr>
          <p:nvPr>
            <p:ph sz="quarter" idx="28"/>
          </p:nvPr>
        </p:nvSpPr>
        <p:spPr/>
        <p:txBody>
          <a:bodyPr/>
          <a:lstStyle/>
          <a:p>
            <a:pPr marL="227965" indent="-227965"/>
            <a:r>
              <a:rPr lang="en-US">
                <a:latin typeface="+mn-lt"/>
              </a:rPr>
              <a:t>Rampant adoption of AI:</a:t>
            </a:r>
          </a:p>
          <a:p>
            <a:pPr marL="448945" lvl="1" indent="-227965"/>
            <a:r>
              <a:rPr lang="en-US">
                <a:latin typeface="+mn-lt"/>
              </a:rPr>
              <a:t>Searches for AI tools such as GitHub have been up over 8000% over 5 years</a:t>
            </a:r>
          </a:p>
          <a:p>
            <a:pPr marL="227965" indent="-227965"/>
            <a:r>
              <a:rPr lang="en-US">
                <a:latin typeface="+mn-lt"/>
              </a:rPr>
              <a:t>Codeless development:</a:t>
            </a:r>
          </a:p>
          <a:p>
            <a:pPr marL="448945" lvl="1" indent="-227965"/>
            <a:r>
              <a:rPr lang="en-US">
                <a:latin typeface="+mn-lt"/>
              </a:rPr>
              <a:t>Business' have been implementing less "tech heavy" methods of code translating to easier, faster development</a:t>
            </a:r>
          </a:p>
          <a:p>
            <a:pPr marL="227965" indent="-227965"/>
            <a:r>
              <a:rPr lang="en-US">
                <a:latin typeface="+mn-lt"/>
              </a:rPr>
              <a:t>Remote work:</a:t>
            </a:r>
          </a:p>
          <a:p>
            <a:pPr marL="448945" lvl="1" indent="-227965"/>
            <a:r>
              <a:rPr lang="en-US">
                <a:latin typeface="+mn-lt"/>
              </a:rPr>
              <a:t>Huge emphasis on cloud services due to heightened remote workers in corporate</a:t>
            </a:r>
          </a:p>
          <a:p>
            <a:endParaRPr lang="en-US"/>
          </a:p>
        </p:txBody>
      </p:sp>
      <p:graphicFrame>
        <p:nvGraphicFramePr>
          <p:cNvPr id="23" name="Content Placeholder 22">
            <a:extLst>
              <a:ext uri="{FF2B5EF4-FFF2-40B4-BE49-F238E27FC236}">
                <a16:creationId xmlns:a16="http://schemas.microsoft.com/office/drawing/2014/main" id="{E2278C71-FD41-16FA-315A-57C8D83942E3}"/>
              </a:ext>
              <a:ext uri="{147F2762-F138-4A5C-976F-8EAC2B608ADB}">
                <a16:predDERef xmlns:a16="http://schemas.microsoft.com/office/drawing/2014/main" pred="{0FB4AF1D-48D2-FE97-970D-7C8E10F5A171}"/>
              </a:ext>
            </a:extLst>
          </p:cNvPr>
          <p:cNvGraphicFramePr>
            <a:graphicFrameLocks noGrp="1"/>
          </p:cNvGraphicFramePr>
          <p:nvPr>
            <p:ph sz="quarter" idx="29"/>
            <p:extLst>
              <p:ext uri="{D42A27DB-BD31-4B8C-83A1-F6EECF244321}">
                <p14:modId xmlns:p14="http://schemas.microsoft.com/office/powerpoint/2010/main" val="2267241765"/>
              </p:ext>
            </p:extLst>
          </p:nvPr>
        </p:nvGraphicFramePr>
        <p:xfrm>
          <a:off x="250825" y="4014788"/>
          <a:ext cx="8642350" cy="2178050"/>
        </p:xfrm>
        <a:graphic>
          <a:graphicData uri="http://schemas.openxmlformats.org/drawingml/2006/chart">
            <c:chart xmlns:c="http://schemas.openxmlformats.org/drawingml/2006/chart" xmlns:r="http://schemas.openxmlformats.org/officeDocument/2006/relationships" r:id="rId2"/>
          </a:graphicData>
        </a:graphic>
      </p:graphicFrame>
      <p:sp>
        <p:nvSpPr>
          <p:cNvPr id="24" name="TextBox 23">
            <a:extLst>
              <a:ext uri="{FF2B5EF4-FFF2-40B4-BE49-F238E27FC236}">
                <a16:creationId xmlns:a16="http://schemas.microsoft.com/office/drawing/2014/main" id="{172B5697-ACE9-A24D-398D-368B079E7211}"/>
              </a:ext>
            </a:extLst>
          </p:cNvPr>
          <p:cNvSpPr txBox="1"/>
          <p:nvPr/>
        </p:nvSpPr>
        <p:spPr>
          <a:xfrm rot="20448318">
            <a:off x="6018795" y="4620127"/>
            <a:ext cx="877163" cy="230832"/>
          </a:xfrm>
          <a:prstGeom prst="rect">
            <a:avLst/>
          </a:prstGeom>
          <a:noFill/>
        </p:spPr>
        <p:txBody>
          <a:bodyPr wrap="none" rtlCol="0">
            <a:spAutoFit/>
          </a:bodyPr>
          <a:lstStyle/>
          <a:p>
            <a:r>
              <a:rPr lang="en-CA" sz="900" b="1"/>
              <a:t>CAGR 22.5%</a:t>
            </a:r>
          </a:p>
        </p:txBody>
      </p:sp>
    </p:spTree>
    <p:extLst>
      <p:ext uri="{BB962C8B-B14F-4D97-AF65-F5344CB8AC3E}">
        <p14:creationId xmlns:p14="http://schemas.microsoft.com/office/powerpoint/2010/main" val="34580940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
            <a:extLst>
              <a:ext uri="{FF2B5EF4-FFF2-40B4-BE49-F238E27FC236}">
                <a16:creationId xmlns:a16="http://schemas.microsoft.com/office/drawing/2014/main" id="{209C4384-4DE1-442C-F5B3-E8AD416729D6}"/>
              </a:ext>
            </a:extLst>
          </p:cNvPr>
          <p:cNvSpPr>
            <a:spLocks noGrp="1"/>
          </p:cNvSpPr>
          <p:nvPr>
            <p:ph type="body" sz="quarter" idx="13"/>
          </p:nvPr>
        </p:nvSpPr>
        <p:spPr>
          <a:xfrm>
            <a:off x="250825" y="6308728"/>
            <a:ext cx="8355774" cy="360357"/>
          </a:xfrm>
        </p:spPr>
        <p:txBody>
          <a:bodyPr/>
          <a:lstStyle/>
          <a:p>
            <a:r>
              <a:rPr lang="en-US"/>
              <a:t>Source(s): IBIS World, Statista, 6sense</a:t>
            </a:r>
          </a:p>
        </p:txBody>
      </p:sp>
      <p:sp>
        <p:nvSpPr>
          <p:cNvPr id="20" name="Text Placeholder 2">
            <a:extLst>
              <a:ext uri="{FF2B5EF4-FFF2-40B4-BE49-F238E27FC236}">
                <a16:creationId xmlns:a16="http://schemas.microsoft.com/office/drawing/2014/main" id="{16AFAA88-DDF8-E894-AF76-5B105086935A}"/>
              </a:ext>
            </a:extLst>
          </p:cNvPr>
          <p:cNvSpPr>
            <a:spLocks noGrp="1"/>
          </p:cNvSpPr>
          <p:nvPr>
            <p:ph type="body" sz="quarter" idx="21"/>
          </p:nvPr>
        </p:nvSpPr>
        <p:spPr>
          <a:xfrm>
            <a:off x="250827" y="584204"/>
            <a:ext cx="8642350" cy="422275"/>
          </a:xfrm>
        </p:spPr>
        <p:txBody>
          <a:bodyPr vert="horz" lIns="91440" tIns="45720" rIns="91440" bIns="45720" rtlCol="0" anchor="t">
            <a:normAutofit/>
          </a:bodyPr>
          <a:lstStyle/>
          <a:p>
            <a:r>
              <a:rPr lang="en-US"/>
              <a:t>A Look into Market Split</a:t>
            </a:r>
          </a:p>
        </p:txBody>
      </p:sp>
      <p:sp>
        <p:nvSpPr>
          <p:cNvPr id="4" name="Title 3">
            <a:extLst>
              <a:ext uri="{FF2B5EF4-FFF2-40B4-BE49-F238E27FC236}">
                <a16:creationId xmlns:a16="http://schemas.microsoft.com/office/drawing/2014/main" id="{4BEC6A86-9BB5-72F8-6EE3-CE02A3A0D7C3}"/>
              </a:ext>
            </a:extLst>
          </p:cNvPr>
          <p:cNvSpPr>
            <a:spLocks noGrp="1"/>
          </p:cNvSpPr>
          <p:nvPr>
            <p:ph type="title"/>
          </p:nvPr>
        </p:nvSpPr>
        <p:spPr>
          <a:xfrm>
            <a:off x="250825" y="187585"/>
            <a:ext cx="6658698" cy="395751"/>
          </a:xfrm>
        </p:spPr>
        <p:txBody>
          <a:bodyPr wrap="none" anchor="ctr">
            <a:normAutofit/>
          </a:bodyPr>
          <a:lstStyle/>
          <a:p>
            <a:r>
              <a:rPr lang="en-US"/>
              <a:t>Competitor Market Share</a:t>
            </a:r>
          </a:p>
        </p:txBody>
      </p:sp>
      <p:sp>
        <p:nvSpPr>
          <p:cNvPr id="22" name="Text Placeholder 4">
            <a:extLst>
              <a:ext uri="{FF2B5EF4-FFF2-40B4-BE49-F238E27FC236}">
                <a16:creationId xmlns:a16="http://schemas.microsoft.com/office/drawing/2014/main" id="{71EC417B-81A8-553E-9452-0BB9010D8C5F}"/>
              </a:ext>
            </a:extLst>
          </p:cNvPr>
          <p:cNvSpPr>
            <a:spLocks noGrp="1"/>
          </p:cNvSpPr>
          <p:nvPr>
            <p:ph type="body" idx="22"/>
          </p:nvPr>
        </p:nvSpPr>
        <p:spPr>
          <a:xfrm>
            <a:off x="4751391" y="1016004"/>
            <a:ext cx="4141786" cy="288925"/>
          </a:xfrm>
        </p:spPr>
        <p:txBody>
          <a:bodyPr/>
          <a:lstStyle/>
          <a:p>
            <a:r>
              <a:rPr lang="en-US"/>
              <a:t>Key Developments</a:t>
            </a:r>
          </a:p>
        </p:txBody>
      </p:sp>
      <p:sp>
        <p:nvSpPr>
          <p:cNvPr id="26" name="Text Placeholder 6">
            <a:extLst>
              <a:ext uri="{FF2B5EF4-FFF2-40B4-BE49-F238E27FC236}">
                <a16:creationId xmlns:a16="http://schemas.microsoft.com/office/drawing/2014/main" id="{5F4985F3-A7FA-E15E-059F-23B645DFD295}"/>
              </a:ext>
            </a:extLst>
          </p:cNvPr>
          <p:cNvSpPr>
            <a:spLocks noGrp="1"/>
          </p:cNvSpPr>
          <p:nvPr>
            <p:ph type="body" idx="26"/>
          </p:nvPr>
        </p:nvSpPr>
        <p:spPr>
          <a:xfrm>
            <a:off x="250827" y="1016004"/>
            <a:ext cx="4141786" cy="288925"/>
          </a:xfrm>
        </p:spPr>
        <p:txBody>
          <a:bodyPr>
            <a:normAutofit/>
          </a:bodyPr>
          <a:lstStyle/>
          <a:p>
            <a:r>
              <a:rPr lang="en-US"/>
              <a:t>Point-of-Sale (POS) Industry Market Share</a:t>
            </a:r>
          </a:p>
        </p:txBody>
      </p:sp>
      <p:sp>
        <p:nvSpPr>
          <p:cNvPr id="28" name="Text Placeholder 7">
            <a:extLst>
              <a:ext uri="{FF2B5EF4-FFF2-40B4-BE49-F238E27FC236}">
                <a16:creationId xmlns:a16="http://schemas.microsoft.com/office/drawing/2014/main" id="{B359C512-A33B-534A-B638-EBC7178FB608}"/>
              </a:ext>
            </a:extLst>
          </p:cNvPr>
          <p:cNvSpPr>
            <a:spLocks noGrp="1"/>
          </p:cNvSpPr>
          <p:nvPr>
            <p:ph type="body" idx="27"/>
          </p:nvPr>
        </p:nvSpPr>
        <p:spPr>
          <a:xfrm>
            <a:off x="250827" y="3646218"/>
            <a:ext cx="8642346" cy="288925"/>
          </a:xfrm>
        </p:spPr>
        <p:txBody>
          <a:bodyPr/>
          <a:lstStyle/>
          <a:p>
            <a:r>
              <a:rPr lang="en-US"/>
              <a:t>Global Point-of-Sale (POS) Payment Volume </a:t>
            </a:r>
            <a:r>
              <a:rPr lang="en-US" i="1"/>
              <a:t>(USD tn)</a:t>
            </a:r>
          </a:p>
        </p:txBody>
      </p:sp>
      <p:graphicFrame>
        <p:nvGraphicFramePr>
          <p:cNvPr id="25" name="Content Placeholder 24">
            <a:extLst>
              <a:ext uri="{FF2B5EF4-FFF2-40B4-BE49-F238E27FC236}">
                <a16:creationId xmlns:a16="http://schemas.microsoft.com/office/drawing/2014/main" id="{6F076EFF-47E0-3CDA-EE33-FB369B270692}"/>
              </a:ext>
            </a:extLst>
          </p:cNvPr>
          <p:cNvGraphicFramePr>
            <a:graphicFrameLocks noGrp="1"/>
          </p:cNvGraphicFramePr>
          <p:nvPr>
            <p:ph sz="quarter" idx="29"/>
            <p:extLst>
              <p:ext uri="{D42A27DB-BD31-4B8C-83A1-F6EECF244321}">
                <p14:modId xmlns:p14="http://schemas.microsoft.com/office/powerpoint/2010/main" val="1326864296"/>
              </p:ext>
            </p:extLst>
          </p:nvPr>
        </p:nvGraphicFramePr>
        <p:xfrm>
          <a:off x="250825" y="4014788"/>
          <a:ext cx="8642350" cy="2178050"/>
        </p:xfrm>
        <a:graphic>
          <a:graphicData uri="http://schemas.openxmlformats.org/drawingml/2006/chart">
            <c:chart xmlns:c="http://schemas.openxmlformats.org/drawingml/2006/chart" xmlns:r="http://schemas.openxmlformats.org/officeDocument/2006/relationships" r:id="rId2"/>
          </a:graphicData>
        </a:graphic>
      </p:graphicFrame>
      <p:cxnSp>
        <p:nvCxnSpPr>
          <p:cNvPr id="31" name="Straight Arrow Connector 30">
            <a:extLst>
              <a:ext uri="{FF2B5EF4-FFF2-40B4-BE49-F238E27FC236}">
                <a16:creationId xmlns:a16="http://schemas.microsoft.com/office/drawing/2014/main" id="{B6F1004C-01EE-6B65-EBC0-23F167BB177E}"/>
              </a:ext>
            </a:extLst>
          </p:cNvPr>
          <p:cNvCxnSpPr>
            <a:cxnSpLocks/>
          </p:cNvCxnSpPr>
          <p:nvPr/>
        </p:nvCxnSpPr>
        <p:spPr>
          <a:xfrm flipV="1">
            <a:off x="5770605" y="4014788"/>
            <a:ext cx="2582563" cy="754920"/>
          </a:xfrm>
          <a:prstGeom prst="straightConnector1">
            <a:avLst/>
          </a:prstGeom>
          <a:ln w="12700">
            <a:solidFill>
              <a:srgbClr val="0F3557"/>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B39DA3E8-3069-8AD3-2B7B-BD60D9E63C82}"/>
              </a:ext>
            </a:extLst>
          </p:cNvPr>
          <p:cNvSpPr txBox="1"/>
          <p:nvPr/>
        </p:nvSpPr>
        <p:spPr>
          <a:xfrm rot="20577046">
            <a:off x="6584450" y="4183951"/>
            <a:ext cx="883575" cy="230832"/>
          </a:xfrm>
          <a:prstGeom prst="rect">
            <a:avLst/>
          </a:prstGeom>
          <a:noFill/>
        </p:spPr>
        <p:txBody>
          <a:bodyPr wrap="none" rtlCol="0">
            <a:spAutoFit/>
          </a:bodyPr>
          <a:lstStyle/>
          <a:p>
            <a:r>
              <a:rPr lang="en-US" sz="900" b="1">
                <a:latin typeface="Arial" panose="020B0604020202020204" pitchFamily="34" charset="0"/>
                <a:cs typeface="Arial" panose="020B0604020202020204" pitchFamily="34" charset="0"/>
              </a:rPr>
              <a:t>13.4% CAGR</a:t>
            </a:r>
          </a:p>
        </p:txBody>
      </p:sp>
      <p:sp>
        <p:nvSpPr>
          <p:cNvPr id="10" name="Content Placeholder 9">
            <a:extLst>
              <a:ext uri="{FF2B5EF4-FFF2-40B4-BE49-F238E27FC236}">
                <a16:creationId xmlns:a16="http://schemas.microsoft.com/office/drawing/2014/main" id="{F1DBDD8D-2235-935D-1DEC-0244FBE47705}"/>
              </a:ext>
            </a:extLst>
          </p:cNvPr>
          <p:cNvSpPr>
            <a:spLocks noGrp="1"/>
          </p:cNvSpPr>
          <p:nvPr>
            <p:ph sz="quarter" idx="28"/>
          </p:nvPr>
        </p:nvSpPr>
        <p:spPr>
          <a:xfrm>
            <a:off x="4751387" y="1384303"/>
            <a:ext cx="4141785" cy="2178047"/>
          </a:xfrm>
        </p:spPr>
        <p:txBody>
          <a:bodyPr>
            <a:normAutofit lnSpcReduction="10000"/>
          </a:bodyPr>
          <a:lstStyle/>
          <a:p>
            <a:r>
              <a:rPr lang="en-CA" b="0" i="0" u="none" strike="noStrike">
                <a:solidFill>
                  <a:srgbClr val="000000"/>
                </a:solidFill>
                <a:effectLst/>
                <a:latin typeface="+mn-lt"/>
              </a:rPr>
              <a:t>The POS sector has nearly tripled in payment volume since 2017, indicating increasing adoption of digital and mobile payment solutions</a:t>
            </a:r>
          </a:p>
          <a:p>
            <a:r>
              <a:rPr lang="en-CA" i="0" u="none" strike="noStrike">
                <a:solidFill>
                  <a:srgbClr val="000000"/>
                </a:solidFill>
                <a:effectLst/>
                <a:latin typeface="+mn-lt"/>
              </a:rPr>
              <a:t>Continued innovation and cloud-based POS adoption will be key drivers of industry growth, alongside rising demand from the hospitality and retail sectors</a:t>
            </a:r>
          </a:p>
          <a:p>
            <a:r>
              <a:rPr lang="en-CA" i="0" u="none" strike="noStrike">
                <a:solidFill>
                  <a:srgbClr val="000000"/>
                </a:solidFill>
                <a:effectLst/>
                <a:latin typeface="+mn-lt"/>
              </a:rPr>
              <a:t>The POS industry is experiencing strong growth, with global payment volume expected to reach $22.0 trillion by 2029, growing at a 13.4% CAGR</a:t>
            </a:r>
          </a:p>
          <a:p>
            <a:r>
              <a:rPr lang="en-CA" i="0" u="none" strike="noStrike">
                <a:solidFill>
                  <a:srgbClr val="000000"/>
                </a:solidFill>
                <a:effectLst/>
                <a:latin typeface="+mn-lt"/>
              </a:rPr>
              <a:t>The POS industry has become highly competitive, with both established players and emerging fintech companies competing for market share</a:t>
            </a:r>
          </a:p>
          <a:p>
            <a:r>
              <a:rPr lang="en-CA" i="0" u="none" strike="noStrike">
                <a:solidFill>
                  <a:srgbClr val="000000"/>
                </a:solidFill>
                <a:effectLst/>
                <a:latin typeface="+mn-lt"/>
              </a:rPr>
              <a:t>AI-powered analytics and automation are becoming key differentiators, with Lightspeed offering predictive sales insights and inventory optimization to help businesses streamline operations and enhance decision-making</a:t>
            </a:r>
          </a:p>
          <a:p>
            <a:endParaRPr lang="en-US">
              <a:latin typeface="+mn-lt"/>
            </a:endParaRPr>
          </a:p>
        </p:txBody>
      </p:sp>
      <p:graphicFrame>
        <p:nvGraphicFramePr>
          <p:cNvPr id="3" name="Chart 2">
            <a:extLst>
              <a:ext uri="{FF2B5EF4-FFF2-40B4-BE49-F238E27FC236}">
                <a16:creationId xmlns:a16="http://schemas.microsoft.com/office/drawing/2014/main" id="{E24571A6-AB7E-3E90-2AC3-AD6CABFC28FA}"/>
              </a:ext>
            </a:extLst>
          </p:cNvPr>
          <p:cNvGraphicFramePr/>
          <p:nvPr>
            <p:extLst>
              <p:ext uri="{D42A27DB-BD31-4B8C-83A1-F6EECF244321}">
                <p14:modId xmlns:p14="http://schemas.microsoft.com/office/powerpoint/2010/main" val="496701739"/>
              </p:ext>
            </p:extLst>
          </p:nvPr>
        </p:nvGraphicFramePr>
        <p:xfrm>
          <a:off x="250825" y="1420820"/>
          <a:ext cx="4141785" cy="22079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18175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BECBF28-7AC3-329C-787B-7EE77E4830D0}"/>
              </a:ext>
            </a:extLst>
          </p:cNvPr>
          <p:cNvSpPr>
            <a:spLocks noGrp="1"/>
          </p:cNvSpPr>
          <p:nvPr>
            <p:ph type="title"/>
          </p:nvPr>
        </p:nvSpPr>
        <p:spPr/>
        <p:txBody>
          <a:bodyPr/>
          <a:lstStyle/>
          <a:p>
            <a:r>
              <a:rPr lang="en-US"/>
              <a:t>IV. Risks &amp; Catalysts</a:t>
            </a:r>
          </a:p>
        </p:txBody>
      </p:sp>
      <p:sp>
        <p:nvSpPr>
          <p:cNvPr id="14" name="Text Placeholder 13">
            <a:extLst>
              <a:ext uri="{FF2B5EF4-FFF2-40B4-BE49-F238E27FC236}">
                <a16:creationId xmlns:a16="http://schemas.microsoft.com/office/drawing/2014/main" id="{69551F58-77ED-048E-39C4-01BF33AB5C84}"/>
              </a:ext>
            </a:extLst>
          </p:cNvPr>
          <p:cNvSpPr>
            <a:spLocks noGrp="1"/>
          </p:cNvSpPr>
          <p:nvPr>
            <p:ph type="body" sz="quarter" idx="18"/>
          </p:nvPr>
        </p:nvSpPr>
        <p:spPr/>
        <p:txBody>
          <a:bodyPr/>
          <a:lstStyle/>
          <a:p>
            <a:endParaRPr lang="en-US"/>
          </a:p>
        </p:txBody>
      </p:sp>
      <p:sp>
        <p:nvSpPr>
          <p:cNvPr id="15" name="Text Placeholder 14">
            <a:extLst>
              <a:ext uri="{FF2B5EF4-FFF2-40B4-BE49-F238E27FC236}">
                <a16:creationId xmlns:a16="http://schemas.microsoft.com/office/drawing/2014/main" id="{00BF5425-61E1-912A-15F7-93FB407B4253}"/>
              </a:ext>
            </a:extLst>
          </p:cNvPr>
          <p:cNvSpPr>
            <a:spLocks noGrp="1"/>
          </p:cNvSpPr>
          <p:nvPr>
            <p:ph type="body" sz="quarter" idx="19"/>
          </p:nvPr>
        </p:nvSpPr>
        <p:spPr/>
        <p:txBody>
          <a:bodyPr/>
          <a:lstStyle/>
          <a:p>
            <a:endParaRPr lang="en-US"/>
          </a:p>
        </p:txBody>
      </p:sp>
    </p:spTree>
    <p:extLst>
      <p:ext uri="{BB962C8B-B14F-4D97-AF65-F5344CB8AC3E}">
        <p14:creationId xmlns:p14="http://schemas.microsoft.com/office/powerpoint/2010/main" val="6416633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le 54">
            <a:extLst>
              <a:ext uri="{FF2B5EF4-FFF2-40B4-BE49-F238E27FC236}">
                <a16:creationId xmlns:a16="http://schemas.microsoft.com/office/drawing/2014/main" id="{EAE270B6-C4FC-7409-1D81-9AAB73F955FD}"/>
              </a:ext>
            </a:extLst>
          </p:cNvPr>
          <p:cNvGraphicFramePr>
            <a:graphicFrameLocks noGrp="1"/>
          </p:cNvGraphicFramePr>
          <p:nvPr>
            <p:extLst>
              <p:ext uri="{D42A27DB-BD31-4B8C-83A1-F6EECF244321}">
                <p14:modId xmlns:p14="http://schemas.microsoft.com/office/powerpoint/2010/main" val="244851880"/>
              </p:ext>
            </p:extLst>
          </p:nvPr>
        </p:nvGraphicFramePr>
        <p:xfrm>
          <a:off x="456835" y="1513730"/>
          <a:ext cx="2972421" cy="2777445"/>
        </p:xfrm>
        <a:graphic>
          <a:graphicData uri="http://schemas.openxmlformats.org/drawingml/2006/table">
            <a:tbl>
              <a:tblPr firstRow="1" bandRow="1">
                <a:tableStyleId>{5C22544A-7EE6-4342-B048-85BDC9FD1C3A}</a:tableStyleId>
              </a:tblPr>
              <a:tblGrid>
                <a:gridCol w="990807">
                  <a:extLst>
                    <a:ext uri="{9D8B030D-6E8A-4147-A177-3AD203B41FA5}">
                      <a16:colId xmlns:a16="http://schemas.microsoft.com/office/drawing/2014/main" val="2697077816"/>
                    </a:ext>
                  </a:extLst>
                </a:gridCol>
                <a:gridCol w="990807">
                  <a:extLst>
                    <a:ext uri="{9D8B030D-6E8A-4147-A177-3AD203B41FA5}">
                      <a16:colId xmlns:a16="http://schemas.microsoft.com/office/drawing/2014/main" val="2016895275"/>
                    </a:ext>
                  </a:extLst>
                </a:gridCol>
                <a:gridCol w="990807">
                  <a:extLst>
                    <a:ext uri="{9D8B030D-6E8A-4147-A177-3AD203B41FA5}">
                      <a16:colId xmlns:a16="http://schemas.microsoft.com/office/drawing/2014/main" val="1703107691"/>
                    </a:ext>
                  </a:extLst>
                </a:gridCol>
              </a:tblGrid>
              <a:tr h="925815">
                <a:tc>
                  <a:txBody>
                    <a:bodyPr/>
                    <a:lstStyle/>
                    <a:p>
                      <a:endParaRPr lang="en-CA" sz="1300"/>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endParaRPr lang="en-CA" sz="130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endParaRPr lang="en-CA" sz="1300"/>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056800166"/>
                  </a:ext>
                </a:extLst>
              </a:tr>
              <a:tr h="925815">
                <a:tc>
                  <a:txBody>
                    <a:bodyPr/>
                    <a:lstStyle/>
                    <a:p>
                      <a:endParaRPr lang="en-CA" sz="1300"/>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endParaRPr lang="en-CA" sz="130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endParaRPr lang="en-CA" sz="1300"/>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16140000"/>
                  </a:ext>
                </a:extLst>
              </a:tr>
              <a:tr h="925815">
                <a:tc>
                  <a:txBody>
                    <a:bodyPr/>
                    <a:lstStyle/>
                    <a:p>
                      <a:endParaRPr lang="en-CA" sz="1300"/>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CA" sz="130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CA" sz="1300"/>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581962"/>
                  </a:ext>
                </a:extLst>
              </a:tr>
            </a:tbl>
          </a:graphicData>
        </a:graphic>
      </p:graphicFrame>
      <p:graphicFrame>
        <p:nvGraphicFramePr>
          <p:cNvPr id="57" name="Table 56">
            <a:extLst>
              <a:ext uri="{FF2B5EF4-FFF2-40B4-BE49-F238E27FC236}">
                <a16:creationId xmlns:a16="http://schemas.microsoft.com/office/drawing/2014/main" id="{1D348BF6-1B53-ADC8-1C17-20735900F53B}"/>
              </a:ext>
            </a:extLst>
          </p:cNvPr>
          <p:cNvGraphicFramePr>
            <a:graphicFrameLocks noGrp="1"/>
          </p:cNvGraphicFramePr>
          <p:nvPr>
            <p:extLst>
              <p:ext uri="{D42A27DB-BD31-4B8C-83A1-F6EECF244321}">
                <p14:modId xmlns:p14="http://schemas.microsoft.com/office/powerpoint/2010/main" val="2466460764"/>
              </p:ext>
            </p:extLst>
          </p:nvPr>
        </p:nvGraphicFramePr>
        <p:xfrm>
          <a:off x="3843251" y="1028086"/>
          <a:ext cx="5049924" cy="4864392"/>
        </p:xfrm>
        <a:graphic>
          <a:graphicData uri="http://schemas.openxmlformats.org/drawingml/2006/table">
            <a:tbl>
              <a:tblPr firstRow="1" bandRow="1">
                <a:tableStyleId>{5C22544A-7EE6-4342-B048-85BDC9FD1C3A}</a:tableStyleId>
              </a:tblPr>
              <a:tblGrid>
                <a:gridCol w="1683308">
                  <a:extLst>
                    <a:ext uri="{9D8B030D-6E8A-4147-A177-3AD203B41FA5}">
                      <a16:colId xmlns:a16="http://schemas.microsoft.com/office/drawing/2014/main" val="3067996074"/>
                    </a:ext>
                  </a:extLst>
                </a:gridCol>
                <a:gridCol w="1683308">
                  <a:extLst>
                    <a:ext uri="{9D8B030D-6E8A-4147-A177-3AD203B41FA5}">
                      <a16:colId xmlns:a16="http://schemas.microsoft.com/office/drawing/2014/main" val="1419877231"/>
                    </a:ext>
                  </a:extLst>
                </a:gridCol>
                <a:gridCol w="1683308">
                  <a:extLst>
                    <a:ext uri="{9D8B030D-6E8A-4147-A177-3AD203B41FA5}">
                      <a16:colId xmlns:a16="http://schemas.microsoft.com/office/drawing/2014/main" val="251888090"/>
                    </a:ext>
                  </a:extLst>
                </a:gridCol>
              </a:tblGrid>
              <a:tr h="264315">
                <a:tc>
                  <a:txBody>
                    <a:bodyPr/>
                    <a:lstStyle/>
                    <a:p>
                      <a:r>
                        <a:rPr lang="en-CA" sz="1200">
                          <a:solidFill>
                            <a:schemeClr val="tx2"/>
                          </a:solidFill>
                        </a:rPr>
                        <a:t>Types of Risk</a:t>
                      </a:r>
                    </a:p>
                  </a:txBody>
                  <a:tcPr>
                    <a:lnB w="9525" cap="flat" cmpd="sng" algn="ctr">
                      <a:solidFill>
                        <a:schemeClr val="tx2"/>
                      </a:solidFill>
                      <a:prstDash val="solid"/>
                      <a:round/>
                      <a:headEnd type="none" w="med" len="med"/>
                      <a:tailEnd type="none" w="med" len="med"/>
                    </a:lnB>
                    <a:noFill/>
                  </a:tcPr>
                </a:tc>
                <a:tc>
                  <a:txBody>
                    <a:bodyPr/>
                    <a:lstStyle/>
                    <a:p>
                      <a:r>
                        <a:rPr lang="en-CA" sz="1200">
                          <a:solidFill>
                            <a:schemeClr val="tx2"/>
                          </a:solidFill>
                        </a:rPr>
                        <a:t>Key Risk</a:t>
                      </a:r>
                    </a:p>
                  </a:txBody>
                  <a:tcPr>
                    <a:lnB w="9525" cap="flat" cmpd="sng" algn="ctr">
                      <a:solidFill>
                        <a:schemeClr val="tx2"/>
                      </a:solidFill>
                      <a:prstDash val="solid"/>
                      <a:round/>
                      <a:headEnd type="none" w="med" len="med"/>
                      <a:tailEnd type="none" w="med" len="med"/>
                    </a:lnB>
                    <a:noFill/>
                  </a:tcPr>
                </a:tc>
                <a:tc>
                  <a:txBody>
                    <a:bodyPr/>
                    <a:lstStyle/>
                    <a:p>
                      <a:r>
                        <a:rPr lang="en-CA" sz="1200">
                          <a:solidFill>
                            <a:schemeClr val="tx2"/>
                          </a:solidFill>
                        </a:rPr>
                        <a:t>Mitigant</a:t>
                      </a: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49427609"/>
                  </a:ext>
                </a:extLst>
              </a:tr>
              <a:tr h="2397724">
                <a:tc>
                  <a:txBody>
                    <a:bodyPr/>
                    <a:lstStyle/>
                    <a:p>
                      <a:pPr algn="ctr"/>
                      <a:r>
                        <a:rPr lang="en-CA" sz="900" b="1">
                          <a:solidFill>
                            <a:schemeClr val="bg1"/>
                          </a:solidFill>
                        </a:rPr>
                        <a:t>Business Specific Risks</a:t>
                      </a:r>
                    </a:p>
                  </a:txBody>
                  <a:tcPr anchor="ctr">
                    <a:lnT w="9525" cap="flat" cmpd="sng" algn="ctr">
                      <a:solidFill>
                        <a:schemeClr val="tx2"/>
                      </a:solidFill>
                      <a:prstDash val="solid"/>
                      <a:round/>
                      <a:headEnd type="none" w="med" len="med"/>
                      <a:tailEnd type="none" w="med" len="med"/>
                    </a:lnT>
                    <a:solidFill>
                      <a:schemeClr val="accent2">
                        <a:lumMod val="40000"/>
                        <a:lumOff val="60000"/>
                      </a:schemeClr>
                    </a:solidFill>
                  </a:tcPr>
                </a:tc>
                <a:tc>
                  <a:txBody>
                    <a:bodyPr/>
                    <a:lstStyle/>
                    <a:p>
                      <a:pPr marL="228600" indent="-228600" algn="l" rtl="0" fontAlgn="base">
                        <a:lnSpc>
                          <a:spcPct val="100000"/>
                        </a:lnSpc>
                        <a:buFont typeface="+mj-lt"/>
                        <a:buAutoNum type="alphaUcPeriod"/>
                      </a:pPr>
                      <a:r>
                        <a:rPr lang="en-CA" sz="900" b="0" i="0">
                          <a:solidFill>
                            <a:srgbClr val="000000"/>
                          </a:solidFill>
                          <a:effectLst/>
                          <a:latin typeface="+mn-lt"/>
                        </a:rPr>
                        <a:t>Successful rollout on plans for profitability </a:t>
                      </a:r>
                    </a:p>
                    <a:p>
                      <a:pPr marL="228600" indent="-228600" algn="l" rtl="0" fontAlgn="base">
                        <a:lnSpc>
                          <a:spcPct val="100000"/>
                        </a:lnSpc>
                        <a:buFont typeface="+mj-lt"/>
                        <a:buAutoNum type="alphaUcPeriod"/>
                      </a:pPr>
                      <a:endParaRPr lang="en-CA" sz="900" b="0" i="0">
                        <a:solidFill>
                          <a:srgbClr val="000000"/>
                        </a:solidFill>
                        <a:effectLst/>
                        <a:latin typeface="+mn-lt"/>
                      </a:endParaRPr>
                    </a:p>
                    <a:p>
                      <a:pPr marL="228600" indent="-228600" algn="l" rtl="0" fontAlgn="base">
                        <a:lnSpc>
                          <a:spcPct val="100000"/>
                        </a:lnSpc>
                        <a:buFont typeface="+mj-lt"/>
                        <a:buAutoNum type="alphaUcPeriod"/>
                      </a:pPr>
                      <a:endParaRPr lang="en-CA" sz="900" b="0" i="0">
                        <a:solidFill>
                          <a:srgbClr val="000000"/>
                        </a:solidFill>
                        <a:effectLst/>
                        <a:latin typeface="+mn-lt"/>
                      </a:endParaRPr>
                    </a:p>
                    <a:p>
                      <a:pPr marL="228600" indent="-228600" algn="l" rtl="0" fontAlgn="base">
                        <a:lnSpc>
                          <a:spcPct val="100000"/>
                        </a:lnSpc>
                        <a:buFont typeface="+mj-lt"/>
                        <a:buAutoNum type="alphaUcPeriod"/>
                      </a:pPr>
                      <a:endParaRPr lang="en-CA" sz="900" b="0" i="0">
                        <a:solidFill>
                          <a:srgbClr val="000000"/>
                        </a:solidFill>
                        <a:effectLst/>
                        <a:latin typeface="+mn-lt"/>
                      </a:endParaRPr>
                    </a:p>
                    <a:p>
                      <a:pPr marL="228600" indent="-228600" algn="l" rtl="0" fontAlgn="base">
                        <a:lnSpc>
                          <a:spcPct val="100000"/>
                        </a:lnSpc>
                        <a:buFont typeface="+mj-lt"/>
                        <a:buAutoNum type="alphaUcPeriod"/>
                      </a:pPr>
                      <a:r>
                        <a:rPr lang="en-CA" sz="900" b="0" i="0">
                          <a:solidFill>
                            <a:srgbClr val="000000"/>
                          </a:solidFill>
                          <a:effectLst/>
                          <a:latin typeface="+mn-lt"/>
                        </a:rPr>
                        <a:t>Lightspeed’s strong competitors with lower pricing</a:t>
                      </a:r>
                    </a:p>
                    <a:p>
                      <a:pPr marL="228600" indent="-228600" algn="l" rtl="0" fontAlgn="base">
                        <a:lnSpc>
                          <a:spcPct val="100000"/>
                        </a:lnSpc>
                        <a:buFont typeface="+mj-lt"/>
                        <a:buAutoNum type="alphaUcPeriod"/>
                      </a:pPr>
                      <a:endParaRPr lang="en-CA" sz="900" b="0" i="0">
                        <a:solidFill>
                          <a:srgbClr val="000000"/>
                        </a:solidFill>
                        <a:effectLst/>
                        <a:latin typeface="+mn-lt"/>
                      </a:endParaRPr>
                    </a:p>
                    <a:p>
                      <a:pPr marL="228600" indent="-228600" algn="l" rtl="0" fontAlgn="base">
                        <a:lnSpc>
                          <a:spcPct val="100000"/>
                        </a:lnSpc>
                        <a:buFont typeface="+mj-lt"/>
                        <a:buAutoNum type="alphaUcPeriod"/>
                      </a:pPr>
                      <a:endParaRPr lang="en-CA" sz="900" b="0" i="0">
                        <a:solidFill>
                          <a:srgbClr val="000000"/>
                        </a:solidFill>
                        <a:effectLst/>
                        <a:latin typeface="+mn-lt"/>
                      </a:endParaRPr>
                    </a:p>
                    <a:p>
                      <a:pPr marL="228600" indent="-228600" algn="l" rtl="0" fontAlgn="base">
                        <a:lnSpc>
                          <a:spcPct val="100000"/>
                        </a:lnSpc>
                        <a:buFont typeface="+mj-lt"/>
                        <a:buAutoNum type="alphaUcPeriod"/>
                      </a:pPr>
                      <a:endParaRPr lang="en-CA" sz="900" b="0" i="0">
                        <a:solidFill>
                          <a:srgbClr val="000000"/>
                        </a:solidFill>
                        <a:effectLst/>
                        <a:latin typeface="+mn-lt"/>
                      </a:endParaRPr>
                    </a:p>
                    <a:p>
                      <a:pPr marL="228600" indent="-228600" algn="l" rtl="0" fontAlgn="base">
                        <a:lnSpc>
                          <a:spcPct val="100000"/>
                        </a:lnSpc>
                        <a:buFont typeface="+mj-lt"/>
                        <a:buAutoNum type="alphaUcPeriod"/>
                      </a:pPr>
                      <a:r>
                        <a:rPr lang="en-CA" sz="900" b="0" i="0">
                          <a:solidFill>
                            <a:srgbClr val="000000"/>
                          </a:solidFill>
                          <a:effectLst/>
                          <a:latin typeface="+mn-lt"/>
                        </a:rPr>
                        <a:t>Lightspeed is a prime target for cyber attacks on financial data</a:t>
                      </a:r>
                      <a:endParaRPr lang="en-CA" sz="900" b="1" i="0">
                        <a:solidFill>
                          <a:srgbClr val="000000"/>
                        </a:solidFill>
                        <a:effectLst/>
                        <a:latin typeface="+mn-lt"/>
                      </a:endParaRPr>
                    </a:p>
                  </a:txBody>
                  <a:tcPr>
                    <a:lnT w="9525" cap="flat" cmpd="sng" algn="ctr">
                      <a:solidFill>
                        <a:schemeClr val="tx2"/>
                      </a:solidFill>
                      <a:prstDash val="solid"/>
                      <a:round/>
                      <a:headEnd type="none" w="med" len="med"/>
                      <a:tailEnd type="none" w="med" len="med"/>
                    </a:lnT>
                    <a:lnB w="19050" cap="flat" cmpd="sng" algn="ctr">
                      <a:solidFill>
                        <a:schemeClr val="accent1"/>
                      </a:solidFill>
                      <a:prstDash val="sysDash"/>
                      <a:round/>
                      <a:headEnd type="none" w="med" len="med"/>
                      <a:tailEnd type="none" w="med" len="med"/>
                    </a:lnB>
                    <a:noFill/>
                  </a:tcPr>
                </a:tc>
                <a:tc>
                  <a:txBody>
                    <a:bodyPr/>
                    <a:lstStyle/>
                    <a:p>
                      <a:pPr marL="171450" indent="-171450" algn="l">
                        <a:buFont typeface="Wingdings" panose="05000000000000000000" pitchFamily="2" charset="2"/>
                        <a:buChar char="§"/>
                      </a:pPr>
                      <a:r>
                        <a:rPr lang="en-CA" sz="900">
                          <a:latin typeface="+mn-lt"/>
                        </a:rPr>
                        <a:t>Focus towards high GTV customers, which generate higher transaction-based revenue </a:t>
                      </a:r>
                    </a:p>
                    <a:p>
                      <a:pPr marL="171450" indent="-171450" algn="l">
                        <a:buFont typeface="Wingdings" panose="05000000000000000000" pitchFamily="2" charset="2"/>
                        <a:buChar char="§"/>
                      </a:pPr>
                      <a:r>
                        <a:rPr lang="en-CA" sz="900">
                          <a:latin typeface="+mn-lt"/>
                        </a:rPr>
                        <a:t>Lightspeed differentiates itself from competitors through their omnichannel offering and integrating partnerships with suppliers for customers</a:t>
                      </a:r>
                    </a:p>
                    <a:p>
                      <a:pPr marL="171450" indent="-171450" algn="l">
                        <a:buFont typeface="Wingdings" panose="05000000000000000000" pitchFamily="2" charset="2"/>
                        <a:buChar char="§"/>
                      </a:pPr>
                      <a:r>
                        <a:rPr lang="en-CA" sz="900">
                          <a:latin typeface="+mn-lt"/>
                        </a:rPr>
                        <a:t>The firm has implemented SOC 2 Type II and ISO 27001 cybersecurity controls, and annually audits security</a:t>
                      </a:r>
                    </a:p>
                  </a:txBody>
                  <a:tcPr>
                    <a:lnT w="9525" cap="flat" cmpd="sng" algn="ctr">
                      <a:solidFill>
                        <a:schemeClr val="tx2"/>
                      </a:solidFill>
                      <a:prstDash val="solid"/>
                      <a:round/>
                      <a:headEnd type="none" w="med" len="med"/>
                      <a:tailEnd type="none" w="med" len="med"/>
                    </a:lnT>
                    <a:lnB w="19050" cap="flat" cmpd="sng" algn="ctr">
                      <a:solidFill>
                        <a:schemeClr val="accent1"/>
                      </a:solidFill>
                      <a:prstDash val="sysDash"/>
                      <a:round/>
                      <a:headEnd type="none" w="med" len="med"/>
                      <a:tailEnd type="none" w="med" len="med"/>
                    </a:lnB>
                    <a:noFill/>
                  </a:tcPr>
                </a:tc>
                <a:extLst>
                  <a:ext uri="{0D108BD9-81ED-4DB2-BD59-A6C34878D82A}">
                    <a16:rowId xmlns:a16="http://schemas.microsoft.com/office/drawing/2014/main" val="3754590454"/>
                  </a:ext>
                </a:extLst>
              </a:tr>
              <a:tr h="1096174">
                <a:tc>
                  <a:txBody>
                    <a:bodyPr/>
                    <a:lstStyle/>
                    <a:p>
                      <a:pPr algn="ctr"/>
                      <a:r>
                        <a:rPr lang="en-CA" sz="900" b="1">
                          <a:solidFill>
                            <a:schemeClr val="bg1"/>
                          </a:solidFill>
                        </a:rPr>
                        <a:t>Macroeconomic Risks</a:t>
                      </a:r>
                    </a:p>
                  </a:txBody>
                  <a:tcPr anchor="ctr">
                    <a:solidFill>
                      <a:schemeClr val="accent2">
                        <a:lumMod val="75000"/>
                      </a:schemeClr>
                    </a:solidFill>
                  </a:tcPr>
                </a:tc>
                <a:tc>
                  <a:txBody>
                    <a:bodyPr/>
                    <a:lstStyle/>
                    <a:p>
                      <a:pPr marL="228600" indent="-228600" algn="l" rtl="0" fontAlgn="base">
                        <a:lnSpc>
                          <a:spcPct val="100000"/>
                        </a:lnSpc>
                        <a:buFont typeface="+mj-lt"/>
                        <a:buAutoNum type="alphaUcPeriod" startAt="4"/>
                      </a:pPr>
                      <a:r>
                        <a:rPr lang="en-CA" sz="900" b="0" i="0">
                          <a:solidFill>
                            <a:srgbClr val="000000"/>
                          </a:solidFill>
                          <a:effectLst/>
                          <a:latin typeface="+mn-lt"/>
                        </a:rPr>
                        <a:t>Inflation, and high interest rates could reduce consumer spending and hurt SMBs</a:t>
                      </a:r>
                    </a:p>
                  </a:txBody>
                  <a:tcPr anchor="ctr">
                    <a:lnT w="19050" cap="flat" cmpd="sng" algn="ctr">
                      <a:solidFill>
                        <a:schemeClr val="accent1"/>
                      </a:solidFill>
                      <a:prstDash val="sysDash"/>
                      <a:round/>
                      <a:headEnd type="none" w="med" len="med"/>
                      <a:tailEnd type="none" w="med" len="med"/>
                    </a:lnT>
                    <a:lnB w="19050" cap="flat" cmpd="sng" algn="ctr">
                      <a:solidFill>
                        <a:schemeClr val="accent1"/>
                      </a:solidFill>
                      <a:prstDash val="sysDash"/>
                      <a:round/>
                      <a:headEnd type="none" w="med" len="med"/>
                      <a:tailEnd type="none" w="med" len="med"/>
                    </a:lnB>
                    <a:noFill/>
                  </a:tcPr>
                </a:tc>
                <a:tc>
                  <a:txBody>
                    <a:bodyPr/>
                    <a:lstStyle/>
                    <a:p>
                      <a:pPr marL="171450" indent="-171450">
                        <a:buFont typeface="Wingdings" panose="05000000000000000000" pitchFamily="2" charset="2"/>
                        <a:buChar char="§"/>
                      </a:pPr>
                      <a:r>
                        <a:rPr lang="en-CA" sz="900">
                          <a:latin typeface="+mn-lt"/>
                        </a:rPr>
                        <a:t>The firm is targeting larger SMBs. firm has also implemented merchant financing to help SMBs with payments</a:t>
                      </a:r>
                    </a:p>
                  </a:txBody>
                  <a:tcPr anchor="ctr">
                    <a:lnT w="19050" cap="flat" cmpd="sng" algn="ctr">
                      <a:solidFill>
                        <a:schemeClr val="accent1"/>
                      </a:solidFill>
                      <a:prstDash val="sysDash"/>
                      <a:round/>
                      <a:headEnd type="none" w="med" len="med"/>
                      <a:tailEnd type="none" w="med" len="med"/>
                    </a:lnT>
                    <a:lnB w="19050" cap="flat" cmpd="sng" algn="ctr">
                      <a:solidFill>
                        <a:schemeClr val="accent1"/>
                      </a:solidFill>
                      <a:prstDash val="sysDash"/>
                      <a:round/>
                      <a:headEnd type="none" w="med" len="med"/>
                      <a:tailEnd type="none" w="med" len="med"/>
                    </a:lnB>
                    <a:noFill/>
                  </a:tcPr>
                </a:tc>
                <a:extLst>
                  <a:ext uri="{0D108BD9-81ED-4DB2-BD59-A6C34878D82A}">
                    <a16:rowId xmlns:a16="http://schemas.microsoft.com/office/drawing/2014/main" val="2200568119"/>
                  </a:ext>
                </a:extLst>
              </a:tr>
              <a:tr h="1096174">
                <a:tc>
                  <a:txBody>
                    <a:bodyPr/>
                    <a:lstStyle/>
                    <a:p>
                      <a:pPr algn="ctr"/>
                      <a:r>
                        <a:rPr lang="en-CA" sz="900" b="1">
                          <a:solidFill>
                            <a:schemeClr val="bg1"/>
                          </a:solidFill>
                        </a:rPr>
                        <a:t>Legal and Regulatory Risks</a:t>
                      </a:r>
                    </a:p>
                  </a:txBody>
                  <a:tcPr anchor="ctr">
                    <a:solidFill>
                      <a:schemeClr val="tx2"/>
                    </a:solidFill>
                  </a:tcPr>
                </a:tc>
                <a:tc>
                  <a:txBody>
                    <a:bodyPr/>
                    <a:lstStyle/>
                    <a:p>
                      <a:pPr marL="228600" indent="-228600" algn="l" rtl="0" fontAlgn="base">
                        <a:lnSpc>
                          <a:spcPct val="100000"/>
                        </a:lnSpc>
                        <a:buFont typeface="+mj-lt"/>
                        <a:buAutoNum type="alphaUcPeriod" startAt="5"/>
                      </a:pPr>
                      <a:r>
                        <a:rPr lang="en-CA" sz="900" b="0" i="0">
                          <a:solidFill>
                            <a:srgbClr val="000000"/>
                          </a:solidFill>
                          <a:effectLst/>
                          <a:latin typeface="+mn-lt"/>
                        </a:rPr>
                        <a:t>Lightspeed operates in multiple jurisdictions and is subject to strict tax, data privacy, and financial regulations</a:t>
                      </a:r>
                    </a:p>
                  </a:txBody>
                  <a:tcPr anchor="ctr">
                    <a:lnT w="19050" cap="flat" cmpd="sng" algn="ctr">
                      <a:solidFill>
                        <a:schemeClr val="accent1"/>
                      </a:solidFill>
                      <a:prstDash val="sysDash"/>
                      <a:round/>
                      <a:headEnd type="none" w="med" len="med"/>
                      <a:tailEnd type="none" w="med" len="med"/>
                    </a:lnT>
                    <a:noFill/>
                  </a:tcPr>
                </a:tc>
                <a:tc>
                  <a:txBody>
                    <a:bodyPr/>
                    <a:lstStyle/>
                    <a:p>
                      <a:pPr marL="171450" indent="-171450">
                        <a:buFont typeface="Wingdings" panose="05000000000000000000" pitchFamily="2" charset="2"/>
                        <a:buChar char="§"/>
                      </a:pPr>
                      <a:r>
                        <a:rPr lang="en-CA" sz="900">
                          <a:latin typeface="+mn-lt"/>
                        </a:rPr>
                        <a:t>The firm has expanded its compliance team, and actively works with regulators to ensure compliance </a:t>
                      </a:r>
                    </a:p>
                  </a:txBody>
                  <a:tcPr anchor="ctr">
                    <a:lnT w="19050" cap="flat" cmpd="sng" algn="ctr">
                      <a:solidFill>
                        <a:schemeClr val="accent1"/>
                      </a:solidFill>
                      <a:prstDash val="sysDash"/>
                      <a:round/>
                      <a:headEnd type="none" w="med" len="med"/>
                      <a:tailEnd type="none" w="med" len="med"/>
                    </a:lnT>
                    <a:noFill/>
                  </a:tcPr>
                </a:tc>
                <a:extLst>
                  <a:ext uri="{0D108BD9-81ED-4DB2-BD59-A6C34878D82A}">
                    <a16:rowId xmlns:a16="http://schemas.microsoft.com/office/drawing/2014/main" val="1229039265"/>
                  </a:ext>
                </a:extLst>
              </a:tr>
            </a:tbl>
          </a:graphicData>
        </a:graphic>
      </p:graphicFrame>
      <p:sp>
        <p:nvSpPr>
          <p:cNvPr id="2" name="Text Placeholder 1">
            <a:extLst>
              <a:ext uri="{FF2B5EF4-FFF2-40B4-BE49-F238E27FC236}">
                <a16:creationId xmlns:a16="http://schemas.microsoft.com/office/drawing/2014/main" id="{D509BB0B-4477-2B23-85B4-4BC6073C2CDF}"/>
              </a:ext>
            </a:extLst>
          </p:cNvPr>
          <p:cNvSpPr>
            <a:spLocks noGrp="1"/>
          </p:cNvSpPr>
          <p:nvPr>
            <p:ph type="body" sz="quarter" idx="13"/>
          </p:nvPr>
        </p:nvSpPr>
        <p:spPr>
          <a:xfrm>
            <a:off x="250827" y="6486565"/>
            <a:ext cx="8355775" cy="360357"/>
          </a:xfrm>
        </p:spPr>
        <p:txBody>
          <a:bodyPr/>
          <a:lstStyle/>
          <a:p>
            <a:r>
              <a:rPr lang="en-CA" sz="700"/>
              <a:t>Source(s): Lightspeed Commerce 40-F</a:t>
            </a:r>
          </a:p>
        </p:txBody>
      </p:sp>
      <p:sp>
        <p:nvSpPr>
          <p:cNvPr id="8" name="Title 7">
            <a:extLst>
              <a:ext uri="{FF2B5EF4-FFF2-40B4-BE49-F238E27FC236}">
                <a16:creationId xmlns:a16="http://schemas.microsoft.com/office/drawing/2014/main" id="{B916DC0D-9BE8-6A75-AA01-C093459FBF85}"/>
              </a:ext>
            </a:extLst>
          </p:cNvPr>
          <p:cNvSpPr>
            <a:spLocks noGrp="1"/>
          </p:cNvSpPr>
          <p:nvPr>
            <p:ph type="title"/>
          </p:nvPr>
        </p:nvSpPr>
        <p:spPr/>
        <p:txBody>
          <a:bodyPr/>
          <a:lstStyle/>
          <a:p>
            <a:r>
              <a:rPr lang="en-US">
                <a:cs typeface="Arial"/>
              </a:rPr>
              <a:t>Risks and Potential Mitigants</a:t>
            </a:r>
          </a:p>
        </p:txBody>
      </p:sp>
      <p:graphicFrame>
        <p:nvGraphicFramePr>
          <p:cNvPr id="9" name="Table 8">
            <a:extLst>
              <a:ext uri="{FF2B5EF4-FFF2-40B4-BE49-F238E27FC236}">
                <a16:creationId xmlns:a16="http://schemas.microsoft.com/office/drawing/2014/main" id="{3165235C-75C7-B1FD-4877-9CA4A6AFDA82}"/>
              </a:ext>
            </a:extLst>
          </p:cNvPr>
          <p:cNvGraphicFramePr>
            <a:graphicFrameLocks/>
          </p:cNvGraphicFramePr>
          <p:nvPr>
            <p:extLst>
              <p:ext uri="{D42A27DB-BD31-4B8C-83A1-F6EECF244321}">
                <p14:modId xmlns:p14="http://schemas.microsoft.com/office/powerpoint/2010/main" val="325906397"/>
              </p:ext>
            </p:extLst>
          </p:nvPr>
        </p:nvGraphicFramePr>
        <p:xfrm>
          <a:off x="281035" y="1025498"/>
          <a:ext cx="3428556" cy="274320"/>
        </p:xfrm>
        <a:graphic>
          <a:graphicData uri="http://schemas.openxmlformats.org/drawingml/2006/table">
            <a:tbl>
              <a:tblPr firstRow="1" bandRow="1">
                <a:tableStyleId>{5C22544A-7EE6-4342-B048-85BDC9FD1C3A}</a:tableStyleId>
              </a:tblPr>
              <a:tblGrid>
                <a:gridCol w="3428556">
                  <a:extLst>
                    <a:ext uri="{9D8B030D-6E8A-4147-A177-3AD203B41FA5}">
                      <a16:colId xmlns:a16="http://schemas.microsoft.com/office/drawing/2014/main" val="3437084154"/>
                    </a:ext>
                  </a:extLst>
                </a:gridCol>
              </a:tblGrid>
              <a:tr h="0">
                <a:tc>
                  <a:txBody>
                    <a:bodyPr/>
                    <a:lstStyle/>
                    <a:p>
                      <a:r>
                        <a:rPr lang="en-US" sz="1200" b="1">
                          <a:solidFill>
                            <a:schemeClr val="tx2"/>
                          </a:solidFill>
                        </a:rPr>
                        <a:t>Risk Matrix</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27" name="TextBox 26">
            <a:extLst>
              <a:ext uri="{FF2B5EF4-FFF2-40B4-BE49-F238E27FC236}">
                <a16:creationId xmlns:a16="http://schemas.microsoft.com/office/drawing/2014/main" id="{6F16ED45-41B7-2DC5-753D-CE3AD2BF88BB}"/>
              </a:ext>
            </a:extLst>
          </p:cNvPr>
          <p:cNvSpPr txBox="1"/>
          <p:nvPr/>
        </p:nvSpPr>
        <p:spPr>
          <a:xfrm>
            <a:off x="582865" y="5016385"/>
            <a:ext cx="2832872" cy="254044"/>
          </a:xfrm>
          <a:prstGeom prst="rect">
            <a:avLst/>
          </a:prstGeom>
          <a:noFill/>
        </p:spPr>
        <p:txBody>
          <a:bodyPr wrap="square" lIns="91440" tIns="45720" rIns="91440" bIns="45720" rtlCol="0" anchor="ctr">
            <a:spAutoFit/>
          </a:bodyPr>
          <a:lstStyle/>
          <a:p>
            <a:pPr algn="ctr"/>
            <a:r>
              <a:rPr lang="en-US" sz="1051" b="1">
                <a:solidFill>
                  <a:schemeClr val="tx2"/>
                </a:solidFill>
              </a:rPr>
              <a:t>Mitigation Feasibility</a:t>
            </a:r>
            <a:endParaRPr lang="en-CA" sz="1051" b="1">
              <a:solidFill>
                <a:schemeClr val="tx2"/>
              </a:solidFill>
              <a:cs typeface="Arial" panose="020B0604020202020204"/>
            </a:endParaRPr>
          </a:p>
        </p:txBody>
      </p:sp>
      <p:sp>
        <p:nvSpPr>
          <p:cNvPr id="38" name="TextBox 37">
            <a:extLst>
              <a:ext uri="{FF2B5EF4-FFF2-40B4-BE49-F238E27FC236}">
                <a16:creationId xmlns:a16="http://schemas.microsoft.com/office/drawing/2014/main" id="{56D9F1FA-6B89-509E-319C-0CEDE58B3237}"/>
              </a:ext>
            </a:extLst>
          </p:cNvPr>
          <p:cNvSpPr txBox="1"/>
          <p:nvPr/>
        </p:nvSpPr>
        <p:spPr>
          <a:xfrm>
            <a:off x="571726" y="5839809"/>
            <a:ext cx="509367" cy="254044"/>
          </a:xfrm>
          <a:prstGeom prst="rect">
            <a:avLst/>
          </a:prstGeom>
          <a:noFill/>
        </p:spPr>
        <p:txBody>
          <a:bodyPr wrap="square" rtlCol="0" anchor="ctr">
            <a:spAutoFit/>
          </a:bodyPr>
          <a:lstStyle/>
          <a:p>
            <a:pPr algn="ctr"/>
            <a:r>
              <a:rPr lang="en-US" sz="1051"/>
              <a:t>Easy</a:t>
            </a:r>
            <a:endParaRPr lang="en-CA" sz="1051"/>
          </a:p>
        </p:txBody>
      </p:sp>
      <p:sp>
        <p:nvSpPr>
          <p:cNvPr id="39" name="TextBox 38">
            <a:extLst>
              <a:ext uri="{FF2B5EF4-FFF2-40B4-BE49-F238E27FC236}">
                <a16:creationId xmlns:a16="http://schemas.microsoft.com/office/drawing/2014/main" id="{270559AB-CBA0-58B0-2A83-9E9FE16C61D3}"/>
              </a:ext>
            </a:extLst>
          </p:cNvPr>
          <p:cNvSpPr txBox="1"/>
          <p:nvPr/>
        </p:nvSpPr>
        <p:spPr>
          <a:xfrm>
            <a:off x="2906366" y="5839809"/>
            <a:ext cx="509371" cy="254044"/>
          </a:xfrm>
          <a:prstGeom prst="rect">
            <a:avLst/>
          </a:prstGeom>
          <a:noFill/>
        </p:spPr>
        <p:txBody>
          <a:bodyPr wrap="square" rtlCol="0" anchor="ctr">
            <a:spAutoFit/>
          </a:bodyPr>
          <a:lstStyle/>
          <a:p>
            <a:pPr algn="ctr"/>
            <a:r>
              <a:rPr lang="en-US" sz="1051"/>
              <a:t>Hard</a:t>
            </a:r>
            <a:endParaRPr lang="en-CA" sz="1051"/>
          </a:p>
        </p:txBody>
      </p:sp>
      <p:sp>
        <p:nvSpPr>
          <p:cNvPr id="28" name="TextBox 27">
            <a:extLst>
              <a:ext uri="{FF2B5EF4-FFF2-40B4-BE49-F238E27FC236}">
                <a16:creationId xmlns:a16="http://schemas.microsoft.com/office/drawing/2014/main" id="{6C5D6567-9B40-A40B-7C5B-8D960255592A}"/>
              </a:ext>
            </a:extLst>
          </p:cNvPr>
          <p:cNvSpPr txBox="1"/>
          <p:nvPr/>
        </p:nvSpPr>
        <p:spPr>
          <a:xfrm>
            <a:off x="1485843" y="4360412"/>
            <a:ext cx="914400" cy="253916"/>
          </a:xfrm>
          <a:prstGeom prst="rect">
            <a:avLst/>
          </a:prstGeom>
          <a:noFill/>
        </p:spPr>
        <p:txBody>
          <a:bodyPr wrap="square" rtlCol="0">
            <a:spAutoFit/>
          </a:bodyPr>
          <a:lstStyle/>
          <a:p>
            <a:pPr algn="ctr"/>
            <a:r>
              <a:rPr lang="en-US" sz="1051" b="1">
                <a:solidFill>
                  <a:schemeClr val="tx2"/>
                </a:solidFill>
              </a:rPr>
              <a:t>Possibility</a:t>
            </a:r>
            <a:endParaRPr lang="en-CA" sz="1051" b="1">
              <a:solidFill>
                <a:schemeClr val="tx2"/>
              </a:solidFill>
            </a:endParaRPr>
          </a:p>
        </p:txBody>
      </p:sp>
      <p:sp>
        <p:nvSpPr>
          <p:cNvPr id="29" name="TextBox 28">
            <a:extLst>
              <a:ext uri="{FF2B5EF4-FFF2-40B4-BE49-F238E27FC236}">
                <a16:creationId xmlns:a16="http://schemas.microsoft.com/office/drawing/2014/main" id="{F8847198-379D-76E5-47A8-63897F58D478}"/>
              </a:ext>
            </a:extLst>
          </p:cNvPr>
          <p:cNvSpPr txBox="1"/>
          <p:nvPr/>
        </p:nvSpPr>
        <p:spPr>
          <a:xfrm rot="16200000">
            <a:off x="-160077" y="2775430"/>
            <a:ext cx="914400" cy="254044"/>
          </a:xfrm>
          <a:prstGeom prst="rect">
            <a:avLst/>
          </a:prstGeom>
          <a:noFill/>
        </p:spPr>
        <p:txBody>
          <a:bodyPr wrap="square" rtlCol="0">
            <a:spAutoFit/>
          </a:bodyPr>
          <a:lstStyle/>
          <a:p>
            <a:pPr algn="ctr"/>
            <a:r>
              <a:rPr lang="en-US" sz="1051" b="1">
                <a:solidFill>
                  <a:schemeClr val="tx2"/>
                </a:solidFill>
              </a:rPr>
              <a:t>Impact</a:t>
            </a:r>
            <a:endParaRPr lang="en-CA" sz="1051" b="1">
              <a:solidFill>
                <a:schemeClr val="tx2"/>
              </a:solidFill>
            </a:endParaRPr>
          </a:p>
        </p:txBody>
      </p:sp>
      <p:sp>
        <p:nvSpPr>
          <p:cNvPr id="40" name="Rectangle 39">
            <a:extLst>
              <a:ext uri="{FF2B5EF4-FFF2-40B4-BE49-F238E27FC236}">
                <a16:creationId xmlns:a16="http://schemas.microsoft.com/office/drawing/2014/main" id="{8B5CC70F-E81E-24D5-DAFC-C66E32D04200}"/>
              </a:ext>
            </a:extLst>
          </p:cNvPr>
          <p:cNvSpPr/>
          <p:nvPr/>
        </p:nvSpPr>
        <p:spPr>
          <a:xfrm>
            <a:off x="1300091" y="1776823"/>
            <a:ext cx="305208" cy="305208"/>
          </a:xfrm>
          <a:prstGeom prst="rect">
            <a:avLst/>
          </a:prstGeom>
          <a:solidFill>
            <a:srgbClr val="82B8E9"/>
          </a:solidFill>
          <a:ln w="38100">
            <a:solidFill>
              <a:srgbClr val="857C4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A</a:t>
            </a:r>
            <a:endParaRPr lang="en-CA" sz="1051"/>
          </a:p>
        </p:txBody>
      </p:sp>
      <p:sp>
        <p:nvSpPr>
          <p:cNvPr id="58" name="Rectangle 57">
            <a:extLst>
              <a:ext uri="{FF2B5EF4-FFF2-40B4-BE49-F238E27FC236}">
                <a16:creationId xmlns:a16="http://schemas.microsoft.com/office/drawing/2014/main" id="{7C07C35D-ABF0-CC1E-649A-A24A7D72AF9C}"/>
              </a:ext>
            </a:extLst>
          </p:cNvPr>
          <p:cNvSpPr/>
          <p:nvPr/>
        </p:nvSpPr>
        <p:spPr>
          <a:xfrm>
            <a:off x="2567989" y="1653031"/>
            <a:ext cx="305208" cy="305208"/>
          </a:xfrm>
          <a:prstGeom prst="rect">
            <a:avLst/>
          </a:prstGeom>
          <a:solidFill>
            <a:srgbClr val="82B8E9"/>
          </a:solidFill>
          <a:ln w="3810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B</a:t>
            </a:r>
          </a:p>
        </p:txBody>
      </p:sp>
      <p:sp>
        <p:nvSpPr>
          <p:cNvPr id="59" name="Rectangle 58">
            <a:extLst>
              <a:ext uri="{FF2B5EF4-FFF2-40B4-BE49-F238E27FC236}">
                <a16:creationId xmlns:a16="http://schemas.microsoft.com/office/drawing/2014/main" id="{CC684538-12DC-D7EA-1D6B-1C5B34B9C726}"/>
              </a:ext>
            </a:extLst>
          </p:cNvPr>
          <p:cNvSpPr/>
          <p:nvPr/>
        </p:nvSpPr>
        <p:spPr>
          <a:xfrm>
            <a:off x="2906366" y="2093052"/>
            <a:ext cx="305208" cy="305208"/>
          </a:xfrm>
          <a:prstGeom prst="rect">
            <a:avLst/>
          </a:prstGeom>
          <a:solidFill>
            <a:schemeClr val="accent3"/>
          </a:solidFill>
          <a:ln w="3810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C</a:t>
            </a:r>
            <a:endParaRPr lang="en-CA" sz="1051"/>
          </a:p>
        </p:txBody>
      </p:sp>
      <p:sp>
        <p:nvSpPr>
          <p:cNvPr id="60" name="Rectangle 59">
            <a:extLst>
              <a:ext uri="{FF2B5EF4-FFF2-40B4-BE49-F238E27FC236}">
                <a16:creationId xmlns:a16="http://schemas.microsoft.com/office/drawing/2014/main" id="{C5351780-064C-70F0-2CE6-F1CD882E69FA}"/>
              </a:ext>
            </a:extLst>
          </p:cNvPr>
          <p:cNvSpPr/>
          <p:nvPr/>
        </p:nvSpPr>
        <p:spPr>
          <a:xfrm>
            <a:off x="1749229" y="2926096"/>
            <a:ext cx="305208" cy="305208"/>
          </a:xfrm>
          <a:prstGeom prst="rect">
            <a:avLst/>
          </a:prstGeom>
          <a:solidFill>
            <a:srgbClr val="1D67AA"/>
          </a:solidFill>
          <a:ln w="38100">
            <a:solidFill>
              <a:schemeClr val="accent4">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D</a:t>
            </a:r>
          </a:p>
        </p:txBody>
      </p:sp>
      <p:sp>
        <p:nvSpPr>
          <p:cNvPr id="61" name="Rectangle 60">
            <a:extLst>
              <a:ext uri="{FF2B5EF4-FFF2-40B4-BE49-F238E27FC236}">
                <a16:creationId xmlns:a16="http://schemas.microsoft.com/office/drawing/2014/main" id="{2631D549-1737-0436-E711-FEE31ED80F8B}"/>
              </a:ext>
            </a:extLst>
          </p:cNvPr>
          <p:cNvSpPr/>
          <p:nvPr/>
        </p:nvSpPr>
        <p:spPr>
          <a:xfrm>
            <a:off x="994883" y="2904320"/>
            <a:ext cx="305208" cy="305208"/>
          </a:xfrm>
          <a:prstGeom prst="rect">
            <a:avLst/>
          </a:prstGeom>
          <a:solidFill>
            <a:schemeClr val="tx2"/>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E</a:t>
            </a:r>
          </a:p>
        </p:txBody>
      </p:sp>
      <p:cxnSp>
        <p:nvCxnSpPr>
          <p:cNvPr id="63" name="Straight Connector 62">
            <a:extLst>
              <a:ext uri="{FF2B5EF4-FFF2-40B4-BE49-F238E27FC236}">
                <a16:creationId xmlns:a16="http://schemas.microsoft.com/office/drawing/2014/main" id="{6CEEF454-B5B9-8028-36DE-5943FDB1844B}"/>
              </a:ext>
            </a:extLst>
          </p:cNvPr>
          <p:cNvCxnSpPr>
            <a:cxnSpLocks/>
          </p:cNvCxnSpPr>
          <p:nvPr/>
        </p:nvCxnSpPr>
        <p:spPr>
          <a:xfrm flipV="1">
            <a:off x="571726" y="5266812"/>
            <a:ext cx="2847175" cy="7235"/>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Arrow Connector 23">
            <a:extLst>
              <a:ext uri="{FF2B5EF4-FFF2-40B4-BE49-F238E27FC236}">
                <a16:creationId xmlns:a16="http://schemas.microsoft.com/office/drawing/2014/main" id="{2A1D9FCC-EC66-4A7D-32B0-F83A162519F7}"/>
              </a:ext>
            </a:extLst>
          </p:cNvPr>
          <p:cNvCxnSpPr>
            <a:cxnSpLocks/>
          </p:cNvCxnSpPr>
          <p:nvPr/>
        </p:nvCxnSpPr>
        <p:spPr>
          <a:xfrm>
            <a:off x="456835" y="4350323"/>
            <a:ext cx="297242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4">
            <a:extLst>
              <a:ext uri="{FF2B5EF4-FFF2-40B4-BE49-F238E27FC236}">
                <a16:creationId xmlns:a16="http://schemas.microsoft.com/office/drawing/2014/main" id="{DF2D3AB6-6842-7F17-33C3-06B5736C3EF4}"/>
              </a:ext>
            </a:extLst>
          </p:cNvPr>
          <p:cNvCxnSpPr>
            <a:cxnSpLocks/>
          </p:cNvCxnSpPr>
          <p:nvPr/>
        </p:nvCxnSpPr>
        <p:spPr>
          <a:xfrm flipV="1">
            <a:off x="391453" y="1513730"/>
            <a:ext cx="0" cy="28365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5D3804B2-8A2C-F873-2DAA-C71C2EB11911}"/>
              </a:ext>
            </a:extLst>
          </p:cNvPr>
          <p:cNvSpPr/>
          <p:nvPr/>
        </p:nvSpPr>
        <p:spPr>
          <a:xfrm>
            <a:off x="582865" y="5329256"/>
            <a:ext cx="509371" cy="5093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a:p>
        </p:txBody>
      </p:sp>
      <p:sp>
        <p:nvSpPr>
          <p:cNvPr id="6" name="Rectangle 5">
            <a:extLst>
              <a:ext uri="{FF2B5EF4-FFF2-40B4-BE49-F238E27FC236}">
                <a16:creationId xmlns:a16="http://schemas.microsoft.com/office/drawing/2014/main" id="{F260EEB8-3E89-2E03-C12A-719C62B3778F}"/>
              </a:ext>
            </a:extLst>
          </p:cNvPr>
          <p:cNvSpPr/>
          <p:nvPr/>
        </p:nvSpPr>
        <p:spPr>
          <a:xfrm>
            <a:off x="1746197" y="5329254"/>
            <a:ext cx="509371" cy="509371"/>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a:p>
        </p:txBody>
      </p:sp>
      <p:sp>
        <p:nvSpPr>
          <p:cNvPr id="10" name="Rectangle 9">
            <a:extLst>
              <a:ext uri="{FF2B5EF4-FFF2-40B4-BE49-F238E27FC236}">
                <a16:creationId xmlns:a16="http://schemas.microsoft.com/office/drawing/2014/main" id="{676D22EC-51C8-A4A0-550B-0E6D952198F6}"/>
              </a:ext>
            </a:extLst>
          </p:cNvPr>
          <p:cNvSpPr/>
          <p:nvPr/>
        </p:nvSpPr>
        <p:spPr>
          <a:xfrm>
            <a:off x="2906369" y="5329254"/>
            <a:ext cx="509371" cy="509371"/>
          </a:xfrm>
          <a:prstGeom prst="rect">
            <a:avLst/>
          </a:prstGeom>
          <a:solidFill>
            <a:schemeClr val="accent4">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a:p>
        </p:txBody>
      </p:sp>
      <p:sp>
        <p:nvSpPr>
          <p:cNvPr id="15" name="Text Placeholder 14">
            <a:extLst>
              <a:ext uri="{FF2B5EF4-FFF2-40B4-BE49-F238E27FC236}">
                <a16:creationId xmlns:a16="http://schemas.microsoft.com/office/drawing/2014/main" id="{A0AABE8F-8670-0AB9-A2C9-5B3EBACBF373}"/>
              </a:ext>
            </a:extLst>
          </p:cNvPr>
          <p:cNvSpPr>
            <a:spLocks noGrp="1"/>
          </p:cNvSpPr>
          <p:nvPr>
            <p:ph type="body" sz="quarter" idx="21"/>
          </p:nvPr>
        </p:nvSpPr>
        <p:spPr/>
        <p:txBody>
          <a:bodyPr vert="horz" lIns="91440" tIns="45720" rIns="91440" bIns="45720" rtlCol="0" anchor="t">
            <a:normAutofit/>
          </a:bodyPr>
          <a:lstStyle/>
          <a:p>
            <a:r>
              <a:rPr lang="en-CA"/>
              <a:t>Key Risks and Potential Mitigants</a:t>
            </a:r>
          </a:p>
        </p:txBody>
      </p:sp>
      <p:sp>
        <p:nvSpPr>
          <p:cNvPr id="7" name="TextBox 6">
            <a:extLst>
              <a:ext uri="{FF2B5EF4-FFF2-40B4-BE49-F238E27FC236}">
                <a16:creationId xmlns:a16="http://schemas.microsoft.com/office/drawing/2014/main" id="{3A11754A-72C6-BCE5-0758-B3C6FB044A57}"/>
              </a:ext>
            </a:extLst>
          </p:cNvPr>
          <p:cNvSpPr txBox="1"/>
          <p:nvPr/>
        </p:nvSpPr>
        <p:spPr>
          <a:xfrm>
            <a:off x="1665124" y="5839809"/>
            <a:ext cx="668352" cy="254044"/>
          </a:xfrm>
          <a:prstGeom prst="rect">
            <a:avLst/>
          </a:prstGeom>
          <a:noFill/>
        </p:spPr>
        <p:txBody>
          <a:bodyPr wrap="square" rtlCol="0" anchor="ctr">
            <a:spAutoFit/>
          </a:bodyPr>
          <a:lstStyle/>
          <a:p>
            <a:pPr algn="ctr"/>
            <a:r>
              <a:rPr lang="en-US" sz="1051"/>
              <a:t>Medium</a:t>
            </a:r>
            <a:endParaRPr lang="en-CA" sz="1051"/>
          </a:p>
        </p:txBody>
      </p:sp>
    </p:spTree>
    <p:extLst>
      <p:ext uri="{BB962C8B-B14F-4D97-AF65-F5344CB8AC3E}">
        <p14:creationId xmlns:p14="http://schemas.microsoft.com/office/powerpoint/2010/main" val="3956443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761DA7-7BB9-0D68-683D-DC213CC0DFC2}"/>
              </a:ext>
            </a:extLst>
          </p:cNvPr>
          <p:cNvSpPr>
            <a:spLocks noGrp="1"/>
          </p:cNvSpPr>
          <p:nvPr>
            <p:ph type="body" sz="quarter" idx="13"/>
          </p:nvPr>
        </p:nvSpPr>
        <p:spPr/>
        <p:txBody>
          <a:bodyPr/>
          <a:lstStyle/>
          <a:p>
            <a:r>
              <a:rPr lang="en-US" noProof="0"/>
              <a:t>Source(s): Lightspeed Commerce 40-F</a:t>
            </a:r>
          </a:p>
        </p:txBody>
      </p:sp>
      <p:sp>
        <p:nvSpPr>
          <p:cNvPr id="3" name="Text Placeholder 2">
            <a:extLst>
              <a:ext uri="{FF2B5EF4-FFF2-40B4-BE49-F238E27FC236}">
                <a16:creationId xmlns:a16="http://schemas.microsoft.com/office/drawing/2014/main" id="{F239DFE9-552A-23B2-0948-32835BF64730}"/>
              </a:ext>
            </a:extLst>
          </p:cNvPr>
          <p:cNvSpPr>
            <a:spLocks noGrp="1"/>
          </p:cNvSpPr>
          <p:nvPr>
            <p:ph type="body" sz="quarter" idx="21"/>
          </p:nvPr>
        </p:nvSpPr>
        <p:spPr/>
        <p:txBody>
          <a:bodyPr/>
          <a:lstStyle/>
          <a:p>
            <a:r>
              <a:rPr lang="en-US"/>
              <a:t>Main </a:t>
            </a:r>
            <a:r>
              <a:rPr lang="en-US" noProof="0"/>
              <a:t>Growth Factors</a:t>
            </a:r>
          </a:p>
        </p:txBody>
      </p:sp>
      <p:sp>
        <p:nvSpPr>
          <p:cNvPr id="4" name="Title 3">
            <a:extLst>
              <a:ext uri="{FF2B5EF4-FFF2-40B4-BE49-F238E27FC236}">
                <a16:creationId xmlns:a16="http://schemas.microsoft.com/office/drawing/2014/main" id="{6E1E23E1-BB90-0F87-512E-303562EF4368}"/>
              </a:ext>
            </a:extLst>
          </p:cNvPr>
          <p:cNvSpPr>
            <a:spLocks noGrp="1"/>
          </p:cNvSpPr>
          <p:nvPr>
            <p:ph type="title"/>
          </p:nvPr>
        </p:nvSpPr>
        <p:spPr/>
        <p:txBody>
          <a:bodyPr/>
          <a:lstStyle/>
          <a:p>
            <a:r>
              <a:rPr lang="en-US" noProof="0"/>
              <a:t>Catalysts</a:t>
            </a:r>
          </a:p>
        </p:txBody>
      </p:sp>
      <p:sp>
        <p:nvSpPr>
          <p:cNvPr id="5" name="Text Placeholder 4">
            <a:extLst>
              <a:ext uri="{FF2B5EF4-FFF2-40B4-BE49-F238E27FC236}">
                <a16:creationId xmlns:a16="http://schemas.microsoft.com/office/drawing/2014/main" id="{B19017A5-2AE3-28B3-CDFB-22D93047520F}"/>
              </a:ext>
            </a:extLst>
          </p:cNvPr>
          <p:cNvSpPr>
            <a:spLocks noGrp="1"/>
          </p:cNvSpPr>
          <p:nvPr>
            <p:ph type="body" idx="22"/>
          </p:nvPr>
        </p:nvSpPr>
        <p:spPr/>
        <p:txBody>
          <a:bodyPr/>
          <a:lstStyle/>
          <a:p>
            <a:r>
              <a:rPr lang="en-US" noProof="0"/>
              <a:t>Details</a:t>
            </a:r>
          </a:p>
        </p:txBody>
      </p:sp>
      <p:sp>
        <p:nvSpPr>
          <p:cNvPr id="7" name="Text Placeholder 6">
            <a:extLst>
              <a:ext uri="{FF2B5EF4-FFF2-40B4-BE49-F238E27FC236}">
                <a16:creationId xmlns:a16="http://schemas.microsoft.com/office/drawing/2014/main" id="{D4B0CF55-D7B1-1CAE-C504-077C1CA3A13B}"/>
              </a:ext>
            </a:extLst>
          </p:cNvPr>
          <p:cNvSpPr>
            <a:spLocks noGrp="1"/>
          </p:cNvSpPr>
          <p:nvPr>
            <p:ph type="body" idx="26"/>
          </p:nvPr>
        </p:nvSpPr>
        <p:spPr/>
        <p:txBody>
          <a:bodyPr/>
          <a:lstStyle/>
          <a:p>
            <a:r>
              <a:rPr lang="en-US" noProof="0"/>
              <a:t>Main Catalysts</a:t>
            </a:r>
          </a:p>
        </p:txBody>
      </p:sp>
      <p:sp>
        <p:nvSpPr>
          <p:cNvPr id="9" name="Rectangle 8">
            <a:extLst>
              <a:ext uri="{FF2B5EF4-FFF2-40B4-BE49-F238E27FC236}">
                <a16:creationId xmlns:a16="http://schemas.microsoft.com/office/drawing/2014/main" id="{3A83B4C6-0D10-8792-4C27-43B36728DF9E}"/>
              </a:ext>
            </a:extLst>
          </p:cNvPr>
          <p:cNvSpPr/>
          <p:nvPr/>
        </p:nvSpPr>
        <p:spPr>
          <a:xfrm>
            <a:off x="256377" y="1384303"/>
            <a:ext cx="4136236" cy="11841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b="1" noProof="0">
                <a:cs typeface="Arial"/>
              </a:rPr>
              <a:t>Capital Markets Day</a:t>
            </a:r>
          </a:p>
        </p:txBody>
      </p:sp>
      <p:sp>
        <p:nvSpPr>
          <p:cNvPr id="10" name="Rectangle 9">
            <a:extLst>
              <a:ext uri="{FF2B5EF4-FFF2-40B4-BE49-F238E27FC236}">
                <a16:creationId xmlns:a16="http://schemas.microsoft.com/office/drawing/2014/main" id="{808E3B31-0AA9-9C92-637C-8CD6F708AA7E}"/>
              </a:ext>
            </a:extLst>
          </p:cNvPr>
          <p:cNvSpPr/>
          <p:nvPr/>
        </p:nvSpPr>
        <p:spPr>
          <a:xfrm>
            <a:off x="256378" y="2821090"/>
            <a:ext cx="4136236" cy="11841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b="1" noProof="0">
              <a:solidFill>
                <a:srgbClr val="FFFFFF"/>
              </a:solidFill>
              <a:cs typeface="Arial"/>
            </a:endParaRPr>
          </a:p>
          <a:p>
            <a:pPr algn="ctr"/>
            <a:r>
              <a:rPr lang="en-US" sz="900" b="1" noProof="0">
                <a:cs typeface="Arial"/>
              </a:rPr>
              <a:t>EUR/USD FX and Increased European Tourism</a:t>
            </a:r>
          </a:p>
        </p:txBody>
      </p:sp>
      <p:sp>
        <p:nvSpPr>
          <p:cNvPr id="11" name="Rectangle 10">
            <a:extLst>
              <a:ext uri="{FF2B5EF4-FFF2-40B4-BE49-F238E27FC236}">
                <a16:creationId xmlns:a16="http://schemas.microsoft.com/office/drawing/2014/main" id="{21B135DF-EE58-C7DA-0E2F-7E34EFBE790C}"/>
              </a:ext>
            </a:extLst>
          </p:cNvPr>
          <p:cNvSpPr/>
          <p:nvPr/>
        </p:nvSpPr>
        <p:spPr>
          <a:xfrm>
            <a:off x="250829" y="4346133"/>
            <a:ext cx="4136236" cy="11841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b="1" noProof="0">
                <a:solidFill>
                  <a:schemeClr val="bg1"/>
                </a:solidFill>
                <a:cs typeface="Arial"/>
              </a:rPr>
              <a:t>Payments Growth and Unit Economics </a:t>
            </a:r>
          </a:p>
        </p:txBody>
      </p:sp>
      <p:sp>
        <p:nvSpPr>
          <p:cNvPr id="12" name="Rectangle 11">
            <a:extLst>
              <a:ext uri="{FF2B5EF4-FFF2-40B4-BE49-F238E27FC236}">
                <a16:creationId xmlns:a16="http://schemas.microsoft.com/office/drawing/2014/main" id="{CEC2F80C-9C5D-9D96-740A-04A98902D5F9}"/>
              </a:ext>
            </a:extLst>
          </p:cNvPr>
          <p:cNvSpPr/>
          <p:nvPr/>
        </p:nvSpPr>
        <p:spPr>
          <a:xfrm>
            <a:off x="4764271" y="1384303"/>
            <a:ext cx="4136235" cy="11841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noProof="0">
                <a:solidFill>
                  <a:schemeClr val="tx1"/>
                </a:solidFill>
                <a:cs typeface="Arial"/>
              </a:rPr>
              <a:t>Lightspeed scheduled a Capital Markets Day on March 26, 2025, where management is expected to present their long-term strategy. They are expected to provide guidance on profitability, new product initiatives, and a more precise timeline for reaching positive FCFF</a:t>
            </a:r>
          </a:p>
        </p:txBody>
      </p:sp>
      <p:sp>
        <p:nvSpPr>
          <p:cNvPr id="13" name="Rectangle 12">
            <a:extLst>
              <a:ext uri="{FF2B5EF4-FFF2-40B4-BE49-F238E27FC236}">
                <a16:creationId xmlns:a16="http://schemas.microsoft.com/office/drawing/2014/main" id="{7F2D9661-1366-EF06-2ABF-2FBCCDDFFBEA}"/>
              </a:ext>
            </a:extLst>
          </p:cNvPr>
          <p:cNvSpPr/>
          <p:nvPr/>
        </p:nvSpPr>
        <p:spPr>
          <a:xfrm>
            <a:off x="4763680" y="2821087"/>
            <a:ext cx="4136235" cy="11841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noProof="0">
                <a:solidFill>
                  <a:schemeClr val="tx1"/>
                </a:solidFill>
              </a:rPr>
              <a:t>The strength of the USD relative to the Euro (~1.04) provides an incentive for travel, </a:t>
            </a:r>
            <a:r>
              <a:rPr lang="en-US" sz="900">
                <a:solidFill>
                  <a:schemeClr val="tx1"/>
                </a:solidFill>
              </a:rPr>
              <a:t>similar to the influx of tourism to Japan since 2021. Lightspeed payments will see growth in their European hospitality segment</a:t>
            </a:r>
            <a:endParaRPr lang="en-US" sz="900" noProof="0">
              <a:solidFill>
                <a:schemeClr val="tx1"/>
              </a:solidFill>
            </a:endParaRPr>
          </a:p>
        </p:txBody>
      </p:sp>
      <p:sp>
        <p:nvSpPr>
          <p:cNvPr id="14" name="Rectangle 13">
            <a:extLst>
              <a:ext uri="{FF2B5EF4-FFF2-40B4-BE49-F238E27FC236}">
                <a16:creationId xmlns:a16="http://schemas.microsoft.com/office/drawing/2014/main" id="{FEA3D206-52E8-B71E-5BF0-8F1DF368A6BD}"/>
              </a:ext>
            </a:extLst>
          </p:cNvPr>
          <p:cNvSpPr/>
          <p:nvPr/>
        </p:nvSpPr>
        <p:spPr>
          <a:xfrm>
            <a:off x="4751396" y="4346134"/>
            <a:ext cx="4148285" cy="11841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noProof="0">
                <a:solidFill>
                  <a:schemeClr val="tx1"/>
                </a:solidFill>
                <a:cs typeface="Arial"/>
              </a:rPr>
              <a:t>Lightspeed’s payment business is scaling rapidly, with 34% YoY growth during Q3 2025. Average revenue per user grew 19% YoY during the same period. Increases in adoption for Lightspeed Payments will improve gross margins and EBITDA. Lightspeed has also bundled payments with POS, forcing adoption on new and existing customers</a:t>
            </a:r>
          </a:p>
        </p:txBody>
      </p:sp>
    </p:spTree>
    <p:extLst>
      <p:ext uri="{BB962C8B-B14F-4D97-AF65-F5344CB8AC3E}">
        <p14:creationId xmlns:p14="http://schemas.microsoft.com/office/powerpoint/2010/main" val="32235448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7479727-6842-493B-A130-186593A9FEA5}"/>
              </a:ext>
            </a:extLst>
          </p:cNvPr>
          <p:cNvSpPr>
            <a:spLocks noGrp="1"/>
          </p:cNvSpPr>
          <p:nvPr>
            <p:ph type="title"/>
          </p:nvPr>
        </p:nvSpPr>
        <p:spPr/>
        <p:txBody>
          <a:bodyPr/>
          <a:lstStyle/>
          <a:p>
            <a:r>
              <a:rPr lang="en-US"/>
              <a:t>V. Investment Theses</a:t>
            </a:r>
          </a:p>
        </p:txBody>
      </p:sp>
      <p:sp>
        <p:nvSpPr>
          <p:cNvPr id="10" name="Text Placeholder 9">
            <a:extLst>
              <a:ext uri="{FF2B5EF4-FFF2-40B4-BE49-F238E27FC236}">
                <a16:creationId xmlns:a16="http://schemas.microsoft.com/office/drawing/2014/main" id="{AA6C207C-03CB-F3CC-113D-E9AA6326EBF7}"/>
              </a:ext>
            </a:extLst>
          </p:cNvPr>
          <p:cNvSpPr>
            <a:spLocks noGrp="1"/>
          </p:cNvSpPr>
          <p:nvPr>
            <p:ph type="body" sz="quarter" idx="18"/>
          </p:nvPr>
        </p:nvSpPr>
        <p:spPr/>
        <p:txBody>
          <a:bodyPr/>
          <a:lstStyle/>
          <a:p>
            <a:endParaRPr lang="en-US"/>
          </a:p>
        </p:txBody>
      </p:sp>
      <p:sp>
        <p:nvSpPr>
          <p:cNvPr id="11" name="Text Placeholder 10">
            <a:extLst>
              <a:ext uri="{FF2B5EF4-FFF2-40B4-BE49-F238E27FC236}">
                <a16:creationId xmlns:a16="http://schemas.microsoft.com/office/drawing/2014/main" id="{76DC5A60-1DB1-BA52-65EE-5017E32A0306}"/>
              </a:ext>
            </a:extLst>
          </p:cNvPr>
          <p:cNvSpPr>
            <a:spLocks noGrp="1"/>
          </p:cNvSpPr>
          <p:nvPr>
            <p:ph type="body" sz="quarter" idx="19"/>
          </p:nvPr>
        </p:nvSpPr>
        <p:spPr/>
        <p:txBody>
          <a:bodyPr/>
          <a:lstStyle/>
          <a:p>
            <a:endParaRPr lang="en-US"/>
          </a:p>
        </p:txBody>
      </p:sp>
    </p:spTree>
    <p:extLst>
      <p:ext uri="{BB962C8B-B14F-4D97-AF65-F5344CB8AC3E}">
        <p14:creationId xmlns:p14="http://schemas.microsoft.com/office/powerpoint/2010/main" val="23578041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406DE363-2CF0-3748-B18C-445A85DC0563}"/>
              </a:ext>
            </a:extLst>
          </p:cNvPr>
          <p:cNvGraphicFramePr>
            <a:graphicFrameLocks/>
          </p:cNvGraphicFramePr>
          <p:nvPr>
            <p:extLst>
              <p:ext uri="{D42A27DB-BD31-4B8C-83A1-F6EECF244321}">
                <p14:modId xmlns:p14="http://schemas.microsoft.com/office/powerpoint/2010/main" val="3493998970"/>
              </p:ext>
            </p:extLst>
          </p:nvPr>
        </p:nvGraphicFramePr>
        <p:xfrm>
          <a:off x="4751383" y="1421149"/>
          <a:ext cx="4141789" cy="21410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ontent Placeholder 18">
            <a:extLst>
              <a:ext uri="{FF2B5EF4-FFF2-40B4-BE49-F238E27FC236}">
                <a16:creationId xmlns:a16="http://schemas.microsoft.com/office/drawing/2014/main" id="{C251B1FE-75FC-E847-7258-12334D81AA9F}"/>
              </a:ext>
            </a:extLst>
          </p:cNvPr>
          <p:cNvGraphicFramePr>
            <a:graphicFrameLocks noGrp="1"/>
          </p:cNvGraphicFramePr>
          <p:nvPr>
            <p:ph sz="quarter" idx="29"/>
            <p:extLst>
              <p:ext uri="{D42A27DB-BD31-4B8C-83A1-F6EECF244321}">
                <p14:modId xmlns:p14="http://schemas.microsoft.com/office/powerpoint/2010/main" val="2678062752"/>
              </p:ext>
            </p:extLst>
          </p:nvPr>
        </p:nvGraphicFramePr>
        <p:xfrm>
          <a:off x="248485" y="4032910"/>
          <a:ext cx="4122164" cy="217805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 Placeholder 7">
            <a:extLst>
              <a:ext uri="{FF2B5EF4-FFF2-40B4-BE49-F238E27FC236}">
                <a16:creationId xmlns:a16="http://schemas.microsoft.com/office/drawing/2014/main" id="{78490266-9AE6-9283-ADD8-71D62379BDF3}"/>
              </a:ext>
            </a:extLst>
          </p:cNvPr>
          <p:cNvSpPr>
            <a:spLocks noGrp="1"/>
          </p:cNvSpPr>
          <p:nvPr>
            <p:ph type="body" sz="quarter" idx="13"/>
          </p:nvPr>
        </p:nvSpPr>
        <p:spPr/>
        <p:txBody>
          <a:bodyPr/>
          <a:lstStyle/>
          <a:p>
            <a:r>
              <a:rPr lang="en-US"/>
              <a:t>Source(s): Company Website , Lightspeed 40-F, Statista, The Business Research Company</a:t>
            </a:r>
          </a:p>
        </p:txBody>
      </p:sp>
      <p:sp>
        <p:nvSpPr>
          <p:cNvPr id="9" name="Text Placeholder 8">
            <a:extLst>
              <a:ext uri="{FF2B5EF4-FFF2-40B4-BE49-F238E27FC236}">
                <a16:creationId xmlns:a16="http://schemas.microsoft.com/office/drawing/2014/main" id="{F05FFD3B-3ACC-8772-DC09-FE3435652F30}"/>
              </a:ext>
            </a:extLst>
          </p:cNvPr>
          <p:cNvSpPr>
            <a:spLocks noGrp="1"/>
          </p:cNvSpPr>
          <p:nvPr>
            <p:ph type="body" sz="quarter" idx="21"/>
          </p:nvPr>
        </p:nvSpPr>
        <p:spPr/>
        <p:txBody>
          <a:bodyPr vert="horz" lIns="91440" tIns="45720" rIns="91440" bIns="45720" rtlCol="0" anchor="t">
            <a:normAutofit/>
          </a:bodyPr>
          <a:lstStyle/>
          <a:p>
            <a:r>
              <a:rPr lang="en-US"/>
              <a:t>Targeting Growth in Hospitality and Retail</a:t>
            </a:r>
          </a:p>
        </p:txBody>
      </p:sp>
      <p:sp>
        <p:nvSpPr>
          <p:cNvPr id="7" name="Title 6">
            <a:extLst>
              <a:ext uri="{FF2B5EF4-FFF2-40B4-BE49-F238E27FC236}">
                <a16:creationId xmlns:a16="http://schemas.microsoft.com/office/drawing/2014/main" id="{637C7558-EF82-7929-7474-515600459FA5}"/>
              </a:ext>
            </a:extLst>
          </p:cNvPr>
          <p:cNvSpPr>
            <a:spLocks noGrp="1"/>
          </p:cNvSpPr>
          <p:nvPr>
            <p:ph type="title"/>
          </p:nvPr>
        </p:nvSpPr>
        <p:spPr/>
        <p:txBody>
          <a:bodyPr/>
          <a:lstStyle/>
          <a:p>
            <a:r>
              <a:rPr lang="en-US"/>
              <a:t>Thesis I </a:t>
            </a:r>
          </a:p>
        </p:txBody>
      </p:sp>
      <p:sp>
        <p:nvSpPr>
          <p:cNvPr id="10" name="Text Placeholder 9">
            <a:extLst>
              <a:ext uri="{FF2B5EF4-FFF2-40B4-BE49-F238E27FC236}">
                <a16:creationId xmlns:a16="http://schemas.microsoft.com/office/drawing/2014/main" id="{9F299A72-9145-9086-3CDC-32194BA9DC5D}"/>
              </a:ext>
            </a:extLst>
          </p:cNvPr>
          <p:cNvSpPr>
            <a:spLocks noGrp="1"/>
          </p:cNvSpPr>
          <p:nvPr>
            <p:ph type="body" idx="22"/>
          </p:nvPr>
        </p:nvSpPr>
        <p:spPr/>
        <p:txBody>
          <a:bodyPr/>
          <a:lstStyle/>
          <a:p>
            <a:r>
              <a:rPr lang="en-US"/>
              <a:t>Global Hospitality Industry (</a:t>
            </a:r>
            <a:r>
              <a:rPr lang="en-US" i="1"/>
              <a:t>USD bn</a:t>
            </a:r>
            <a:r>
              <a:rPr lang="en-US"/>
              <a:t>)</a:t>
            </a:r>
          </a:p>
        </p:txBody>
      </p:sp>
      <p:sp>
        <p:nvSpPr>
          <p:cNvPr id="11" name="Content Placeholder 10">
            <a:extLst>
              <a:ext uri="{FF2B5EF4-FFF2-40B4-BE49-F238E27FC236}">
                <a16:creationId xmlns:a16="http://schemas.microsoft.com/office/drawing/2014/main" id="{3290327A-1096-73F0-F2A7-1E9E7EA10DC8}"/>
              </a:ext>
            </a:extLst>
          </p:cNvPr>
          <p:cNvSpPr>
            <a:spLocks noGrp="1"/>
          </p:cNvSpPr>
          <p:nvPr>
            <p:ph sz="quarter" idx="23"/>
          </p:nvPr>
        </p:nvSpPr>
        <p:spPr/>
        <p:txBody>
          <a:bodyPr vert="horz" lIns="91440" tIns="45720" rIns="91440" bIns="45720" rtlCol="0" anchor="t">
            <a:normAutofit/>
          </a:bodyPr>
          <a:lstStyle/>
          <a:p>
            <a:pPr marL="227965" indent="-227965"/>
            <a:r>
              <a:rPr lang="en-CA">
                <a:latin typeface="+mn-lt"/>
                <a:ea typeface="+mj-lt"/>
                <a:cs typeface="+mj-lt"/>
              </a:rPr>
              <a:t>Integrated cash advances, supplier connections, and an OpenTable partnership for reservations into POS systems to enhance efficiency</a:t>
            </a:r>
            <a:endParaRPr lang="en-US">
              <a:latin typeface="+mn-lt"/>
              <a:ea typeface="+mj-lt"/>
              <a:cs typeface="+mj-lt"/>
            </a:endParaRPr>
          </a:p>
          <a:p>
            <a:pPr marL="227965" indent="-227965"/>
            <a:r>
              <a:rPr lang="en-US" b="1">
                <a:latin typeface="+mn-lt"/>
                <a:ea typeface="+mj-lt"/>
                <a:cs typeface="+mj-lt"/>
              </a:rPr>
              <a:t>86%</a:t>
            </a:r>
            <a:r>
              <a:rPr lang="en-US">
                <a:latin typeface="+mn-lt"/>
                <a:ea typeface="+mj-lt"/>
                <a:cs typeface="+mj-lt"/>
              </a:rPr>
              <a:t> of restaurants now use POS systems, demonstrating the industry's reliance on digital transaction solutions</a:t>
            </a:r>
          </a:p>
          <a:p>
            <a:pPr marL="227965" indent="-227965"/>
            <a:r>
              <a:rPr lang="en-US" b="1">
                <a:latin typeface="+mn-lt"/>
                <a:cs typeface="Arial"/>
              </a:rPr>
              <a:t>32%</a:t>
            </a:r>
            <a:r>
              <a:rPr lang="en-US">
                <a:latin typeface="+mn-lt"/>
                <a:cs typeface="Arial"/>
              </a:rPr>
              <a:t> of restaurants reported that installing a POS system in their restaurant was a priority in the coming year</a:t>
            </a:r>
          </a:p>
          <a:p>
            <a:pPr marL="227965" indent="-227965"/>
            <a:r>
              <a:rPr lang="en-CA" b="0" i="0" u="none" strike="noStrike">
                <a:solidFill>
                  <a:srgbClr val="000000"/>
                </a:solidFill>
                <a:effectLst/>
                <a:latin typeface="+mn-lt"/>
              </a:rPr>
              <a:t>International tourism experienced a significant uptick, with </a:t>
            </a:r>
            <a:r>
              <a:rPr lang="en-CA" b="1" i="0" u="none" strike="noStrike">
                <a:solidFill>
                  <a:srgbClr val="000000"/>
                </a:solidFill>
                <a:effectLst/>
                <a:latin typeface="+mn-lt"/>
              </a:rPr>
              <a:t>1.1bn</a:t>
            </a:r>
            <a:r>
              <a:rPr lang="en-CA" b="0" i="0" u="none" strike="noStrike">
                <a:solidFill>
                  <a:srgbClr val="000000"/>
                </a:solidFill>
                <a:effectLst/>
                <a:latin typeface="+mn-lt"/>
              </a:rPr>
              <a:t> travelers worldwide between January and September 2024, marking an </a:t>
            </a:r>
            <a:r>
              <a:rPr lang="en-CA" b="1" i="0" u="none" strike="noStrike">
                <a:solidFill>
                  <a:srgbClr val="000000"/>
                </a:solidFill>
                <a:effectLst/>
                <a:latin typeface="+mn-lt"/>
              </a:rPr>
              <a:t>11%</a:t>
            </a:r>
            <a:r>
              <a:rPr lang="en-CA" b="0" i="0" u="none" strike="noStrike">
                <a:solidFill>
                  <a:srgbClr val="000000"/>
                </a:solidFill>
                <a:effectLst/>
                <a:latin typeface="+mn-lt"/>
              </a:rPr>
              <a:t> </a:t>
            </a:r>
            <a:r>
              <a:rPr lang="en-CA" b="1" i="0" u="none" strike="noStrike">
                <a:solidFill>
                  <a:srgbClr val="000000"/>
                </a:solidFill>
                <a:effectLst/>
                <a:latin typeface="+mn-lt"/>
              </a:rPr>
              <a:t>increase</a:t>
            </a:r>
            <a:r>
              <a:rPr lang="en-CA" b="0" i="0" u="none" strike="noStrike">
                <a:solidFill>
                  <a:srgbClr val="000000"/>
                </a:solidFill>
                <a:effectLst/>
                <a:latin typeface="+mn-lt"/>
              </a:rPr>
              <a:t> from the same period in 2023</a:t>
            </a:r>
          </a:p>
          <a:p>
            <a:pPr marL="227965" indent="-227965"/>
            <a:r>
              <a:rPr lang="en-CA">
                <a:solidFill>
                  <a:srgbClr val="000000"/>
                </a:solidFill>
                <a:latin typeface="+mn-lt"/>
                <a:cs typeface="Arial"/>
              </a:rPr>
              <a:t>Hotel industry in Europe is projected to be worth around </a:t>
            </a:r>
            <a:r>
              <a:rPr lang="en-CA" b="1">
                <a:solidFill>
                  <a:srgbClr val="000000"/>
                </a:solidFill>
                <a:latin typeface="+mn-lt"/>
                <a:cs typeface="Arial"/>
              </a:rPr>
              <a:t>$46bn </a:t>
            </a:r>
            <a:r>
              <a:rPr lang="en-CA">
                <a:solidFill>
                  <a:srgbClr val="000000"/>
                </a:solidFill>
                <a:latin typeface="+mn-lt"/>
                <a:cs typeface="Arial"/>
              </a:rPr>
              <a:t>by 2027</a:t>
            </a:r>
            <a:endParaRPr lang="en-US">
              <a:latin typeface="+mn-lt"/>
              <a:cs typeface="Arial"/>
            </a:endParaRPr>
          </a:p>
          <a:p>
            <a:pPr marL="227965" indent="-227965"/>
            <a:endParaRPr lang="en-US">
              <a:cs typeface="Arial"/>
            </a:endParaRPr>
          </a:p>
        </p:txBody>
      </p:sp>
      <p:sp>
        <p:nvSpPr>
          <p:cNvPr id="12" name="Text Placeholder 11">
            <a:extLst>
              <a:ext uri="{FF2B5EF4-FFF2-40B4-BE49-F238E27FC236}">
                <a16:creationId xmlns:a16="http://schemas.microsoft.com/office/drawing/2014/main" id="{DC8DECB4-D989-9AA3-11A4-47443470E896}"/>
              </a:ext>
            </a:extLst>
          </p:cNvPr>
          <p:cNvSpPr>
            <a:spLocks noGrp="1"/>
          </p:cNvSpPr>
          <p:nvPr>
            <p:ph type="body" idx="26"/>
          </p:nvPr>
        </p:nvSpPr>
        <p:spPr/>
        <p:txBody>
          <a:bodyPr/>
          <a:lstStyle/>
          <a:p>
            <a:r>
              <a:rPr lang="en-US"/>
              <a:t>POS in Hospitality </a:t>
            </a:r>
          </a:p>
        </p:txBody>
      </p:sp>
      <p:sp>
        <p:nvSpPr>
          <p:cNvPr id="13" name="Text Placeholder 12">
            <a:extLst>
              <a:ext uri="{FF2B5EF4-FFF2-40B4-BE49-F238E27FC236}">
                <a16:creationId xmlns:a16="http://schemas.microsoft.com/office/drawing/2014/main" id="{DBAFC030-A14C-F728-B861-B153AA6E823A}"/>
              </a:ext>
            </a:extLst>
          </p:cNvPr>
          <p:cNvSpPr>
            <a:spLocks noGrp="1"/>
          </p:cNvSpPr>
          <p:nvPr>
            <p:ph type="body" idx="27"/>
          </p:nvPr>
        </p:nvSpPr>
        <p:spPr/>
        <p:txBody>
          <a:bodyPr/>
          <a:lstStyle/>
          <a:p>
            <a:r>
              <a:rPr lang="en-US"/>
              <a:t>Retail Sales in the United States (</a:t>
            </a:r>
            <a:r>
              <a:rPr lang="en-US" i="1"/>
              <a:t>USD </a:t>
            </a:r>
            <a:r>
              <a:rPr lang="en-US" i="1" err="1"/>
              <a:t>tn</a:t>
            </a:r>
            <a:r>
              <a:rPr lang="en-US" i="1"/>
              <a:t>)</a:t>
            </a:r>
          </a:p>
        </p:txBody>
      </p:sp>
      <p:sp>
        <p:nvSpPr>
          <p:cNvPr id="16" name="Content Placeholder 15">
            <a:extLst>
              <a:ext uri="{FF2B5EF4-FFF2-40B4-BE49-F238E27FC236}">
                <a16:creationId xmlns:a16="http://schemas.microsoft.com/office/drawing/2014/main" id="{F3B2143E-D64A-9F8D-2017-9795CEE23BA4}"/>
              </a:ext>
            </a:extLst>
          </p:cNvPr>
          <p:cNvSpPr>
            <a:spLocks noGrp="1"/>
          </p:cNvSpPr>
          <p:nvPr>
            <p:ph sz="quarter" idx="30"/>
          </p:nvPr>
        </p:nvSpPr>
        <p:spPr/>
        <p:txBody>
          <a:bodyPr vert="horz" lIns="91440" tIns="45720" rIns="91440" bIns="45720" rtlCol="0" anchor="t">
            <a:noAutofit/>
          </a:bodyPr>
          <a:lstStyle/>
          <a:p>
            <a:pPr marL="227965" indent="-227965">
              <a:lnSpc>
                <a:spcPct val="120000"/>
              </a:lnSpc>
            </a:pPr>
            <a:r>
              <a:rPr lang="en-CA">
                <a:ea typeface="+mj-lt"/>
                <a:cs typeface="+mj-lt"/>
              </a:rPr>
              <a:t>Lightspeed Commerce is prioritizing high-GTV in North American retail, driving growth through rapid payments adoption, high-value verticals, and cloud-based POS solutions</a:t>
            </a:r>
            <a:endParaRPr lang="en-CA" b="1">
              <a:ea typeface="+mj-lt"/>
              <a:cs typeface="+mj-lt"/>
            </a:endParaRPr>
          </a:p>
          <a:p>
            <a:pPr marL="227965" indent="-227965">
              <a:lnSpc>
                <a:spcPct val="120000"/>
              </a:lnSpc>
            </a:pPr>
            <a:r>
              <a:rPr lang="en-US" b="1">
                <a:ea typeface="+mj-lt"/>
                <a:cs typeface="+mj-lt"/>
              </a:rPr>
              <a:t>TAM</a:t>
            </a:r>
            <a:r>
              <a:rPr lang="en-US">
                <a:ea typeface="+mj-lt"/>
                <a:cs typeface="+mj-lt"/>
              </a:rPr>
              <a:t>: </a:t>
            </a:r>
            <a:r>
              <a:rPr lang="en-US" b="1">
                <a:ea typeface="+mj-lt"/>
                <a:cs typeface="+mj-lt"/>
              </a:rPr>
              <a:t>$80bn </a:t>
            </a:r>
            <a:r>
              <a:rPr lang="en-US">
                <a:ea typeface="+mj-lt"/>
                <a:cs typeface="+mj-lt"/>
              </a:rPr>
              <a:t>across key verticals, </a:t>
            </a:r>
            <a:r>
              <a:rPr lang="en-US" b="1">
                <a:ea typeface="+mj-lt"/>
                <a:cs typeface="+mj-lt"/>
              </a:rPr>
              <a:t>$18bn </a:t>
            </a:r>
            <a:r>
              <a:rPr lang="en-US">
                <a:ea typeface="+mj-lt"/>
                <a:cs typeface="+mj-lt"/>
              </a:rPr>
              <a:t>in retail alone</a:t>
            </a:r>
            <a:endParaRPr lang="en-CA">
              <a:ea typeface="+mj-lt"/>
              <a:cs typeface="+mj-lt"/>
            </a:endParaRPr>
          </a:p>
          <a:p>
            <a:pPr marL="227965" indent="-227965">
              <a:lnSpc>
                <a:spcPct val="120000"/>
              </a:lnSpc>
            </a:pPr>
            <a:r>
              <a:rPr lang="en-CA">
                <a:ea typeface="+mj-lt"/>
                <a:cs typeface="+mj-lt"/>
              </a:rPr>
              <a:t>Businesses are rapidly shifting from legacy POS to cloud-based solutions for omnichannel capabilities, efficiency, and seamless payments</a:t>
            </a:r>
          </a:p>
          <a:p>
            <a:pPr marL="227965" indent="-227965">
              <a:lnSpc>
                <a:spcPct val="120000"/>
              </a:lnSpc>
            </a:pPr>
            <a:r>
              <a:rPr lang="en-CA">
                <a:ea typeface="+mj-lt"/>
                <a:cs typeface="+mj-lt"/>
              </a:rPr>
              <a:t>Digital payments are replacing cash in retail as the industry shifts toward seamless, technology-driven transactions</a:t>
            </a:r>
          </a:p>
          <a:p>
            <a:pPr marL="448622" lvl="1" indent="-227965">
              <a:lnSpc>
                <a:spcPct val="120000"/>
              </a:lnSpc>
            </a:pPr>
            <a:r>
              <a:rPr lang="en-US">
                <a:ea typeface="+mj-lt"/>
                <a:cs typeface="+mj-lt"/>
              </a:rPr>
              <a:t>Cloud-based POS is the trend </a:t>
            </a:r>
          </a:p>
        </p:txBody>
      </p:sp>
      <p:sp>
        <p:nvSpPr>
          <p:cNvPr id="17" name="Text Placeholder 16">
            <a:extLst>
              <a:ext uri="{FF2B5EF4-FFF2-40B4-BE49-F238E27FC236}">
                <a16:creationId xmlns:a16="http://schemas.microsoft.com/office/drawing/2014/main" id="{E0F735F4-3900-3CBC-3BDB-260C93C86816}"/>
              </a:ext>
            </a:extLst>
          </p:cNvPr>
          <p:cNvSpPr>
            <a:spLocks noGrp="1"/>
          </p:cNvSpPr>
          <p:nvPr>
            <p:ph type="body" idx="31"/>
          </p:nvPr>
        </p:nvSpPr>
        <p:spPr/>
        <p:txBody>
          <a:bodyPr/>
          <a:lstStyle/>
          <a:p>
            <a:r>
              <a:rPr lang="en-US"/>
              <a:t>POS in Retail  </a:t>
            </a:r>
          </a:p>
        </p:txBody>
      </p:sp>
      <p:sp>
        <p:nvSpPr>
          <p:cNvPr id="20" name="TextBox 19">
            <a:extLst>
              <a:ext uri="{FF2B5EF4-FFF2-40B4-BE49-F238E27FC236}">
                <a16:creationId xmlns:a16="http://schemas.microsoft.com/office/drawing/2014/main" id="{D3B9A70F-AB96-9C3E-8C85-A600FCBB6A6C}"/>
              </a:ext>
            </a:extLst>
          </p:cNvPr>
          <p:cNvSpPr txBox="1"/>
          <p:nvPr/>
        </p:nvSpPr>
        <p:spPr>
          <a:xfrm rot="21169910">
            <a:off x="1692438" y="4069396"/>
            <a:ext cx="819455" cy="230832"/>
          </a:xfrm>
          <a:prstGeom prst="rect">
            <a:avLst/>
          </a:prstGeom>
          <a:noFill/>
        </p:spPr>
        <p:txBody>
          <a:bodyPr wrap="none" rtlCol="0">
            <a:spAutoFit/>
          </a:bodyPr>
          <a:lstStyle/>
          <a:p>
            <a:r>
              <a:rPr lang="en-CA" sz="900" b="1"/>
              <a:t>CAGR 8.1%</a:t>
            </a:r>
          </a:p>
        </p:txBody>
      </p:sp>
      <p:cxnSp>
        <p:nvCxnSpPr>
          <p:cNvPr id="21" name="Straight Arrow Connector 20">
            <a:extLst>
              <a:ext uri="{FF2B5EF4-FFF2-40B4-BE49-F238E27FC236}">
                <a16:creationId xmlns:a16="http://schemas.microsoft.com/office/drawing/2014/main" id="{4212C219-738B-A611-8C03-62195D2BB87E}"/>
              </a:ext>
            </a:extLst>
          </p:cNvPr>
          <p:cNvCxnSpPr>
            <a:cxnSpLocks/>
          </p:cNvCxnSpPr>
          <p:nvPr/>
        </p:nvCxnSpPr>
        <p:spPr>
          <a:xfrm flipV="1">
            <a:off x="674016" y="4022377"/>
            <a:ext cx="3271102" cy="447486"/>
          </a:xfrm>
          <a:prstGeom prst="straightConnector1">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6C08917-25E7-E49F-8424-188C8D00FF4E}"/>
              </a:ext>
            </a:extLst>
          </p:cNvPr>
          <p:cNvSpPr txBox="1"/>
          <p:nvPr/>
        </p:nvSpPr>
        <p:spPr>
          <a:xfrm rot="20152633">
            <a:off x="6451706" y="2103107"/>
            <a:ext cx="915635" cy="230832"/>
          </a:xfrm>
          <a:prstGeom prst="rect">
            <a:avLst/>
          </a:prstGeom>
          <a:noFill/>
        </p:spPr>
        <p:txBody>
          <a:bodyPr wrap="square" rtlCol="0">
            <a:spAutoFit/>
          </a:bodyPr>
          <a:lstStyle/>
          <a:p>
            <a:r>
              <a:rPr lang="en-CA" sz="900" b="1"/>
              <a:t>CAGR 6.1%</a:t>
            </a:r>
          </a:p>
        </p:txBody>
      </p:sp>
      <p:cxnSp>
        <p:nvCxnSpPr>
          <p:cNvPr id="6" name="Straight Arrow Connector 5">
            <a:extLst>
              <a:ext uri="{FF2B5EF4-FFF2-40B4-BE49-F238E27FC236}">
                <a16:creationId xmlns:a16="http://schemas.microsoft.com/office/drawing/2014/main" id="{0EB73A0C-D44C-A810-871B-1D80728D08AE}"/>
              </a:ext>
            </a:extLst>
          </p:cNvPr>
          <p:cNvCxnSpPr>
            <a:cxnSpLocks/>
          </p:cNvCxnSpPr>
          <p:nvPr/>
        </p:nvCxnSpPr>
        <p:spPr>
          <a:xfrm flipV="1">
            <a:off x="5414128" y="1558125"/>
            <a:ext cx="3192471" cy="1398796"/>
          </a:xfrm>
          <a:prstGeom prst="straightConnector1">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32456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C1D1A-18F3-1EB6-5F94-61B4C57BF0CF}"/>
              </a:ext>
            </a:extLst>
          </p:cNvPr>
          <p:cNvSpPr>
            <a:spLocks noGrp="1"/>
          </p:cNvSpPr>
          <p:nvPr>
            <p:ph type="body" sz="quarter" idx="13"/>
          </p:nvPr>
        </p:nvSpPr>
        <p:spPr/>
        <p:txBody>
          <a:bodyPr/>
          <a:lstStyle/>
          <a:p>
            <a:r>
              <a:rPr lang="en-US"/>
              <a:t>Source(s): </a:t>
            </a:r>
            <a:r>
              <a:rPr lang="en-US" err="1"/>
              <a:t>PitchBook</a:t>
            </a:r>
            <a:r>
              <a:rPr lang="en-US"/>
              <a:t>, LinkedIn</a:t>
            </a:r>
          </a:p>
        </p:txBody>
      </p:sp>
      <p:sp>
        <p:nvSpPr>
          <p:cNvPr id="3" name="Text Placeholder 2">
            <a:extLst>
              <a:ext uri="{FF2B5EF4-FFF2-40B4-BE49-F238E27FC236}">
                <a16:creationId xmlns:a16="http://schemas.microsoft.com/office/drawing/2014/main" id="{56BC37A3-9065-5651-973E-593467926C6A}"/>
              </a:ext>
            </a:extLst>
          </p:cNvPr>
          <p:cNvSpPr>
            <a:spLocks noGrp="1"/>
          </p:cNvSpPr>
          <p:nvPr>
            <p:ph type="body" sz="quarter" idx="21"/>
          </p:nvPr>
        </p:nvSpPr>
        <p:spPr/>
        <p:txBody>
          <a:bodyPr/>
          <a:lstStyle/>
          <a:p>
            <a:r>
              <a:rPr lang="en-US"/>
              <a:t>Underpriced Reorganization</a:t>
            </a:r>
          </a:p>
        </p:txBody>
      </p:sp>
      <p:sp>
        <p:nvSpPr>
          <p:cNvPr id="4" name="Title 3">
            <a:extLst>
              <a:ext uri="{FF2B5EF4-FFF2-40B4-BE49-F238E27FC236}">
                <a16:creationId xmlns:a16="http://schemas.microsoft.com/office/drawing/2014/main" id="{79D2755C-7213-FDDD-230F-89C5712CA476}"/>
              </a:ext>
            </a:extLst>
          </p:cNvPr>
          <p:cNvSpPr>
            <a:spLocks noGrp="1"/>
          </p:cNvSpPr>
          <p:nvPr>
            <p:ph type="title"/>
          </p:nvPr>
        </p:nvSpPr>
        <p:spPr/>
        <p:txBody>
          <a:bodyPr/>
          <a:lstStyle/>
          <a:p>
            <a:r>
              <a:rPr lang="en-US"/>
              <a:t>Thesis II</a:t>
            </a:r>
          </a:p>
        </p:txBody>
      </p:sp>
      <p:sp>
        <p:nvSpPr>
          <p:cNvPr id="5" name="Text Placeholder 4">
            <a:extLst>
              <a:ext uri="{FF2B5EF4-FFF2-40B4-BE49-F238E27FC236}">
                <a16:creationId xmlns:a16="http://schemas.microsoft.com/office/drawing/2014/main" id="{E3398FBF-3009-CD66-0046-DDBF6C25546C}"/>
              </a:ext>
            </a:extLst>
          </p:cNvPr>
          <p:cNvSpPr>
            <a:spLocks noGrp="1"/>
          </p:cNvSpPr>
          <p:nvPr>
            <p:ph type="body" idx="22"/>
          </p:nvPr>
        </p:nvSpPr>
        <p:spPr/>
        <p:txBody>
          <a:bodyPr/>
          <a:lstStyle/>
          <a:p>
            <a:r>
              <a:rPr lang="en-US"/>
              <a:t>New Focus = Achieve Profitability</a:t>
            </a:r>
          </a:p>
        </p:txBody>
      </p:sp>
      <p:sp>
        <p:nvSpPr>
          <p:cNvPr id="7" name="Text Placeholder 6">
            <a:extLst>
              <a:ext uri="{FF2B5EF4-FFF2-40B4-BE49-F238E27FC236}">
                <a16:creationId xmlns:a16="http://schemas.microsoft.com/office/drawing/2014/main" id="{ED240F8D-B88C-5F9F-DAC2-E4F3E80B0765}"/>
              </a:ext>
            </a:extLst>
          </p:cNvPr>
          <p:cNvSpPr>
            <a:spLocks noGrp="1"/>
          </p:cNvSpPr>
          <p:nvPr>
            <p:ph type="body" idx="26"/>
          </p:nvPr>
        </p:nvSpPr>
        <p:spPr/>
        <p:txBody>
          <a:bodyPr/>
          <a:lstStyle/>
          <a:p>
            <a:r>
              <a:rPr lang="en-US"/>
              <a:t>Old Focus = M&amp;A Activity + Sales Growth</a:t>
            </a:r>
          </a:p>
        </p:txBody>
      </p:sp>
      <p:sp>
        <p:nvSpPr>
          <p:cNvPr id="8" name="Text Placeholder 7">
            <a:extLst>
              <a:ext uri="{FF2B5EF4-FFF2-40B4-BE49-F238E27FC236}">
                <a16:creationId xmlns:a16="http://schemas.microsoft.com/office/drawing/2014/main" id="{0CD0C6C2-6076-1560-67D8-82A0A473FF5A}"/>
              </a:ext>
            </a:extLst>
          </p:cNvPr>
          <p:cNvSpPr>
            <a:spLocks noGrp="1"/>
          </p:cNvSpPr>
          <p:nvPr>
            <p:ph type="body" idx="27"/>
          </p:nvPr>
        </p:nvSpPr>
        <p:spPr/>
        <p:txBody>
          <a:bodyPr/>
          <a:lstStyle/>
          <a:p>
            <a:r>
              <a:rPr lang="en-US"/>
              <a:t>Revenue per Employee</a:t>
            </a:r>
            <a:r>
              <a:rPr lang="en-CA"/>
              <a:t> (</a:t>
            </a:r>
            <a:r>
              <a:rPr lang="en-CA" i="1"/>
              <a:t>USD mm</a:t>
            </a:r>
            <a:r>
              <a:rPr lang="en-CA"/>
              <a:t>)</a:t>
            </a:r>
            <a:endParaRPr lang="en-US"/>
          </a:p>
        </p:txBody>
      </p:sp>
      <p:sp>
        <p:nvSpPr>
          <p:cNvPr id="12" name="Text Placeholder 11">
            <a:extLst>
              <a:ext uri="{FF2B5EF4-FFF2-40B4-BE49-F238E27FC236}">
                <a16:creationId xmlns:a16="http://schemas.microsoft.com/office/drawing/2014/main" id="{46BE5529-5E90-E52A-74E6-BE3F44760B1C}"/>
              </a:ext>
            </a:extLst>
          </p:cNvPr>
          <p:cNvSpPr>
            <a:spLocks noGrp="1"/>
          </p:cNvSpPr>
          <p:nvPr>
            <p:ph type="body" idx="31"/>
          </p:nvPr>
        </p:nvSpPr>
        <p:spPr/>
        <p:txBody>
          <a:bodyPr/>
          <a:lstStyle/>
          <a:p>
            <a:r>
              <a:rPr lang="en-US"/>
              <a:t>NLP Confirms Our Thesis</a:t>
            </a:r>
          </a:p>
        </p:txBody>
      </p:sp>
      <p:sp>
        <p:nvSpPr>
          <p:cNvPr id="16" name="Content Placeholder 15">
            <a:extLst>
              <a:ext uri="{FF2B5EF4-FFF2-40B4-BE49-F238E27FC236}">
                <a16:creationId xmlns:a16="http://schemas.microsoft.com/office/drawing/2014/main" id="{E0C0B188-348B-4D83-8884-383446CFC322}"/>
              </a:ext>
            </a:extLst>
          </p:cNvPr>
          <p:cNvSpPr>
            <a:spLocks noGrp="1"/>
          </p:cNvSpPr>
          <p:nvPr>
            <p:ph sz="quarter" idx="28"/>
          </p:nvPr>
        </p:nvSpPr>
        <p:spPr/>
        <p:txBody>
          <a:bodyPr/>
          <a:lstStyle/>
          <a:p>
            <a:r>
              <a:rPr lang="en-US"/>
              <a:t>Focus on high-growth and high margin markets</a:t>
            </a:r>
          </a:p>
          <a:p>
            <a:pPr lvl="1"/>
            <a:r>
              <a:rPr lang="en-US"/>
              <a:t>New focus is on North American retail and EMEA hospitality</a:t>
            </a:r>
          </a:p>
          <a:p>
            <a:pPr marL="220657" lvl="1" indent="0">
              <a:buNone/>
            </a:pPr>
            <a:endParaRPr lang="en-US"/>
          </a:p>
          <a:p>
            <a:r>
              <a:rPr lang="en-US"/>
              <a:t>Workforce optimization will lead to profitability</a:t>
            </a:r>
          </a:p>
          <a:p>
            <a:pPr lvl="1"/>
            <a:r>
              <a:rPr lang="en-US"/>
              <a:t>8% headcount decrease and redeploying employees to the new area of focus</a:t>
            </a:r>
          </a:p>
          <a:p>
            <a:pPr marL="220657" lvl="1" indent="0">
              <a:buNone/>
            </a:pPr>
            <a:endParaRPr lang="en-US"/>
          </a:p>
          <a:p>
            <a:r>
              <a:rPr lang="en-US"/>
              <a:t>Focus on payments, which boost revenue-per-user and retention/upselling </a:t>
            </a:r>
          </a:p>
          <a:p>
            <a:pPr lvl="1"/>
            <a:r>
              <a:rPr lang="en-US"/>
              <a:t>AI and automation will help sales team with upselling payments-only clients</a:t>
            </a:r>
          </a:p>
          <a:p>
            <a:pPr marL="0" indent="0">
              <a:buNone/>
            </a:pPr>
            <a:endParaRPr lang="en-US"/>
          </a:p>
        </p:txBody>
      </p:sp>
      <p:graphicFrame>
        <p:nvGraphicFramePr>
          <p:cNvPr id="18" name="Content Placeholder 17">
            <a:extLst>
              <a:ext uri="{FF2B5EF4-FFF2-40B4-BE49-F238E27FC236}">
                <a16:creationId xmlns:a16="http://schemas.microsoft.com/office/drawing/2014/main" id="{EB434806-DA5B-A781-6AE6-8B42B985A53E}"/>
              </a:ext>
            </a:extLst>
          </p:cNvPr>
          <p:cNvGraphicFramePr>
            <a:graphicFrameLocks noGrp="1"/>
          </p:cNvGraphicFramePr>
          <p:nvPr>
            <p:ph sz="quarter" idx="30"/>
            <p:extLst>
              <p:ext uri="{D42A27DB-BD31-4B8C-83A1-F6EECF244321}">
                <p14:modId xmlns:p14="http://schemas.microsoft.com/office/powerpoint/2010/main" val="1537310992"/>
              </p:ext>
            </p:extLst>
          </p:nvPr>
        </p:nvGraphicFramePr>
        <p:xfrm>
          <a:off x="4751387" y="4014788"/>
          <a:ext cx="4141787" cy="2066925"/>
        </p:xfrm>
        <a:graphic>
          <a:graphicData uri="http://schemas.openxmlformats.org/drawingml/2006/table">
            <a:tbl>
              <a:tblPr/>
              <a:tblGrid>
                <a:gridCol w="2264227">
                  <a:extLst>
                    <a:ext uri="{9D8B030D-6E8A-4147-A177-3AD203B41FA5}">
                      <a16:colId xmlns:a16="http://schemas.microsoft.com/office/drawing/2014/main" val="494393143"/>
                    </a:ext>
                  </a:extLst>
                </a:gridCol>
                <a:gridCol w="881152">
                  <a:extLst>
                    <a:ext uri="{9D8B030D-6E8A-4147-A177-3AD203B41FA5}">
                      <a16:colId xmlns:a16="http://schemas.microsoft.com/office/drawing/2014/main" val="3347725753"/>
                    </a:ext>
                  </a:extLst>
                </a:gridCol>
                <a:gridCol w="996408">
                  <a:extLst>
                    <a:ext uri="{9D8B030D-6E8A-4147-A177-3AD203B41FA5}">
                      <a16:colId xmlns:a16="http://schemas.microsoft.com/office/drawing/2014/main" val="3973081988"/>
                    </a:ext>
                  </a:extLst>
                </a:gridCol>
              </a:tblGrid>
              <a:tr h="429491">
                <a:tc>
                  <a:txBody>
                    <a:bodyPr/>
                    <a:lstStyle/>
                    <a:p>
                      <a:pPr algn="ctr" fontAlgn="ctr"/>
                      <a:r>
                        <a:rPr lang="en-CA" sz="900" b="1" i="0" u="none" strike="noStrike">
                          <a:solidFill>
                            <a:srgbClr val="FFFFFF"/>
                          </a:solidFill>
                          <a:effectLst/>
                          <a:latin typeface="+mn-lt"/>
                        </a:rPr>
                        <a:t>Key Objective</a:t>
                      </a: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F3557"/>
                    </a:solidFill>
                  </a:tcPr>
                </a:tc>
                <a:tc>
                  <a:txBody>
                    <a:bodyPr/>
                    <a:lstStyle/>
                    <a:p>
                      <a:pPr algn="ctr" fontAlgn="ctr"/>
                      <a:r>
                        <a:rPr lang="en-CA" sz="900" b="1" i="0" u="none" strike="noStrike">
                          <a:solidFill>
                            <a:srgbClr val="FFFFFF"/>
                          </a:solidFill>
                          <a:effectLst/>
                          <a:latin typeface="+mn-lt"/>
                        </a:rPr>
                        <a:t>Old CEO Score</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3557"/>
                    </a:solidFill>
                  </a:tcPr>
                </a:tc>
                <a:tc>
                  <a:txBody>
                    <a:bodyPr/>
                    <a:lstStyle/>
                    <a:p>
                      <a:pPr algn="ctr" fontAlgn="ctr"/>
                      <a:r>
                        <a:rPr lang="en-CA" sz="900" b="1" i="0" u="none" strike="noStrike">
                          <a:solidFill>
                            <a:srgbClr val="FFFFFF"/>
                          </a:solidFill>
                          <a:effectLst/>
                          <a:latin typeface="+mn-lt"/>
                        </a:rPr>
                        <a:t>New CEO Score</a:t>
                      </a:r>
                    </a:p>
                  </a:txBody>
                  <a:tcPr marL="0" marR="0" marT="0"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3557"/>
                    </a:solidFill>
                  </a:tcPr>
                </a:tc>
                <a:extLst>
                  <a:ext uri="{0D108BD9-81ED-4DB2-BD59-A6C34878D82A}">
                    <a16:rowId xmlns:a16="http://schemas.microsoft.com/office/drawing/2014/main" val="2739134648"/>
                  </a:ext>
                </a:extLst>
              </a:tr>
              <a:tr h="201324">
                <a:tc>
                  <a:txBody>
                    <a:bodyPr/>
                    <a:lstStyle/>
                    <a:p>
                      <a:pPr algn="ctr" fontAlgn="b"/>
                      <a:r>
                        <a:rPr lang="en-CA" sz="900" b="0" i="0" u="none" strike="noStrike">
                          <a:solidFill>
                            <a:srgbClr val="000000"/>
                          </a:solidFill>
                          <a:effectLst/>
                          <a:latin typeface="+mn-lt"/>
                        </a:rPr>
                        <a:t>Revenue Growth</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9</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8ACE9C"/>
                    </a:solidFill>
                  </a:tcPr>
                </a:tc>
                <a:tc>
                  <a:txBody>
                    <a:bodyPr/>
                    <a:lstStyle/>
                    <a:p>
                      <a:pPr algn="ctr" fontAlgn="b"/>
                      <a:r>
                        <a:rPr lang="en-CA" sz="900" b="0" i="0" u="none" strike="noStrike">
                          <a:solidFill>
                            <a:srgbClr val="000000"/>
                          </a:solidFill>
                          <a:effectLst/>
                          <a:latin typeface="+mn-lt"/>
                        </a:rPr>
                        <a:t>9</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8ACE9C"/>
                    </a:solidFill>
                  </a:tcPr>
                </a:tc>
                <a:extLst>
                  <a:ext uri="{0D108BD9-81ED-4DB2-BD59-A6C34878D82A}">
                    <a16:rowId xmlns:a16="http://schemas.microsoft.com/office/drawing/2014/main" val="2135652885"/>
                  </a:ext>
                </a:extLst>
              </a:tr>
              <a:tr h="201324">
                <a:tc>
                  <a:txBody>
                    <a:bodyPr/>
                    <a:lstStyle/>
                    <a:p>
                      <a:pPr algn="ctr" fontAlgn="b"/>
                      <a:r>
                        <a:rPr lang="en-CA" sz="900" b="0" i="0" u="none" strike="noStrike">
                          <a:solidFill>
                            <a:srgbClr val="000000"/>
                          </a:solidFill>
                          <a:effectLst/>
                          <a:latin typeface="+mn-lt"/>
                        </a:rPr>
                        <a:t>EBITDA Break-even</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7</a:t>
                      </a:r>
                    </a:p>
                  </a:txBody>
                  <a:tcPr marL="0" marR="0" marT="0" marB="0" anchor="ctr">
                    <a:lnL>
                      <a:noFill/>
                    </a:lnL>
                    <a:lnR>
                      <a:noFill/>
                    </a:lnR>
                    <a:lnT>
                      <a:noFill/>
                    </a:lnT>
                    <a:lnB>
                      <a:noFill/>
                    </a:lnB>
                    <a:solidFill>
                      <a:srgbClr val="D6EDDE"/>
                    </a:solidFill>
                  </a:tcPr>
                </a:tc>
                <a:tc>
                  <a:txBody>
                    <a:bodyPr/>
                    <a:lstStyle/>
                    <a:p>
                      <a:pPr algn="ctr" fontAlgn="b"/>
                      <a:r>
                        <a:rPr lang="en-CA" sz="900" b="0" i="0" u="none" strike="noStrike">
                          <a:solidFill>
                            <a:srgbClr val="000000"/>
                          </a:solidFill>
                          <a:effectLst/>
                          <a:latin typeface="+mn-lt"/>
                        </a:rPr>
                        <a:t>8</a:t>
                      </a:r>
                    </a:p>
                  </a:txBody>
                  <a:tcPr marL="0" marR="0" marT="0" marB="0" anchor="ctr">
                    <a:lnL>
                      <a:noFill/>
                    </a:lnL>
                    <a:lnR>
                      <a:noFill/>
                    </a:lnR>
                    <a:lnT>
                      <a:noFill/>
                    </a:lnT>
                    <a:lnB>
                      <a:noFill/>
                    </a:lnB>
                    <a:solidFill>
                      <a:srgbClr val="B0DDBD"/>
                    </a:solidFill>
                  </a:tcPr>
                </a:tc>
                <a:extLst>
                  <a:ext uri="{0D108BD9-81ED-4DB2-BD59-A6C34878D82A}">
                    <a16:rowId xmlns:a16="http://schemas.microsoft.com/office/drawing/2014/main" val="906096053"/>
                  </a:ext>
                </a:extLst>
              </a:tr>
              <a:tr h="201324">
                <a:tc>
                  <a:txBody>
                    <a:bodyPr/>
                    <a:lstStyle/>
                    <a:p>
                      <a:pPr algn="ctr" fontAlgn="b"/>
                      <a:r>
                        <a:rPr lang="en-CA" sz="900" b="0" i="0" u="none" strike="noStrike">
                          <a:solidFill>
                            <a:srgbClr val="000000"/>
                          </a:solidFill>
                          <a:effectLst/>
                          <a:latin typeface="+mn-lt"/>
                        </a:rPr>
                        <a:t>Payments Penetration</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10</a:t>
                      </a:r>
                    </a:p>
                  </a:txBody>
                  <a:tcPr marL="0" marR="0" marT="0" marB="0" anchor="ctr">
                    <a:lnL>
                      <a:noFill/>
                    </a:lnL>
                    <a:lnR>
                      <a:noFill/>
                    </a:lnR>
                    <a:lnT>
                      <a:noFill/>
                    </a:lnT>
                    <a:lnB>
                      <a:noFill/>
                    </a:lnB>
                    <a:solidFill>
                      <a:srgbClr val="63BE7B"/>
                    </a:solidFill>
                  </a:tcPr>
                </a:tc>
                <a:tc>
                  <a:txBody>
                    <a:bodyPr/>
                    <a:lstStyle/>
                    <a:p>
                      <a:pPr algn="ctr" fontAlgn="b"/>
                      <a:r>
                        <a:rPr lang="en-CA" sz="900" b="0" i="0" u="none" strike="noStrike">
                          <a:solidFill>
                            <a:srgbClr val="000000"/>
                          </a:solidFill>
                          <a:effectLst/>
                          <a:latin typeface="+mn-lt"/>
                        </a:rPr>
                        <a:t>10</a:t>
                      </a:r>
                    </a:p>
                  </a:txBody>
                  <a:tcPr marL="0" marR="0" marT="0" marB="0" anchor="ctr">
                    <a:lnL>
                      <a:noFill/>
                    </a:lnL>
                    <a:lnR>
                      <a:noFill/>
                    </a:lnR>
                    <a:lnT>
                      <a:noFill/>
                    </a:lnT>
                    <a:lnB>
                      <a:noFill/>
                    </a:lnB>
                    <a:solidFill>
                      <a:srgbClr val="63BE7B"/>
                    </a:solidFill>
                  </a:tcPr>
                </a:tc>
                <a:extLst>
                  <a:ext uri="{0D108BD9-81ED-4DB2-BD59-A6C34878D82A}">
                    <a16:rowId xmlns:a16="http://schemas.microsoft.com/office/drawing/2014/main" val="3664034866"/>
                  </a:ext>
                </a:extLst>
              </a:tr>
              <a:tr h="201324">
                <a:tc>
                  <a:txBody>
                    <a:bodyPr/>
                    <a:lstStyle/>
                    <a:p>
                      <a:pPr algn="ctr" fontAlgn="b"/>
                      <a:r>
                        <a:rPr lang="en-CA" sz="900" b="0" i="0" u="none" strike="noStrike">
                          <a:solidFill>
                            <a:srgbClr val="000000"/>
                          </a:solidFill>
                          <a:effectLst/>
                          <a:latin typeface="+mn-lt"/>
                        </a:rPr>
                        <a:t>Cost Efficiency</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7</a:t>
                      </a:r>
                    </a:p>
                  </a:txBody>
                  <a:tcPr marL="0" marR="0" marT="0" marB="0" anchor="ctr">
                    <a:lnL>
                      <a:noFill/>
                    </a:lnL>
                    <a:lnR>
                      <a:noFill/>
                    </a:lnR>
                    <a:lnT>
                      <a:noFill/>
                    </a:lnT>
                    <a:lnB>
                      <a:noFill/>
                    </a:lnB>
                    <a:solidFill>
                      <a:srgbClr val="D6EDDE"/>
                    </a:solidFill>
                  </a:tcPr>
                </a:tc>
                <a:tc>
                  <a:txBody>
                    <a:bodyPr/>
                    <a:lstStyle/>
                    <a:p>
                      <a:pPr algn="ctr" fontAlgn="b"/>
                      <a:r>
                        <a:rPr lang="en-CA" sz="900" b="0" i="0" u="none" strike="noStrike">
                          <a:solidFill>
                            <a:srgbClr val="000000"/>
                          </a:solidFill>
                          <a:effectLst/>
                          <a:latin typeface="+mn-lt"/>
                        </a:rPr>
                        <a:t>8</a:t>
                      </a:r>
                    </a:p>
                  </a:txBody>
                  <a:tcPr marL="0" marR="0" marT="0" marB="0" anchor="ctr">
                    <a:lnL>
                      <a:noFill/>
                    </a:lnL>
                    <a:lnR>
                      <a:noFill/>
                    </a:lnR>
                    <a:lnT>
                      <a:noFill/>
                    </a:lnT>
                    <a:lnB>
                      <a:noFill/>
                    </a:lnB>
                    <a:solidFill>
                      <a:srgbClr val="B0DDBD"/>
                    </a:solidFill>
                  </a:tcPr>
                </a:tc>
                <a:extLst>
                  <a:ext uri="{0D108BD9-81ED-4DB2-BD59-A6C34878D82A}">
                    <a16:rowId xmlns:a16="http://schemas.microsoft.com/office/drawing/2014/main" val="1755105269"/>
                  </a:ext>
                </a:extLst>
              </a:tr>
              <a:tr h="201324">
                <a:tc>
                  <a:txBody>
                    <a:bodyPr/>
                    <a:lstStyle/>
                    <a:p>
                      <a:pPr algn="ctr" fontAlgn="b"/>
                      <a:r>
                        <a:rPr lang="en-CA" sz="900" b="0" i="0" u="none" strike="noStrike">
                          <a:solidFill>
                            <a:srgbClr val="000000"/>
                          </a:solidFill>
                          <a:effectLst/>
                          <a:latin typeface="+mn-lt"/>
                        </a:rPr>
                        <a:t>Net Income Path to Profitability</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6</a:t>
                      </a:r>
                    </a:p>
                  </a:txBody>
                  <a:tcPr marL="0" marR="0" marT="0" marB="0" anchor="ctr">
                    <a:lnL>
                      <a:noFill/>
                    </a:lnL>
                    <a:lnR>
                      <a:noFill/>
                    </a:lnR>
                    <a:lnT>
                      <a:noFill/>
                    </a:lnT>
                    <a:lnB>
                      <a:noFill/>
                    </a:lnB>
                    <a:solidFill>
                      <a:srgbClr val="FCFCFF"/>
                    </a:solidFill>
                  </a:tcPr>
                </a:tc>
                <a:tc>
                  <a:txBody>
                    <a:bodyPr/>
                    <a:lstStyle/>
                    <a:p>
                      <a:pPr algn="ctr" fontAlgn="b"/>
                      <a:r>
                        <a:rPr lang="en-CA" sz="900" b="0" i="0" u="none" strike="noStrike">
                          <a:solidFill>
                            <a:srgbClr val="000000"/>
                          </a:solidFill>
                          <a:effectLst/>
                          <a:latin typeface="+mn-lt"/>
                        </a:rPr>
                        <a:t>7</a:t>
                      </a:r>
                    </a:p>
                  </a:txBody>
                  <a:tcPr marL="0" marR="0" marT="0" marB="0" anchor="ctr">
                    <a:lnL>
                      <a:noFill/>
                    </a:lnL>
                    <a:lnR>
                      <a:noFill/>
                    </a:lnR>
                    <a:lnT>
                      <a:noFill/>
                    </a:lnT>
                    <a:lnB>
                      <a:noFill/>
                    </a:lnB>
                    <a:solidFill>
                      <a:srgbClr val="D6EDDE"/>
                    </a:solidFill>
                  </a:tcPr>
                </a:tc>
                <a:extLst>
                  <a:ext uri="{0D108BD9-81ED-4DB2-BD59-A6C34878D82A}">
                    <a16:rowId xmlns:a16="http://schemas.microsoft.com/office/drawing/2014/main" val="104174034"/>
                  </a:ext>
                </a:extLst>
              </a:tr>
              <a:tr h="201324">
                <a:tc>
                  <a:txBody>
                    <a:bodyPr/>
                    <a:lstStyle/>
                    <a:p>
                      <a:pPr algn="ctr" fontAlgn="b"/>
                      <a:r>
                        <a:rPr lang="en-CA" sz="900" b="0" i="0" u="none" strike="noStrike">
                          <a:solidFill>
                            <a:srgbClr val="000000"/>
                          </a:solidFill>
                          <a:effectLst/>
                          <a:latin typeface="+mn-lt"/>
                        </a:rPr>
                        <a:t>Cash Flow Improvement</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6</a:t>
                      </a:r>
                    </a:p>
                  </a:txBody>
                  <a:tcPr marL="0" marR="0" marT="0" marB="0" anchor="ctr">
                    <a:lnL>
                      <a:noFill/>
                    </a:lnL>
                    <a:lnR>
                      <a:noFill/>
                    </a:lnR>
                    <a:lnT>
                      <a:noFill/>
                    </a:lnT>
                    <a:lnB>
                      <a:noFill/>
                    </a:lnB>
                    <a:solidFill>
                      <a:srgbClr val="FCFCFF"/>
                    </a:solidFill>
                  </a:tcPr>
                </a:tc>
                <a:tc>
                  <a:txBody>
                    <a:bodyPr/>
                    <a:lstStyle/>
                    <a:p>
                      <a:pPr algn="ctr" fontAlgn="b"/>
                      <a:r>
                        <a:rPr lang="en-CA" sz="900" b="0" i="0" u="none" strike="noStrike">
                          <a:solidFill>
                            <a:srgbClr val="000000"/>
                          </a:solidFill>
                          <a:effectLst/>
                          <a:latin typeface="+mn-lt"/>
                        </a:rPr>
                        <a:t>6</a:t>
                      </a:r>
                    </a:p>
                  </a:txBody>
                  <a:tcPr marL="0" marR="0" marT="0" marB="0" anchor="ctr">
                    <a:lnL>
                      <a:noFill/>
                    </a:lnL>
                    <a:lnR>
                      <a:noFill/>
                    </a:lnR>
                    <a:lnT>
                      <a:noFill/>
                    </a:lnT>
                    <a:lnB>
                      <a:noFill/>
                    </a:lnB>
                    <a:solidFill>
                      <a:srgbClr val="FCFCFF"/>
                    </a:solidFill>
                  </a:tcPr>
                </a:tc>
                <a:extLst>
                  <a:ext uri="{0D108BD9-81ED-4DB2-BD59-A6C34878D82A}">
                    <a16:rowId xmlns:a16="http://schemas.microsoft.com/office/drawing/2014/main" val="197738521"/>
                  </a:ext>
                </a:extLst>
              </a:tr>
              <a:tr h="214745">
                <a:tc>
                  <a:txBody>
                    <a:bodyPr/>
                    <a:lstStyle/>
                    <a:p>
                      <a:pPr algn="ctr" fontAlgn="b"/>
                      <a:r>
                        <a:rPr lang="en-CA" sz="900" b="0" i="0" u="none" strike="noStrike">
                          <a:solidFill>
                            <a:srgbClr val="000000"/>
                          </a:solidFill>
                          <a:effectLst/>
                          <a:latin typeface="+mn-lt"/>
                        </a:rPr>
                        <a:t>Stock Performance &amp; Buybacks</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6</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7</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D6EDDE"/>
                    </a:solidFill>
                  </a:tcPr>
                </a:tc>
                <a:extLst>
                  <a:ext uri="{0D108BD9-81ED-4DB2-BD59-A6C34878D82A}">
                    <a16:rowId xmlns:a16="http://schemas.microsoft.com/office/drawing/2014/main" val="1978548544"/>
                  </a:ext>
                </a:extLst>
              </a:tr>
              <a:tr h="214745">
                <a:tc>
                  <a:txBody>
                    <a:bodyPr/>
                    <a:lstStyle/>
                    <a:p>
                      <a:pPr algn="ctr" fontAlgn="b"/>
                      <a:r>
                        <a:rPr lang="en-CA" sz="900" b="1" i="0" u="none" strike="noStrike">
                          <a:solidFill>
                            <a:srgbClr val="000000"/>
                          </a:solidFill>
                          <a:effectLst/>
                          <a:latin typeface="+mn-lt"/>
                        </a:rPr>
                        <a:t>CEO Efficiency Score</a:t>
                      </a:r>
                    </a:p>
                  </a:txBody>
                  <a:tcPr marL="0" marR="0" marT="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ctr" fontAlgn="b"/>
                      <a:r>
                        <a:rPr lang="en-CA" sz="900" b="1" i="0" u="none" strike="noStrike">
                          <a:solidFill>
                            <a:srgbClr val="000000"/>
                          </a:solidFill>
                          <a:effectLst/>
                          <a:latin typeface="+mn-lt"/>
                        </a:rPr>
                        <a:t>73%</a:t>
                      </a:r>
                    </a:p>
                  </a:txBody>
                  <a:tcPr marL="0" marR="0" marT="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ctr" fontAlgn="b"/>
                      <a:r>
                        <a:rPr lang="en-CA" sz="900" b="1" i="0" u="none" strike="noStrike">
                          <a:solidFill>
                            <a:srgbClr val="000000"/>
                          </a:solidFill>
                          <a:effectLst/>
                          <a:latin typeface="+mn-lt"/>
                        </a:rPr>
                        <a:t>79%</a:t>
                      </a:r>
                    </a:p>
                  </a:txBody>
                  <a:tcPr marL="0" marR="0" marT="0" marB="0" anchor="b">
                    <a:lnL>
                      <a:noFill/>
                    </a:lnL>
                    <a:lnR>
                      <a:noFill/>
                    </a:lnR>
                    <a:lnT w="25400" cap="flat" cmpd="dbl"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816115487"/>
                  </a:ext>
                </a:extLst>
              </a:tr>
            </a:tbl>
          </a:graphicData>
        </a:graphic>
      </p:graphicFrame>
      <p:graphicFrame>
        <p:nvGraphicFramePr>
          <p:cNvPr id="15" name="Content Placeholder 14">
            <a:extLst>
              <a:ext uri="{FF2B5EF4-FFF2-40B4-BE49-F238E27FC236}">
                <a16:creationId xmlns:a16="http://schemas.microsoft.com/office/drawing/2014/main" id="{DE5CA0C8-309F-CA2E-B59C-AD98F1F95FD4}"/>
              </a:ext>
            </a:extLst>
          </p:cNvPr>
          <p:cNvGraphicFramePr>
            <a:graphicFrameLocks noGrp="1"/>
          </p:cNvGraphicFramePr>
          <p:nvPr>
            <p:ph sz="quarter" idx="29"/>
            <p:extLst>
              <p:ext uri="{D42A27DB-BD31-4B8C-83A1-F6EECF244321}">
                <p14:modId xmlns:p14="http://schemas.microsoft.com/office/powerpoint/2010/main" val="1316991825"/>
              </p:ext>
            </p:extLst>
          </p:nvPr>
        </p:nvGraphicFramePr>
        <p:xfrm>
          <a:off x="250825" y="4014788"/>
          <a:ext cx="4141788" cy="21780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ontent Placeholder 23">
            <a:extLst>
              <a:ext uri="{FF2B5EF4-FFF2-40B4-BE49-F238E27FC236}">
                <a16:creationId xmlns:a16="http://schemas.microsoft.com/office/drawing/2014/main" id="{824F5ADF-8073-8DC1-5BDF-4BAB7322F2CD}"/>
              </a:ext>
            </a:extLst>
          </p:cNvPr>
          <p:cNvGraphicFramePr>
            <a:graphicFrameLocks noGrp="1"/>
          </p:cNvGraphicFramePr>
          <p:nvPr>
            <p:ph sz="quarter" idx="23"/>
            <p:extLst>
              <p:ext uri="{D42A27DB-BD31-4B8C-83A1-F6EECF244321}">
                <p14:modId xmlns:p14="http://schemas.microsoft.com/office/powerpoint/2010/main" val="891060594"/>
              </p:ext>
            </p:extLst>
          </p:nvPr>
        </p:nvGraphicFramePr>
        <p:xfrm>
          <a:off x="250825" y="1384300"/>
          <a:ext cx="4141788" cy="21780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295568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47444C1-0677-F1AC-FE45-39D0D59EFF18}"/>
              </a:ext>
            </a:extLst>
          </p:cNvPr>
          <p:cNvSpPr>
            <a:spLocks noGrp="1"/>
          </p:cNvSpPr>
          <p:nvPr>
            <p:ph type="title"/>
          </p:nvPr>
        </p:nvSpPr>
        <p:spPr/>
        <p:txBody>
          <a:bodyPr/>
          <a:lstStyle/>
          <a:p>
            <a:r>
              <a:rPr lang="en-US"/>
              <a:t>VI. Valuation</a:t>
            </a:r>
          </a:p>
        </p:txBody>
      </p:sp>
      <p:sp>
        <p:nvSpPr>
          <p:cNvPr id="14" name="Text Placeholder 13">
            <a:extLst>
              <a:ext uri="{FF2B5EF4-FFF2-40B4-BE49-F238E27FC236}">
                <a16:creationId xmlns:a16="http://schemas.microsoft.com/office/drawing/2014/main" id="{0C8E8C7E-8D31-E3F7-F479-7512A63C3BC8}"/>
              </a:ext>
            </a:extLst>
          </p:cNvPr>
          <p:cNvSpPr>
            <a:spLocks noGrp="1"/>
          </p:cNvSpPr>
          <p:nvPr>
            <p:ph type="body" sz="quarter" idx="18"/>
          </p:nvPr>
        </p:nvSpPr>
        <p:spPr/>
        <p:txBody>
          <a:bodyPr/>
          <a:lstStyle/>
          <a:p>
            <a:endParaRPr lang="en-US"/>
          </a:p>
        </p:txBody>
      </p:sp>
      <p:sp>
        <p:nvSpPr>
          <p:cNvPr id="15" name="Text Placeholder 14">
            <a:extLst>
              <a:ext uri="{FF2B5EF4-FFF2-40B4-BE49-F238E27FC236}">
                <a16:creationId xmlns:a16="http://schemas.microsoft.com/office/drawing/2014/main" id="{EB7BA0FC-C56C-4D1D-333B-6E5A21471121}"/>
              </a:ext>
            </a:extLst>
          </p:cNvPr>
          <p:cNvSpPr>
            <a:spLocks noGrp="1"/>
          </p:cNvSpPr>
          <p:nvPr>
            <p:ph type="body" sz="quarter" idx="19"/>
          </p:nvPr>
        </p:nvSpPr>
        <p:spPr/>
        <p:txBody>
          <a:bodyPr/>
          <a:lstStyle/>
          <a:p>
            <a:endParaRPr lang="en-US"/>
          </a:p>
        </p:txBody>
      </p:sp>
    </p:spTree>
    <p:extLst>
      <p:ext uri="{BB962C8B-B14F-4D97-AF65-F5344CB8AC3E}">
        <p14:creationId xmlns:p14="http://schemas.microsoft.com/office/powerpoint/2010/main" val="36357138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9F71043-6736-2F9A-0A9A-17DBE803720D}"/>
              </a:ext>
            </a:extLst>
          </p:cNvPr>
          <p:cNvSpPr>
            <a:spLocks noGrp="1"/>
          </p:cNvSpPr>
          <p:nvPr>
            <p:ph type="body" sz="quarter" idx="21"/>
          </p:nvPr>
        </p:nvSpPr>
        <p:spPr/>
        <p:txBody>
          <a:bodyPr/>
          <a:lstStyle/>
          <a:p>
            <a:r>
              <a:rPr lang="en-US"/>
              <a:t>Discussion material for NYSE: LSPD</a:t>
            </a:r>
          </a:p>
        </p:txBody>
      </p:sp>
      <p:sp>
        <p:nvSpPr>
          <p:cNvPr id="9" name="Table Placeholder 8">
            <a:extLst>
              <a:ext uri="{FF2B5EF4-FFF2-40B4-BE49-F238E27FC236}">
                <a16:creationId xmlns:a16="http://schemas.microsoft.com/office/drawing/2014/main" id="{E7C99705-D859-D745-962E-A2F121F01237}"/>
              </a:ext>
            </a:extLst>
          </p:cNvPr>
          <p:cNvSpPr>
            <a:spLocks noGrp="1"/>
          </p:cNvSpPr>
          <p:nvPr>
            <p:ph type="tbl" sz="quarter" idx="14"/>
          </p:nvPr>
        </p:nvSpPr>
        <p:spPr/>
        <p:txBody>
          <a:bodyPr>
            <a:normAutofit/>
          </a:bodyPr>
          <a:lstStyle/>
          <a:p>
            <a:pPr marL="285750" indent="-285750">
              <a:buFont typeface="+mj-lt"/>
              <a:buAutoNum type="romanUcPeriod"/>
            </a:pPr>
            <a:r>
              <a:rPr lang="en-US" sz="1100">
                <a:solidFill>
                  <a:schemeClr val="accent5"/>
                </a:solidFill>
                <a:latin typeface="+mn-lt"/>
              </a:rPr>
              <a:t>Executive Summary</a:t>
            </a:r>
          </a:p>
          <a:p>
            <a:pPr marL="285750" indent="-285750">
              <a:buFont typeface="+mj-lt"/>
              <a:buAutoNum type="romanUcPeriod"/>
            </a:pPr>
            <a:r>
              <a:rPr lang="en-US" sz="1100">
                <a:solidFill>
                  <a:schemeClr val="accent5"/>
                </a:solidFill>
                <a:latin typeface="+mn-lt"/>
              </a:rPr>
              <a:t>Company Overview</a:t>
            </a:r>
          </a:p>
          <a:p>
            <a:pPr marL="285750" indent="-285750">
              <a:buFont typeface="+mj-lt"/>
              <a:buAutoNum type="romanUcPeriod"/>
            </a:pPr>
            <a:r>
              <a:rPr lang="en-US" sz="1100">
                <a:solidFill>
                  <a:schemeClr val="accent5"/>
                </a:solidFill>
                <a:latin typeface="+mn-lt"/>
              </a:rPr>
              <a:t>Industry Overview</a:t>
            </a:r>
          </a:p>
          <a:p>
            <a:pPr marL="285750" indent="-285750">
              <a:buFont typeface="+mj-lt"/>
              <a:buAutoNum type="romanUcPeriod"/>
            </a:pPr>
            <a:r>
              <a:rPr lang="en-US" sz="1100">
                <a:solidFill>
                  <a:schemeClr val="accent5"/>
                </a:solidFill>
                <a:latin typeface="+mn-lt"/>
              </a:rPr>
              <a:t>Risks &amp; Catalysts</a:t>
            </a:r>
          </a:p>
          <a:p>
            <a:pPr marL="285750" indent="-285750">
              <a:buFont typeface="+mj-lt"/>
              <a:buAutoNum type="romanUcPeriod"/>
            </a:pPr>
            <a:r>
              <a:rPr lang="en-US" sz="1100">
                <a:solidFill>
                  <a:schemeClr val="accent5"/>
                </a:solidFill>
                <a:latin typeface="+mn-lt"/>
              </a:rPr>
              <a:t>Investment Theses</a:t>
            </a:r>
          </a:p>
          <a:p>
            <a:pPr marL="285750" indent="-285750">
              <a:buFont typeface="+mj-lt"/>
              <a:buAutoNum type="romanUcPeriod"/>
            </a:pPr>
            <a:r>
              <a:rPr lang="en-US" sz="1100">
                <a:solidFill>
                  <a:schemeClr val="accent5"/>
                </a:solidFill>
                <a:latin typeface="+mn-lt"/>
              </a:rPr>
              <a:t>Valuation</a:t>
            </a:r>
          </a:p>
          <a:p>
            <a:pPr marL="285750" indent="-285750">
              <a:buFont typeface="+mj-lt"/>
              <a:buAutoNum type="romanUcPeriod"/>
            </a:pPr>
            <a:r>
              <a:rPr lang="en-US" sz="1100">
                <a:solidFill>
                  <a:schemeClr val="accent5"/>
                </a:solidFill>
                <a:latin typeface="+mn-lt"/>
              </a:rPr>
              <a:t>Appendix</a:t>
            </a:r>
          </a:p>
        </p:txBody>
      </p:sp>
      <p:sp>
        <p:nvSpPr>
          <p:cNvPr id="7" name="Title 6">
            <a:extLst>
              <a:ext uri="{FF2B5EF4-FFF2-40B4-BE49-F238E27FC236}">
                <a16:creationId xmlns:a16="http://schemas.microsoft.com/office/drawing/2014/main" id="{DD5D65E0-9DB6-163A-F6B2-9DCC499942E2}"/>
              </a:ext>
            </a:extLst>
          </p:cNvPr>
          <p:cNvSpPr>
            <a:spLocks noGrp="1"/>
          </p:cNvSpPr>
          <p:nvPr>
            <p:ph type="title"/>
          </p:nvPr>
        </p:nvSpPr>
        <p:spPr/>
        <p:txBody>
          <a:bodyPr/>
          <a:lstStyle/>
          <a:p>
            <a:r>
              <a:rPr lang="en-US"/>
              <a:t>Agenda</a:t>
            </a:r>
          </a:p>
        </p:txBody>
      </p:sp>
      <p:sp>
        <p:nvSpPr>
          <p:cNvPr id="8" name="Text Placeholder 7">
            <a:extLst>
              <a:ext uri="{FF2B5EF4-FFF2-40B4-BE49-F238E27FC236}">
                <a16:creationId xmlns:a16="http://schemas.microsoft.com/office/drawing/2014/main" id="{899E814A-A9F3-8710-3252-5B60869A332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795513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202AEF3C-9897-CA42-A2F6-095F7B7A0A29}"/>
              </a:ext>
            </a:extLst>
          </p:cNvPr>
          <p:cNvGraphicFramePr>
            <a:graphicFrameLocks/>
          </p:cNvGraphicFramePr>
          <p:nvPr>
            <p:extLst>
              <p:ext uri="{D42A27DB-BD31-4B8C-83A1-F6EECF244321}">
                <p14:modId xmlns:p14="http://schemas.microsoft.com/office/powerpoint/2010/main" val="77572268"/>
              </p:ext>
            </p:extLst>
          </p:nvPr>
        </p:nvGraphicFramePr>
        <p:xfrm>
          <a:off x="4746418" y="4029942"/>
          <a:ext cx="4136819" cy="226139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58FCB59F-003B-904E-BEB0-0F7C3DDCA137}"/>
              </a:ext>
            </a:extLst>
          </p:cNvPr>
          <p:cNvGraphicFramePr>
            <a:graphicFrameLocks/>
          </p:cNvGraphicFramePr>
          <p:nvPr>
            <p:extLst>
              <p:ext uri="{D42A27DB-BD31-4B8C-83A1-F6EECF244321}">
                <p14:modId xmlns:p14="http://schemas.microsoft.com/office/powerpoint/2010/main" val="1125894977"/>
              </p:ext>
            </p:extLst>
          </p:nvPr>
        </p:nvGraphicFramePr>
        <p:xfrm>
          <a:off x="4751387" y="1375828"/>
          <a:ext cx="4136819" cy="2338183"/>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9">
            <a:extLst>
              <a:ext uri="{FF2B5EF4-FFF2-40B4-BE49-F238E27FC236}">
                <a16:creationId xmlns:a16="http://schemas.microsoft.com/office/drawing/2014/main" id="{3F0FF9DD-1995-4B86-A378-4FFEEF910E76}"/>
              </a:ext>
            </a:extLst>
          </p:cNvPr>
          <p:cNvSpPr>
            <a:spLocks noGrp="1"/>
          </p:cNvSpPr>
          <p:nvPr>
            <p:ph type="body" sz="quarter" idx="13"/>
          </p:nvPr>
        </p:nvSpPr>
        <p:spPr/>
        <p:txBody>
          <a:bodyPr/>
          <a:lstStyle/>
          <a:p>
            <a:r>
              <a:rPr lang="en-US"/>
              <a:t>Source(s) : Bloomberg, Capital IQ, Factiva</a:t>
            </a:r>
          </a:p>
        </p:txBody>
      </p:sp>
      <p:sp>
        <p:nvSpPr>
          <p:cNvPr id="3" name="Text Placeholder 2">
            <a:extLst>
              <a:ext uri="{FF2B5EF4-FFF2-40B4-BE49-F238E27FC236}">
                <a16:creationId xmlns:a16="http://schemas.microsoft.com/office/drawing/2014/main" id="{345090B2-1494-1CEA-0598-1E1CF2476EEB}"/>
              </a:ext>
            </a:extLst>
          </p:cNvPr>
          <p:cNvSpPr>
            <a:spLocks noGrp="1"/>
          </p:cNvSpPr>
          <p:nvPr>
            <p:ph type="body" sz="quarter" idx="21"/>
          </p:nvPr>
        </p:nvSpPr>
        <p:spPr/>
        <p:txBody>
          <a:bodyPr vert="horz" lIns="91440" tIns="45720" rIns="91440" bIns="45720" rtlCol="0" anchor="t">
            <a:normAutofit/>
          </a:bodyPr>
          <a:lstStyle/>
          <a:p>
            <a:r>
              <a:rPr lang="en-US">
                <a:solidFill>
                  <a:sysClr val="windowText" lastClr="000000"/>
                </a:solidFill>
              </a:rPr>
              <a:t>Strong Upside Potential with Profitability on the Horizon </a:t>
            </a:r>
            <a:endParaRPr lang="en-CA">
              <a:solidFill>
                <a:sysClr val="windowText" lastClr="000000"/>
              </a:solidFill>
              <a:highlight>
                <a:srgbClr val="FFFF00"/>
              </a:highlight>
            </a:endParaRPr>
          </a:p>
        </p:txBody>
      </p:sp>
      <p:sp>
        <p:nvSpPr>
          <p:cNvPr id="4" name="Title 3">
            <a:extLst>
              <a:ext uri="{FF2B5EF4-FFF2-40B4-BE49-F238E27FC236}">
                <a16:creationId xmlns:a16="http://schemas.microsoft.com/office/drawing/2014/main" id="{0D234964-2063-F20B-E92A-8A971B9F44D1}"/>
              </a:ext>
            </a:extLst>
          </p:cNvPr>
          <p:cNvSpPr>
            <a:spLocks noGrp="1"/>
          </p:cNvSpPr>
          <p:nvPr>
            <p:ph type="title"/>
          </p:nvPr>
        </p:nvSpPr>
        <p:spPr/>
        <p:txBody>
          <a:bodyPr/>
          <a:lstStyle/>
          <a:p>
            <a:r>
              <a:rPr lang="en-US"/>
              <a:t>Drivers, Assumptions, Key Risks, and Catalysts</a:t>
            </a:r>
            <a:endParaRPr lang="en-CA"/>
          </a:p>
        </p:txBody>
      </p:sp>
      <p:sp>
        <p:nvSpPr>
          <p:cNvPr id="6" name="Content Placeholder 21">
            <a:extLst>
              <a:ext uri="{FF2B5EF4-FFF2-40B4-BE49-F238E27FC236}">
                <a16:creationId xmlns:a16="http://schemas.microsoft.com/office/drawing/2014/main" id="{698676A5-5EF0-D457-9967-E2B0F64E36A5}"/>
              </a:ext>
            </a:extLst>
          </p:cNvPr>
          <p:cNvSpPr>
            <a:spLocks noGrp="1"/>
          </p:cNvSpPr>
          <p:nvPr>
            <p:ph sz="quarter" idx="23"/>
          </p:nvPr>
        </p:nvSpPr>
        <p:spPr/>
        <p:txBody>
          <a:bodyPr vert="horz" lIns="91440" tIns="45720" rIns="91440" bIns="45720" rtlCol="0" anchor="t">
            <a:normAutofit/>
          </a:bodyPr>
          <a:lstStyle/>
          <a:p>
            <a:pPr marL="227965" indent="-227965" algn="just"/>
            <a:r>
              <a:rPr lang="en-CA" b="1">
                <a:latin typeface="+mn-lt"/>
              </a:rPr>
              <a:t>Revenue Growth:</a:t>
            </a:r>
            <a:r>
              <a:rPr lang="en-CA" b="1">
                <a:ea typeface="+mj-lt"/>
                <a:cs typeface="+mj-lt"/>
              </a:rPr>
              <a:t> </a:t>
            </a:r>
            <a:r>
              <a:rPr lang="en-CA">
                <a:ea typeface="+mj-lt"/>
                <a:cs typeface="+mj-lt"/>
              </a:rPr>
              <a:t>Lightspeed projects 20% total revenue growth in FY 2025, with subscription revenue stabilizing around 5% long-term as SMB acquisition slows and economic factors impact spending. Transaction-based revenue remains the primary driver, benefiting from increased adoption in high-volume sectors like retail and hospitality. Hardware sales will decline over time, as Lightspeed shifts focus to software and payments, with short-term growth driven by bundled sales incentives</a:t>
            </a:r>
            <a:endParaRPr lang="en-US">
              <a:latin typeface="+mn-lt"/>
            </a:endParaRPr>
          </a:p>
          <a:p>
            <a:pPr marL="227965" indent="-227965" algn="just"/>
            <a:r>
              <a:rPr lang="en-CA" b="1">
                <a:latin typeface="+mn-lt"/>
              </a:rPr>
              <a:t>Operating Expenses: </a:t>
            </a:r>
            <a:r>
              <a:rPr lang="en-CA">
                <a:ea typeface="+mj-lt"/>
                <a:cs typeface="+mj-lt"/>
              </a:rPr>
              <a:t>Lightspeed's R&amp;D spending will decline gradually as its software becomes more scalable, though investments for automation will keep increasing absolute spending. Sales &amp; Marketing costs will initially rise due to expansion in North America and Europe but will decline over time with AI-driven efficiency, while G&amp;A expenses are expected to decrease through automation, despite recent litigation and selective hiring cost increases</a:t>
            </a:r>
          </a:p>
          <a:p>
            <a:pPr marL="227965" indent="-227965" algn="just"/>
            <a:r>
              <a:rPr lang="en-US" b="1">
                <a:latin typeface="+mn-lt"/>
              </a:rPr>
              <a:t>Depreciation:</a:t>
            </a:r>
            <a:r>
              <a:rPr lang="en-US" b="1">
                <a:ea typeface="+mj-lt"/>
                <a:cs typeface="+mj-lt"/>
              </a:rPr>
              <a:t> </a:t>
            </a:r>
            <a:r>
              <a:rPr lang="en-US">
                <a:ea typeface="+mj-lt"/>
                <a:cs typeface="+mj-lt"/>
              </a:rPr>
              <a:t>Depreciation of PPE and right-of-use assets will gradually decline due to stable </a:t>
            </a:r>
            <a:r>
              <a:rPr lang="en-US" err="1">
                <a:ea typeface="+mj-lt"/>
                <a:cs typeface="+mj-lt"/>
              </a:rPr>
              <a:t>CapEx</a:t>
            </a:r>
            <a:r>
              <a:rPr lang="en-US">
                <a:ea typeface="+mj-lt"/>
                <a:cs typeface="+mj-lt"/>
              </a:rPr>
              <a:t> and selective lease signings, while intangible asset amortization will decrease over time as existing assets reach full amortization.</a:t>
            </a:r>
            <a:endParaRPr lang="en-CA">
              <a:ea typeface="+mj-lt"/>
              <a:cs typeface="+mj-lt"/>
            </a:endParaRPr>
          </a:p>
          <a:p>
            <a:pPr marL="227965" indent="-227965" algn="just"/>
            <a:r>
              <a:rPr lang="en-CA" b="1">
                <a:latin typeface="+mn-lt"/>
              </a:rPr>
              <a:t>Beta: </a:t>
            </a:r>
            <a:r>
              <a:rPr lang="en-US"/>
              <a:t>The beta calculation was performed using a bottom-up approach with industry competitors</a:t>
            </a:r>
          </a:p>
          <a:p>
            <a:pPr marL="227965" indent="-227965" algn="just"/>
            <a:r>
              <a:rPr lang="en-CA" b="1">
                <a:latin typeface="+mn-lt"/>
              </a:rPr>
              <a:t>Cost of Debt: </a:t>
            </a:r>
            <a:r>
              <a:rPr lang="en-CA">
                <a:latin typeface="+mn-lt"/>
              </a:rPr>
              <a:t>Credit spread of 2.61% (B1/B+) derived from firm’s discount rate on leases, as well as lease interest expense rate</a:t>
            </a:r>
            <a:endParaRPr lang="en-CA" b="1">
              <a:latin typeface="+mn-lt"/>
            </a:endParaRPr>
          </a:p>
          <a:p>
            <a:pPr marL="227965" indent="-227965" algn="just"/>
            <a:r>
              <a:rPr lang="en-CA" b="1">
                <a:latin typeface="+mn-lt"/>
              </a:rPr>
              <a:t>Terminal Growth Rate: </a:t>
            </a:r>
            <a:r>
              <a:rPr lang="en-US">
                <a:latin typeface="+mn-lt"/>
              </a:rPr>
              <a:t>T</a:t>
            </a:r>
            <a:r>
              <a:rPr lang="en-US"/>
              <a:t>erminal growth rate of 3.00% was applied, aligning close to long-term US GDP growth estimates, and industry maturity</a:t>
            </a:r>
          </a:p>
          <a:p>
            <a:pPr marL="227965" indent="-227965" algn="just"/>
            <a:r>
              <a:rPr lang="en-US" b="1">
                <a:latin typeface="+mn-lt"/>
              </a:rPr>
              <a:t>Valuation Weightings:</a:t>
            </a:r>
            <a:r>
              <a:rPr lang="en-US" b="1"/>
              <a:t> </a:t>
            </a:r>
            <a:r>
              <a:rPr lang="en-US"/>
              <a:t>An 85/15 weighting was applied to DCF and Relative Valuation, emphasizing the comprehensive 10-year DCF model, which reflects a conservative and detailed forecast of Lightspeed's expected growth trajectory</a:t>
            </a:r>
          </a:p>
          <a:p>
            <a:pPr marL="448945" lvl="1" indent="-227965" algn="just"/>
            <a:endParaRPr lang="en-US">
              <a:latin typeface="+mn-lt"/>
            </a:endParaRPr>
          </a:p>
        </p:txBody>
      </p:sp>
      <p:sp>
        <p:nvSpPr>
          <p:cNvPr id="7" name="Text Placeholder 6">
            <a:extLst>
              <a:ext uri="{FF2B5EF4-FFF2-40B4-BE49-F238E27FC236}">
                <a16:creationId xmlns:a16="http://schemas.microsoft.com/office/drawing/2014/main" id="{87E5E34F-7124-FADE-92A5-254095808C97}"/>
              </a:ext>
            </a:extLst>
          </p:cNvPr>
          <p:cNvSpPr>
            <a:spLocks noGrp="1"/>
          </p:cNvSpPr>
          <p:nvPr>
            <p:ph type="body" idx="26"/>
          </p:nvPr>
        </p:nvSpPr>
        <p:spPr/>
        <p:txBody>
          <a:bodyPr/>
          <a:lstStyle/>
          <a:p>
            <a:r>
              <a:rPr lang="en-US"/>
              <a:t>Key Drivers &amp; Assumptions</a:t>
            </a:r>
            <a:endParaRPr lang="en-CA"/>
          </a:p>
        </p:txBody>
      </p:sp>
      <p:sp>
        <p:nvSpPr>
          <p:cNvPr id="22" name="Text Placeholder 6">
            <a:extLst>
              <a:ext uri="{FF2B5EF4-FFF2-40B4-BE49-F238E27FC236}">
                <a16:creationId xmlns:a16="http://schemas.microsoft.com/office/drawing/2014/main" id="{9A739467-1590-24CD-459B-7CD2C4CCC341}"/>
              </a:ext>
            </a:extLst>
          </p:cNvPr>
          <p:cNvSpPr txBox="1">
            <a:spLocks/>
          </p:cNvSpPr>
          <p:nvPr/>
        </p:nvSpPr>
        <p:spPr>
          <a:xfrm>
            <a:off x="4746419" y="3677576"/>
            <a:ext cx="4141787" cy="240198"/>
          </a:xfrm>
          <a:prstGeom prst="rect">
            <a:avLst/>
          </a:prstGeom>
          <a:noFill/>
          <a:ln>
            <a:noFill/>
          </a:ln>
        </p:spPr>
        <p:txBody>
          <a:bodyPr spcFirstLastPara="1" vert="horz" wrap="square" lIns="91425" tIns="45700" rIns="91425" bIns="45700" rtlCol="0" anchor="ctr" anchorCtr="0">
            <a:normAutofit lnSpcReduction="10000"/>
          </a:bodyPr>
          <a:lstStyle>
            <a:lvl1pPr marL="0" lvl="0" indent="0" algn="l" defTabSz="914400" rtl="0" eaLnBrk="1" latinLnBrk="0" hangingPunct="1">
              <a:lnSpc>
                <a:spcPct val="90000"/>
              </a:lnSpc>
              <a:spcBef>
                <a:spcPts val="0"/>
              </a:spcBef>
              <a:spcAft>
                <a:spcPts val="0"/>
              </a:spcAft>
              <a:buClr>
                <a:schemeClr val="accent1"/>
              </a:buClr>
              <a:buSzPts val="1600"/>
              <a:buFont typeface="Wingdings" panose="05000000000000000000" pitchFamily="2" charset="2"/>
              <a:buNone/>
              <a:defRPr sz="1200" b="1" kern="1200">
                <a:solidFill>
                  <a:schemeClr val="accent1"/>
                </a:solidFill>
                <a:latin typeface="+mj-lt"/>
                <a:ea typeface="+mn-ea"/>
                <a:cs typeface="Goldman Sans Regular" panose="020B0603020203020204" pitchFamily="34" charset="0"/>
              </a:defRPr>
            </a:lvl1pPr>
            <a:lvl2pPr marL="685800" lvl="1" indent="-257175" algn="l" defTabSz="914400" rtl="0" eaLnBrk="1" latinLnBrk="0" hangingPunct="1">
              <a:lnSpc>
                <a:spcPct val="90000"/>
              </a:lnSpc>
              <a:spcBef>
                <a:spcPts val="450"/>
              </a:spcBef>
              <a:spcAft>
                <a:spcPts val="0"/>
              </a:spcAft>
              <a:buClr>
                <a:schemeClr val="accent1"/>
              </a:buClr>
              <a:buSzPts val="1800"/>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1028700" lvl="2" indent="-257175" algn="l" defTabSz="914400" rtl="0" eaLnBrk="1" latinLnBrk="0" hangingPunct="1">
              <a:lnSpc>
                <a:spcPct val="90000"/>
              </a:lnSpc>
              <a:spcBef>
                <a:spcPts val="0"/>
              </a:spcBef>
              <a:spcAft>
                <a:spcPts val="0"/>
              </a:spcAft>
              <a:buClr>
                <a:schemeClr val="accent1"/>
              </a:buClr>
              <a:buSzPts val="1800"/>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1371600" lvl="3" indent="-257175" algn="l" defTabSz="914400" rtl="0" eaLnBrk="1" latinLnBrk="0" hangingPunct="1">
              <a:lnSpc>
                <a:spcPct val="90000"/>
              </a:lnSpc>
              <a:spcBef>
                <a:spcPts val="450"/>
              </a:spcBef>
              <a:spcAft>
                <a:spcPts val="0"/>
              </a:spcAft>
              <a:buClr>
                <a:schemeClr val="accent1"/>
              </a:buClr>
              <a:buSzPts val="1800"/>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714500" lvl="4" indent="-257175" algn="l" defTabSz="914400" rtl="0" eaLnBrk="1" latinLnBrk="0" hangingPunct="1">
              <a:lnSpc>
                <a:spcPct val="90000"/>
              </a:lnSpc>
              <a:spcBef>
                <a:spcPts val="450"/>
              </a:spcBef>
              <a:spcAft>
                <a:spcPts val="0"/>
              </a:spcAft>
              <a:buClr>
                <a:schemeClr val="accent1"/>
              </a:buClr>
              <a:buSzPts val="1800"/>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057400" lvl="5" indent="-171450" algn="l" defTabSz="914400" rtl="0" eaLnBrk="1" latinLnBrk="0" hangingPunct="1">
              <a:lnSpc>
                <a:spcPct val="90000"/>
              </a:lnSpc>
              <a:spcBef>
                <a:spcPts val="450"/>
              </a:spcBef>
              <a:spcAft>
                <a:spcPts val="0"/>
              </a:spcAft>
              <a:buClr>
                <a:schemeClr val="accent1"/>
              </a:buClr>
              <a:buSzPts val="1400"/>
              <a:buFont typeface="Wingdings" panose="05000000000000000000" pitchFamily="2" charset="2"/>
              <a:buNone/>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400300" lvl="6" indent="-171450" algn="l" defTabSz="914400" rtl="0" eaLnBrk="1" latinLnBrk="0" hangingPunct="1">
              <a:lnSpc>
                <a:spcPct val="90000"/>
              </a:lnSpc>
              <a:spcBef>
                <a:spcPts val="0"/>
              </a:spcBef>
              <a:spcAft>
                <a:spcPts val="0"/>
              </a:spcAft>
              <a:buClr>
                <a:schemeClr val="accent1"/>
              </a:buClr>
              <a:buSzPts val="1400"/>
              <a:buFont typeface="Wingdings" panose="05000000000000000000" pitchFamily="2" charset="2"/>
              <a:buNone/>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2743200" lvl="7" indent="-171450" algn="l" defTabSz="914400" rtl="0" eaLnBrk="1" latinLnBrk="0" hangingPunct="1">
              <a:lnSpc>
                <a:spcPct val="90000"/>
              </a:lnSpc>
              <a:spcBef>
                <a:spcPts val="0"/>
              </a:spcBef>
              <a:spcAft>
                <a:spcPts val="0"/>
              </a:spcAft>
              <a:buSzPts val="1400"/>
              <a:buFont typeface="Arial" panose="020B0604020202020204" pitchFamily="34" charset="0"/>
              <a:buNone/>
              <a:defRPr sz="1800" kern="1200">
                <a:solidFill>
                  <a:schemeClr val="tx1"/>
                </a:solidFill>
                <a:latin typeface="+mn-lt"/>
                <a:ea typeface="+mn-ea"/>
                <a:cs typeface="+mn-cs"/>
              </a:defRPr>
            </a:lvl8pPr>
            <a:lvl9pPr marL="3086100" lvl="8" indent="-171450" algn="l" defTabSz="914400" rtl="0" eaLnBrk="1" latinLnBrk="0" hangingPunct="1">
              <a:lnSpc>
                <a:spcPct val="90000"/>
              </a:lnSpc>
              <a:spcBef>
                <a:spcPts val="0"/>
              </a:spcBef>
              <a:spcAft>
                <a:spcPts val="0"/>
              </a:spcAft>
              <a:buSzPts val="1400"/>
              <a:buFont typeface="Arial" panose="020B0604020202020204" pitchFamily="34" charset="0"/>
              <a:buNone/>
              <a:defRPr sz="1800" kern="1200">
                <a:solidFill>
                  <a:schemeClr val="tx1"/>
                </a:solidFill>
                <a:latin typeface="+mn-lt"/>
                <a:ea typeface="+mn-ea"/>
                <a:cs typeface="+mn-cs"/>
              </a:defRPr>
            </a:lvl9pPr>
          </a:lstStyle>
          <a:p>
            <a:r>
              <a:rPr lang="en-US"/>
              <a:t>Operating Expenses (</a:t>
            </a:r>
            <a:r>
              <a:rPr lang="en-US" i="1"/>
              <a:t>USD mm)</a:t>
            </a:r>
            <a:endParaRPr lang="en-CA"/>
          </a:p>
        </p:txBody>
      </p:sp>
      <p:sp>
        <p:nvSpPr>
          <p:cNvPr id="18" name="Isosceles Triangle 17">
            <a:extLst>
              <a:ext uri="{FF2B5EF4-FFF2-40B4-BE49-F238E27FC236}">
                <a16:creationId xmlns:a16="http://schemas.microsoft.com/office/drawing/2014/main" id="{4EA71977-4822-E0DD-6200-2A96CED94845}"/>
              </a:ext>
            </a:extLst>
          </p:cNvPr>
          <p:cNvSpPr/>
          <p:nvPr/>
        </p:nvSpPr>
        <p:spPr>
          <a:xfrm rot="5400000">
            <a:off x="3416390" y="2466858"/>
            <a:ext cx="2195513"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1" name="Isosceles Triangle 20">
            <a:extLst>
              <a:ext uri="{FF2B5EF4-FFF2-40B4-BE49-F238E27FC236}">
                <a16:creationId xmlns:a16="http://schemas.microsoft.com/office/drawing/2014/main" id="{095713FE-48DC-4FAE-7C69-803137132690}"/>
              </a:ext>
            </a:extLst>
          </p:cNvPr>
          <p:cNvSpPr/>
          <p:nvPr/>
        </p:nvSpPr>
        <p:spPr>
          <a:xfrm rot="5400000">
            <a:off x="3416390" y="4931402"/>
            <a:ext cx="2195513"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3" name="Text Placeholder 6">
            <a:extLst>
              <a:ext uri="{FF2B5EF4-FFF2-40B4-BE49-F238E27FC236}">
                <a16:creationId xmlns:a16="http://schemas.microsoft.com/office/drawing/2014/main" id="{DF6B9621-0C88-1990-12C1-FA2C93E3F965}"/>
              </a:ext>
            </a:extLst>
          </p:cNvPr>
          <p:cNvSpPr txBox="1">
            <a:spLocks/>
          </p:cNvSpPr>
          <p:nvPr/>
        </p:nvSpPr>
        <p:spPr>
          <a:xfrm>
            <a:off x="4680710" y="1047341"/>
            <a:ext cx="4141787" cy="240198"/>
          </a:xfrm>
          <a:prstGeom prst="rect">
            <a:avLst/>
          </a:prstGeom>
          <a:noFill/>
          <a:ln>
            <a:noFill/>
          </a:ln>
        </p:spPr>
        <p:txBody>
          <a:bodyPr spcFirstLastPara="1" vert="horz" wrap="square" lIns="91425" tIns="45700" rIns="91425" bIns="45700" rtlCol="0" anchor="ctr" anchorCtr="0">
            <a:normAutofit lnSpcReduction="10000"/>
          </a:bodyPr>
          <a:lstStyle>
            <a:lvl1pPr marL="0" lvl="0" indent="0" algn="l" defTabSz="914400" rtl="0" eaLnBrk="1" latinLnBrk="0" hangingPunct="1">
              <a:lnSpc>
                <a:spcPct val="90000"/>
              </a:lnSpc>
              <a:spcBef>
                <a:spcPts val="0"/>
              </a:spcBef>
              <a:spcAft>
                <a:spcPts val="0"/>
              </a:spcAft>
              <a:buClr>
                <a:schemeClr val="accent1"/>
              </a:buClr>
              <a:buSzPts val="1600"/>
              <a:buFont typeface="Wingdings" panose="05000000000000000000" pitchFamily="2" charset="2"/>
              <a:buNone/>
              <a:defRPr sz="1200" b="1" kern="1200">
                <a:solidFill>
                  <a:schemeClr val="accent1"/>
                </a:solidFill>
                <a:latin typeface="+mj-lt"/>
                <a:ea typeface="+mn-ea"/>
                <a:cs typeface="Goldman Sans Regular" panose="020B0603020203020204" pitchFamily="34" charset="0"/>
              </a:defRPr>
            </a:lvl1pPr>
            <a:lvl2pPr marL="685800" lvl="1" indent="-257175" algn="l" defTabSz="914400" rtl="0" eaLnBrk="1" latinLnBrk="0" hangingPunct="1">
              <a:lnSpc>
                <a:spcPct val="90000"/>
              </a:lnSpc>
              <a:spcBef>
                <a:spcPts val="450"/>
              </a:spcBef>
              <a:spcAft>
                <a:spcPts val="0"/>
              </a:spcAft>
              <a:buClr>
                <a:schemeClr val="accent1"/>
              </a:buClr>
              <a:buSzPts val="1800"/>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1028700" lvl="2" indent="-257175" algn="l" defTabSz="914400" rtl="0" eaLnBrk="1" latinLnBrk="0" hangingPunct="1">
              <a:lnSpc>
                <a:spcPct val="90000"/>
              </a:lnSpc>
              <a:spcBef>
                <a:spcPts val="0"/>
              </a:spcBef>
              <a:spcAft>
                <a:spcPts val="0"/>
              </a:spcAft>
              <a:buClr>
                <a:schemeClr val="accent1"/>
              </a:buClr>
              <a:buSzPts val="1800"/>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1371600" lvl="3" indent="-257175" algn="l" defTabSz="914400" rtl="0" eaLnBrk="1" latinLnBrk="0" hangingPunct="1">
              <a:lnSpc>
                <a:spcPct val="90000"/>
              </a:lnSpc>
              <a:spcBef>
                <a:spcPts val="450"/>
              </a:spcBef>
              <a:spcAft>
                <a:spcPts val="0"/>
              </a:spcAft>
              <a:buClr>
                <a:schemeClr val="accent1"/>
              </a:buClr>
              <a:buSzPts val="1800"/>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714500" lvl="4" indent="-257175" algn="l" defTabSz="914400" rtl="0" eaLnBrk="1" latinLnBrk="0" hangingPunct="1">
              <a:lnSpc>
                <a:spcPct val="90000"/>
              </a:lnSpc>
              <a:spcBef>
                <a:spcPts val="450"/>
              </a:spcBef>
              <a:spcAft>
                <a:spcPts val="0"/>
              </a:spcAft>
              <a:buClr>
                <a:schemeClr val="accent1"/>
              </a:buClr>
              <a:buSzPts val="1800"/>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057400" lvl="5" indent="-171450" algn="l" defTabSz="914400" rtl="0" eaLnBrk="1" latinLnBrk="0" hangingPunct="1">
              <a:lnSpc>
                <a:spcPct val="90000"/>
              </a:lnSpc>
              <a:spcBef>
                <a:spcPts val="450"/>
              </a:spcBef>
              <a:spcAft>
                <a:spcPts val="0"/>
              </a:spcAft>
              <a:buClr>
                <a:schemeClr val="accent1"/>
              </a:buClr>
              <a:buSzPts val="1400"/>
              <a:buFont typeface="Wingdings" panose="05000000000000000000" pitchFamily="2" charset="2"/>
              <a:buNone/>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400300" lvl="6" indent="-171450" algn="l" defTabSz="914400" rtl="0" eaLnBrk="1" latinLnBrk="0" hangingPunct="1">
              <a:lnSpc>
                <a:spcPct val="90000"/>
              </a:lnSpc>
              <a:spcBef>
                <a:spcPts val="0"/>
              </a:spcBef>
              <a:spcAft>
                <a:spcPts val="0"/>
              </a:spcAft>
              <a:buClr>
                <a:schemeClr val="accent1"/>
              </a:buClr>
              <a:buSzPts val="1400"/>
              <a:buFont typeface="Wingdings" panose="05000000000000000000" pitchFamily="2" charset="2"/>
              <a:buNone/>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2743200" lvl="7" indent="-171450" algn="l" defTabSz="914400" rtl="0" eaLnBrk="1" latinLnBrk="0" hangingPunct="1">
              <a:lnSpc>
                <a:spcPct val="90000"/>
              </a:lnSpc>
              <a:spcBef>
                <a:spcPts val="0"/>
              </a:spcBef>
              <a:spcAft>
                <a:spcPts val="0"/>
              </a:spcAft>
              <a:buSzPts val="1400"/>
              <a:buFont typeface="Arial" panose="020B0604020202020204" pitchFamily="34" charset="0"/>
              <a:buNone/>
              <a:defRPr sz="1800" kern="1200">
                <a:solidFill>
                  <a:schemeClr val="tx1"/>
                </a:solidFill>
                <a:latin typeface="+mn-lt"/>
                <a:ea typeface="+mn-ea"/>
                <a:cs typeface="+mn-cs"/>
              </a:defRPr>
            </a:lvl8pPr>
            <a:lvl9pPr marL="3086100" lvl="8" indent="-171450" algn="l" defTabSz="914400" rtl="0" eaLnBrk="1" latinLnBrk="0" hangingPunct="1">
              <a:lnSpc>
                <a:spcPct val="90000"/>
              </a:lnSpc>
              <a:spcBef>
                <a:spcPts val="0"/>
              </a:spcBef>
              <a:spcAft>
                <a:spcPts val="0"/>
              </a:spcAft>
              <a:buSzPts val="1400"/>
              <a:buFont typeface="Arial" panose="020B0604020202020204" pitchFamily="34" charset="0"/>
              <a:buNone/>
              <a:defRPr sz="1800" kern="1200">
                <a:solidFill>
                  <a:schemeClr val="tx1"/>
                </a:solidFill>
                <a:latin typeface="+mn-lt"/>
                <a:ea typeface="+mn-ea"/>
                <a:cs typeface="+mn-cs"/>
              </a:defRPr>
            </a:lvl9pPr>
          </a:lstStyle>
          <a:p>
            <a:r>
              <a:rPr lang="en-US"/>
              <a:t>Top Line Revenue (</a:t>
            </a:r>
            <a:r>
              <a:rPr lang="en-US" i="1"/>
              <a:t>USD mm)</a:t>
            </a:r>
            <a:endParaRPr lang="en-CA"/>
          </a:p>
        </p:txBody>
      </p:sp>
      <p:cxnSp>
        <p:nvCxnSpPr>
          <p:cNvPr id="41" name="Straight Arrow Connector 40">
            <a:extLst>
              <a:ext uri="{FF2B5EF4-FFF2-40B4-BE49-F238E27FC236}">
                <a16:creationId xmlns:a16="http://schemas.microsoft.com/office/drawing/2014/main" id="{393F514D-DA65-D421-4EB6-62655A13524F}"/>
              </a:ext>
            </a:extLst>
          </p:cNvPr>
          <p:cNvCxnSpPr>
            <a:cxnSpLocks/>
          </p:cNvCxnSpPr>
          <p:nvPr/>
        </p:nvCxnSpPr>
        <p:spPr>
          <a:xfrm flipV="1">
            <a:off x="6451451" y="4029942"/>
            <a:ext cx="2173901" cy="1083309"/>
          </a:xfrm>
          <a:prstGeom prst="straightConnector1">
            <a:avLst/>
          </a:prstGeom>
          <a:ln w="19050" cap="sq" cmpd="sng" algn="ctr">
            <a:solidFill>
              <a:srgbClr val="0F3557"/>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46" name="Straight Arrow Connector 45">
            <a:extLst>
              <a:ext uri="{FF2B5EF4-FFF2-40B4-BE49-F238E27FC236}">
                <a16:creationId xmlns:a16="http://schemas.microsoft.com/office/drawing/2014/main" id="{4B341882-DADF-E697-C232-6AC85CA4192F}"/>
              </a:ext>
            </a:extLst>
          </p:cNvPr>
          <p:cNvCxnSpPr>
            <a:cxnSpLocks/>
          </p:cNvCxnSpPr>
          <p:nvPr/>
        </p:nvCxnSpPr>
        <p:spPr>
          <a:xfrm flipV="1">
            <a:off x="6432698" y="1417203"/>
            <a:ext cx="2213176" cy="1191215"/>
          </a:xfrm>
          <a:prstGeom prst="straightConnector1">
            <a:avLst/>
          </a:prstGeom>
          <a:ln w="19050" cap="flat" cmpd="sng" algn="ctr">
            <a:solidFill>
              <a:srgbClr val="0F3557"/>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48" name="TextBox 47">
            <a:extLst>
              <a:ext uri="{FF2B5EF4-FFF2-40B4-BE49-F238E27FC236}">
                <a16:creationId xmlns:a16="http://schemas.microsoft.com/office/drawing/2014/main" id="{6A2005C7-EA64-9F66-123F-2D71A2B9BC8D}"/>
              </a:ext>
            </a:extLst>
          </p:cNvPr>
          <p:cNvSpPr txBox="1"/>
          <p:nvPr/>
        </p:nvSpPr>
        <p:spPr>
          <a:xfrm rot="19848685">
            <a:off x="6911727" y="1838097"/>
            <a:ext cx="915635" cy="230832"/>
          </a:xfrm>
          <a:prstGeom prst="rect">
            <a:avLst/>
          </a:prstGeom>
          <a:noFill/>
        </p:spPr>
        <p:txBody>
          <a:bodyPr wrap="none" rtlCol="0">
            <a:spAutoFit/>
          </a:bodyPr>
          <a:lstStyle/>
          <a:p>
            <a:r>
              <a:rPr lang="en-US" sz="900" b="1"/>
              <a:t>CAGR 14.3% </a:t>
            </a:r>
          </a:p>
        </p:txBody>
      </p:sp>
      <p:sp>
        <p:nvSpPr>
          <p:cNvPr id="49" name="TextBox 48">
            <a:extLst>
              <a:ext uri="{FF2B5EF4-FFF2-40B4-BE49-F238E27FC236}">
                <a16:creationId xmlns:a16="http://schemas.microsoft.com/office/drawing/2014/main" id="{74B96426-ED82-7448-11A1-05C75100A5A0}"/>
              </a:ext>
            </a:extLst>
          </p:cNvPr>
          <p:cNvSpPr txBox="1"/>
          <p:nvPr/>
        </p:nvSpPr>
        <p:spPr>
          <a:xfrm rot="19889752">
            <a:off x="6941312" y="4356532"/>
            <a:ext cx="915635" cy="230832"/>
          </a:xfrm>
          <a:prstGeom prst="rect">
            <a:avLst/>
          </a:prstGeom>
          <a:noFill/>
        </p:spPr>
        <p:txBody>
          <a:bodyPr wrap="none" lIns="91440" tIns="45720" rIns="91440" bIns="45720" rtlCol="0" anchor="t">
            <a:spAutoFit/>
          </a:bodyPr>
          <a:lstStyle/>
          <a:p>
            <a:r>
              <a:rPr lang="en-US" sz="900" b="1"/>
              <a:t>CAGR 12.6% </a:t>
            </a:r>
            <a:endParaRPr lang="en-US" sz="900" b="1">
              <a:cs typeface="Arial"/>
            </a:endParaRPr>
          </a:p>
        </p:txBody>
      </p:sp>
    </p:spTree>
    <p:extLst>
      <p:ext uri="{BB962C8B-B14F-4D97-AF65-F5344CB8AC3E}">
        <p14:creationId xmlns:p14="http://schemas.microsoft.com/office/powerpoint/2010/main" val="1313030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AAAEDE1B-1CCC-7264-9B3D-9F9F0ECDD063}"/>
              </a:ext>
            </a:extLst>
          </p:cNvPr>
          <p:cNvSpPr>
            <a:spLocks noGrp="1"/>
          </p:cNvSpPr>
          <p:nvPr>
            <p:ph type="body" sz="quarter" idx="13"/>
          </p:nvPr>
        </p:nvSpPr>
        <p:spPr/>
        <p:txBody>
          <a:bodyPr/>
          <a:lstStyle/>
          <a:p>
            <a:r>
              <a:rPr lang="en-US"/>
              <a:t>Source(s): Capital IQ,  Factiva</a:t>
            </a:r>
          </a:p>
        </p:txBody>
      </p:sp>
      <p:sp>
        <p:nvSpPr>
          <p:cNvPr id="13" name="Text Placeholder 12">
            <a:extLst>
              <a:ext uri="{FF2B5EF4-FFF2-40B4-BE49-F238E27FC236}">
                <a16:creationId xmlns:a16="http://schemas.microsoft.com/office/drawing/2014/main" id="{90E646E7-BAF3-1451-6655-546DC20EB758}"/>
              </a:ext>
            </a:extLst>
          </p:cNvPr>
          <p:cNvSpPr>
            <a:spLocks noGrp="1"/>
          </p:cNvSpPr>
          <p:nvPr>
            <p:ph type="body" sz="quarter" idx="21"/>
          </p:nvPr>
        </p:nvSpPr>
        <p:spPr/>
        <p:txBody>
          <a:bodyPr/>
          <a:lstStyle/>
          <a:p>
            <a:r>
              <a:rPr lang="en-US"/>
              <a:t>Strong Revenue Growth with Declining </a:t>
            </a:r>
            <a:r>
              <a:rPr lang="en-US" err="1"/>
              <a:t>OpEx</a:t>
            </a:r>
            <a:r>
              <a:rPr lang="en-US"/>
              <a:t> over the next 10 years</a:t>
            </a:r>
          </a:p>
        </p:txBody>
      </p:sp>
      <p:sp>
        <p:nvSpPr>
          <p:cNvPr id="11" name="Title 10">
            <a:extLst>
              <a:ext uri="{FF2B5EF4-FFF2-40B4-BE49-F238E27FC236}">
                <a16:creationId xmlns:a16="http://schemas.microsoft.com/office/drawing/2014/main" id="{C04334CB-E87F-76CE-2866-D7909351C40F}"/>
              </a:ext>
            </a:extLst>
          </p:cNvPr>
          <p:cNvSpPr>
            <a:spLocks noGrp="1"/>
          </p:cNvSpPr>
          <p:nvPr>
            <p:ph type="title"/>
          </p:nvPr>
        </p:nvSpPr>
        <p:spPr/>
        <p:txBody>
          <a:bodyPr/>
          <a:lstStyle/>
          <a:p>
            <a:r>
              <a:rPr lang="en-US"/>
              <a:t>Key Assumptions</a:t>
            </a:r>
          </a:p>
        </p:txBody>
      </p:sp>
      <p:sp>
        <p:nvSpPr>
          <p:cNvPr id="15" name="Text Placeholder 14">
            <a:extLst>
              <a:ext uri="{FF2B5EF4-FFF2-40B4-BE49-F238E27FC236}">
                <a16:creationId xmlns:a16="http://schemas.microsoft.com/office/drawing/2014/main" id="{2DB2A952-408B-33AB-E573-43E6C2E2B3A1}"/>
              </a:ext>
            </a:extLst>
          </p:cNvPr>
          <p:cNvSpPr>
            <a:spLocks noGrp="1"/>
          </p:cNvSpPr>
          <p:nvPr>
            <p:ph type="body" idx="26"/>
          </p:nvPr>
        </p:nvSpPr>
        <p:spPr/>
        <p:txBody>
          <a:bodyPr>
            <a:normAutofit/>
          </a:bodyPr>
          <a:lstStyle/>
          <a:p>
            <a:r>
              <a:rPr lang="en-CA" b="1" i="0" u="none" strike="noStrike">
                <a:solidFill>
                  <a:srgbClr val="0F3557"/>
                </a:solidFill>
                <a:effectLst/>
                <a:latin typeface="Arial" panose="020B0604020202020204" pitchFamily="34" charset="0"/>
              </a:rPr>
              <a:t>Revenue Growth (</a:t>
            </a:r>
            <a:r>
              <a:rPr lang="en-CA" b="1" i="1" u="none" strike="noStrike">
                <a:solidFill>
                  <a:srgbClr val="0F3557"/>
                </a:solidFill>
                <a:effectLst/>
                <a:latin typeface="Arial" panose="020B0604020202020204" pitchFamily="34" charset="0"/>
              </a:rPr>
              <a:t>USD mm)</a:t>
            </a:r>
            <a:r>
              <a:rPr lang="en-CA" b="0" i="0">
                <a:solidFill>
                  <a:srgbClr val="000000"/>
                </a:solidFill>
                <a:effectLst/>
                <a:latin typeface="Arial" panose="020B0604020202020204" pitchFamily="34" charset="0"/>
              </a:rPr>
              <a:t>​</a:t>
            </a:r>
            <a:endParaRPr lang="en-US"/>
          </a:p>
        </p:txBody>
      </p:sp>
      <p:sp>
        <p:nvSpPr>
          <p:cNvPr id="16" name="Text Placeholder 15">
            <a:extLst>
              <a:ext uri="{FF2B5EF4-FFF2-40B4-BE49-F238E27FC236}">
                <a16:creationId xmlns:a16="http://schemas.microsoft.com/office/drawing/2014/main" id="{FF8C5C97-AA77-FB4D-7A6D-6245E9D507A4}"/>
              </a:ext>
            </a:extLst>
          </p:cNvPr>
          <p:cNvSpPr>
            <a:spLocks noGrp="1"/>
          </p:cNvSpPr>
          <p:nvPr>
            <p:ph type="body" idx="27"/>
          </p:nvPr>
        </p:nvSpPr>
        <p:spPr/>
        <p:txBody>
          <a:bodyPr>
            <a:normAutofit/>
          </a:bodyPr>
          <a:lstStyle/>
          <a:p>
            <a:r>
              <a:rPr lang="en-CA" b="1" i="0" u="none" strike="noStrike">
                <a:solidFill>
                  <a:srgbClr val="0F3557"/>
                </a:solidFill>
                <a:effectLst/>
                <a:latin typeface="Arial" panose="020B0604020202020204" pitchFamily="34" charset="0"/>
              </a:rPr>
              <a:t>Operating Expenses as a % of Revenue (</a:t>
            </a:r>
            <a:r>
              <a:rPr lang="en-CA" b="1" i="1" u="none" strike="noStrike">
                <a:solidFill>
                  <a:srgbClr val="0F3557"/>
                </a:solidFill>
                <a:effectLst/>
                <a:latin typeface="Arial" panose="020B0604020202020204" pitchFamily="34" charset="0"/>
              </a:rPr>
              <a:t>USD mm)</a:t>
            </a:r>
            <a:r>
              <a:rPr lang="en-CA" b="0" i="0">
                <a:solidFill>
                  <a:srgbClr val="000000"/>
                </a:solidFill>
                <a:effectLst/>
                <a:latin typeface="Arial" panose="020B0604020202020204" pitchFamily="34" charset="0"/>
              </a:rPr>
              <a:t>​</a:t>
            </a:r>
            <a:endParaRPr lang="en-US"/>
          </a:p>
        </p:txBody>
      </p:sp>
      <p:graphicFrame>
        <p:nvGraphicFramePr>
          <p:cNvPr id="18" name="Content Placeholder 17">
            <a:extLst>
              <a:ext uri="{FF2B5EF4-FFF2-40B4-BE49-F238E27FC236}">
                <a16:creationId xmlns:a16="http://schemas.microsoft.com/office/drawing/2014/main" id="{5B3D2C50-140E-0A40-89FF-95313F6F2A9D}"/>
              </a:ext>
            </a:extLst>
          </p:cNvPr>
          <p:cNvGraphicFramePr>
            <a:graphicFrameLocks noGrp="1"/>
          </p:cNvGraphicFramePr>
          <p:nvPr>
            <p:ph sz="quarter" idx="23"/>
            <p:extLst>
              <p:ext uri="{D42A27DB-BD31-4B8C-83A1-F6EECF244321}">
                <p14:modId xmlns:p14="http://schemas.microsoft.com/office/powerpoint/2010/main" val="3923199119"/>
              </p:ext>
            </p:extLst>
          </p:nvPr>
        </p:nvGraphicFramePr>
        <p:xfrm>
          <a:off x="250825" y="1384300"/>
          <a:ext cx="8642350" cy="21780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Content Placeholder 18">
            <a:extLst>
              <a:ext uri="{FF2B5EF4-FFF2-40B4-BE49-F238E27FC236}">
                <a16:creationId xmlns:a16="http://schemas.microsoft.com/office/drawing/2014/main" id="{F55B2118-CA6C-F5EE-BCCF-5A06BB4A6262}"/>
              </a:ext>
            </a:extLst>
          </p:cNvPr>
          <p:cNvGraphicFramePr>
            <a:graphicFrameLocks noGrp="1"/>
          </p:cNvGraphicFramePr>
          <p:nvPr>
            <p:ph sz="quarter" idx="29"/>
            <p:extLst>
              <p:ext uri="{D42A27DB-BD31-4B8C-83A1-F6EECF244321}">
                <p14:modId xmlns:p14="http://schemas.microsoft.com/office/powerpoint/2010/main" val="1142574361"/>
              </p:ext>
            </p:extLst>
          </p:nvPr>
        </p:nvGraphicFramePr>
        <p:xfrm>
          <a:off x="250825" y="4014788"/>
          <a:ext cx="8642350" cy="21780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49077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7BE853-4252-456A-250B-C9C572CFDAFE}"/>
              </a:ext>
            </a:extLst>
          </p:cNvPr>
          <p:cNvSpPr>
            <a:spLocks noGrp="1"/>
          </p:cNvSpPr>
          <p:nvPr>
            <p:ph type="title"/>
          </p:nvPr>
        </p:nvSpPr>
        <p:spPr/>
        <p:txBody>
          <a:bodyPr/>
          <a:lstStyle/>
          <a:p>
            <a:r>
              <a:rPr lang="en-CA"/>
              <a:t>Long Term DCF Valuation Summary</a:t>
            </a:r>
          </a:p>
        </p:txBody>
      </p:sp>
      <p:sp>
        <p:nvSpPr>
          <p:cNvPr id="5" name="Text Placeholder 4">
            <a:extLst>
              <a:ext uri="{FF2B5EF4-FFF2-40B4-BE49-F238E27FC236}">
                <a16:creationId xmlns:a16="http://schemas.microsoft.com/office/drawing/2014/main" id="{90D6FCDA-E2F1-D215-B3C7-C70A3B1A067B}"/>
              </a:ext>
            </a:extLst>
          </p:cNvPr>
          <p:cNvSpPr>
            <a:spLocks noGrp="1"/>
          </p:cNvSpPr>
          <p:nvPr>
            <p:ph type="body" sz="quarter" idx="13"/>
          </p:nvPr>
        </p:nvSpPr>
        <p:spPr/>
        <p:txBody>
          <a:bodyPr/>
          <a:lstStyle/>
          <a:p>
            <a:r>
              <a:rPr lang="en-US"/>
              <a:t>Sources : Bloomberg, Capital IQ, Factiva</a:t>
            </a:r>
          </a:p>
        </p:txBody>
      </p:sp>
      <p:graphicFrame>
        <p:nvGraphicFramePr>
          <p:cNvPr id="3" name="Table 2">
            <a:extLst>
              <a:ext uri="{FF2B5EF4-FFF2-40B4-BE49-F238E27FC236}">
                <a16:creationId xmlns:a16="http://schemas.microsoft.com/office/drawing/2014/main" id="{C5428B4A-019E-BEDB-82BA-5AD952B4C2F7}"/>
              </a:ext>
            </a:extLst>
          </p:cNvPr>
          <p:cNvGraphicFramePr>
            <a:graphicFrameLocks noGrp="1"/>
          </p:cNvGraphicFramePr>
          <p:nvPr>
            <p:extLst>
              <p:ext uri="{D42A27DB-BD31-4B8C-83A1-F6EECF244321}">
                <p14:modId xmlns:p14="http://schemas.microsoft.com/office/powerpoint/2010/main" val="4188056552"/>
              </p:ext>
            </p:extLst>
          </p:nvPr>
        </p:nvGraphicFramePr>
        <p:xfrm>
          <a:off x="250825" y="642436"/>
          <a:ext cx="8642353" cy="2786560"/>
        </p:xfrm>
        <a:graphic>
          <a:graphicData uri="http://schemas.openxmlformats.org/drawingml/2006/table">
            <a:tbl>
              <a:tblPr/>
              <a:tblGrid>
                <a:gridCol w="930762">
                  <a:extLst>
                    <a:ext uri="{9D8B030D-6E8A-4147-A177-3AD203B41FA5}">
                      <a16:colId xmlns:a16="http://schemas.microsoft.com/office/drawing/2014/main" val="3601378217"/>
                    </a:ext>
                  </a:extLst>
                </a:gridCol>
                <a:gridCol w="520393">
                  <a:extLst>
                    <a:ext uri="{9D8B030D-6E8A-4147-A177-3AD203B41FA5}">
                      <a16:colId xmlns:a16="http://schemas.microsoft.com/office/drawing/2014/main" val="2235592334"/>
                    </a:ext>
                  </a:extLst>
                </a:gridCol>
                <a:gridCol w="513657">
                  <a:extLst>
                    <a:ext uri="{9D8B030D-6E8A-4147-A177-3AD203B41FA5}">
                      <a16:colId xmlns:a16="http://schemas.microsoft.com/office/drawing/2014/main" val="2161619112"/>
                    </a:ext>
                  </a:extLst>
                </a:gridCol>
                <a:gridCol w="513657">
                  <a:extLst>
                    <a:ext uri="{9D8B030D-6E8A-4147-A177-3AD203B41FA5}">
                      <a16:colId xmlns:a16="http://schemas.microsoft.com/office/drawing/2014/main" val="1492606608"/>
                    </a:ext>
                  </a:extLst>
                </a:gridCol>
                <a:gridCol w="513657">
                  <a:extLst>
                    <a:ext uri="{9D8B030D-6E8A-4147-A177-3AD203B41FA5}">
                      <a16:colId xmlns:a16="http://schemas.microsoft.com/office/drawing/2014/main" val="1718608653"/>
                    </a:ext>
                  </a:extLst>
                </a:gridCol>
                <a:gridCol w="513657">
                  <a:extLst>
                    <a:ext uri="{9D8B030D-6E8A-4147-A177-3AD203B41FA5}">
                      <a16:colId xmlns:a16="http://schemas.microsoft.com/office/drawing/2014/main" val="1748779627"/>
                    </a:ext>
                  </a:extLst>
                </a:gridCol>
                <a:gridCol w="513657">
                  <a:extLst>
                    <a:ext uri="{9D8B030D-6E8A-4147-A177-3AD203B41FA5}">
                      <a16:colId xmlns:a16="http://schemas.microsoft.com/office/drawing/2014/main" val="3189096248"/>
                    </a:ext>
                  </a:extLst>
                </a:gridCol>
                <a:gridCol w="513657">
                  <a:extLst>
                    <a:ext uri="{9D8B030D-6E8A-4147-A177-3AD203B41FA5}">
                      <a16:colId xmlns:a16="http://schemas.microsoft.com/office/drawing/2014/main" val="2279058325"/>
                    </a:ext>
                  </a:extLst>
                </a:gridCol>
                <a:gridCol w="513657">
                  <a:extLst>
                    <a:ext uri="{9D8B030D-6E8A-4147-A177-3AD203B41FA5}">
                      <a16:colId xmlns:a16="http://schemas.microsoft.com/office/drawing/2014/main" val="799470425"/>
                    </a:ext>
                  </a:extLst>
                </a:gridCol>
                <a:gridCol w="513657">
                  <a:extLst>
                    <a:ext uri="{9D8B030D-6E8A-4147-A177-3AD203B41FA5}">
                      <a16:colId xmlns:a16="http://schemas.microsoft.com/office/drawing/2014/main" val="1193468147"/>
                    </a:ext>
                  </a:extLst>
                </a:gridCol>
                <a:gridCol w="513657">
                  <a:extLst>
                    <a:ext uri="{9D8B030D-6E8A-4147-A177-3AD203B41FA5}">
                      <a16:colId xmlns:a16="http://schemas.microsoft.com/office/drawing/2014/main" val="3167477420"/>
                    </a:ext>
                  </a:extLst>
                </a:gridCol>
                <a:gridCol w="513657">
                  <a:extLst>
                    <a:ext uri="{9D8B030D-6E8A-4147-A177-3AD203B41FA5}">
                      <a16:colId xmlns:a16="http://schemas.microsoft.com/office/drawing/2014/main" val="1905989295"/>
                    </a:ext>
                  </a:extLst>
                </a:gridCol>
                <a:gridCol w="513657">
                  <a:extLst>
                    <a:ext uri="{9D8B030D-6E8A-4147-A177-3AD203B41FA5}">
                      <a16:colId xmlns:a16="http://schemas.microsoft.com/office/drawing/2014/main" val="2141854914"/>
                    </a:ext>
                  </a:extLst>
                </a:gridCol>
                <a:gridCol w="513657">
                  <a:extLst>
                    <a:ext uri="{9D8B030D-6E8A-4147-A177-3AD203B41FA5}">
                      <a16:colId xmlns:a16="http://schemas.microsoft.com/office/drawing/2014/main" val="3731384784"/>
                    </a:ext>
                  </a:extLst>
                </a:gridCol>
                <a:gridCol w="513657">
                  <a:extLst>
                    <a:ext uri="{9D8B030D-6E8A-4147-A177-3AD203B41FA5}">
                      <a16:colId xmlns:a16="http://schemas.microsoft.com/office/drawing/2014/main" val="3699974580"/>
                    </a:ext>
                  </a:extLst>
                </a:gridCol>
                <a:gridCol w="513657">
                  <a:extLst>
                    <a:ext uri="{9D8B030D-6E8A-4147-A177-3AD203B41FA5}">
                      <a16:colId xmlns:a16="http://schemas.microsoft.com/office/drawing/2014/main" val="2423456158"/>
                    </a:ext>
                  </a:extLst>
                </a:gridCol>
              </a:tblGrid>
              <a:tr h="159576">
                <a:tc>
                  <a:txBody>
                    <a:bodyPr/>
                    <a:lstStyle/>
                    <a:p>
                      <a:pPr algn="l" fontAlgn="ctr"/>
                      <a:r>
                        <a:rPr lang="en-US" sz="900" b="1" i="0" u="none" strike="noStrike">
                          <a:solidFill>
                            <a:srgbClr val="FFFFFF"/>
                          </a:solidFill>
                          <a:effectLst/>
                          <a:latin typeface="Arial"/>
                        </a:rPr>
                        <a:t>DCF Summary</a:t>
                      </a:r>
                    </a:p>
                  </a:txBody>
                  <a:tcPr marL="4770" marR="4770" marT="477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708733621"/>
                  </a:ext>
                </a:extLst>
              </a:tr>
              <a:tr h="154213">
                <a:tc>
                  <a:txBody>
                    <a:bodyPr/>
                    <a:lstStyle/>
                    <a:p>
                      <a:pPr algn="l" fontAlgn="ctr"/>
                      <a:endParaRPr lang="en-CA" sz="900" b="0" i="0" u="none" strike="noStrike">
                        <a:solidFill>
                          <a:srgbClr val="000000"/>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FY</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FY</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FY</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FY</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FY</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gridSpan="10">
                  <a:txBody>
                    <a:bodyPr/>
                    <a:lstStyle/>
                    <a:p>
                      <a:pPr algn="ctr" fontAlgn="ctr"/>
                      <a:r>
                        <a:rPr lang="en-CA" sz="900" b="0" i="0" u="none" strike="noStrike">
                          <a:solidFill>
                            <a:srgbClr val="000000"/>
                          </a:solidFill>
                          <a:effectLst/>
                          <a:latin typeface="Arial"/>
                        </a:rPr>
                        <a:t>Projected</a:t>
                      </a:r>
                    </a:p>
                  </a:txBody>
                  <a:tcPr marL="0" marR="0" marT="0" marB="0" anchor="ctr">
                    <a:lnL>
                      <a:noFill/>
                    </a:lnL>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fontAlgn="ctr"/>
                      <a:endParaRPr lang="en-CA" sz="6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39730888"/>
                  </a:ext>
                </a:extLst>
              </a:tr>
              <a:tr h="154213">
                <a:tc>
                  <a:txBody>
                    <a:bodyPr/>
                    <a:lstStyle/>
                    <a:p>
                      <a:pPr algn="l" fontAlgn="ctr"/>
                      <a:r>
                        <a:rPr lang="en-CA" sz="900" b="0" i="1" u="none" strike="noStrike">
                          <a:solidFill>
                            <a:srgbClr val="000000"/>
                          </a:solidFill>
                          <a:effectLst/>
                          <a:latin typeface="Arial"/>
                        </a:rPr>
                        <a:t>in millions</a:t>
                      </a:r>
                    </a:p>
                  </a:txBody>
                  <a:tcPr marL="0" marR="0" marT="0" marB="0" anchor="ctr">
                    <a:lnL w="1270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2020A</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1A</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2A</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3A</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4A</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5E</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6E</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7E</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8E</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9E</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30E</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31E</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32E</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33E</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34E</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707325356"/>
                  </a:ext>
                </a:extLst>
              </a:tr>
              <a:tr h="154213">
                <a:tc>
                  <a:txBody>
                    <a:bodyPr/>
                    <a:lstStyle/>
                    <a:p>
                      <a:pPr algn="l" fontAlgn="ctr"/>
                      <a:r>
                        <a:rPr lang="en-CA" sz="900" b="1" i="0" u="none" strike="noStrike">
                          <a:solidFill>
                            <a:srgbClr val="000000"/>
                          </a:solidFill>
                          <a:effectLst/>
                          <a:latin typeface="Arial"/>
                        </a:rPr>
                        <a:t>Total Revenues</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120.65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222.72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549.58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731.01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909.27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1089.69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1293.54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1527.03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1782.43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2057.57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2339.54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2630.28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2925.71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3203.38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a:rPr>
                        <a:t>3455.19 </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137727423"/>
                  </a:ext>
                </a:extLst>
              </a:tr>
              <a:tr h="154213">
                <a:tc>
                  <a:txBody>
                    <a:bodyPr/>
                    <a:lstStyle/>
                    <a:p>
                      <a:pPr algn="l" fontAlgn="ctr"/>
                      <a:r>
                        <a:rPr lang="en-CA" sz="900" b="0" i="0" u="none" strike="noStrike">
                          <a:solidFill>
                            <a:srgbClr val="000000"/>
                          </a:solidFill>
                          <a:effectLst/>
                          <a:latin typeface="Arial"/>
                        </a:rPr>
                        <a:t>COGS</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Arial"/>
                        </a:rPr>
                        <a:t>39.6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94.0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277.20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a:rPr>
                        <a:t>398.5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524.0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620.58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726.9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604.5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709.7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829.48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960.5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1098.74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1239.0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1382.2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1524.29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669915815"/>
                  </a:ext>
                </a:extLst>
              </a:tr>
              <a:tr h="154213">
                <a:tc>
                  <a:txBody>
                    <a:bodyPr/>
                    <a:lstStyle/>
                    <a:p>
                      <a:pPr algn="l" fontAlgn="ctr"/>
                      <a:r>
                        <a:rPr lang="en-CA" sz="900" b="0" i="0" u="none" strike="noStrike">
                          <a:solidFill>
                            <a:srgbClr val="000000"/>
                          </a:solidFill>
                          <a:effectLst/>
                          <a:latin typeface="Arial"/>
                        </a:rPr>
                        <a:t>R&amp;D</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32.75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55.30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21.15 </a:t>
                      </a:r>
                    </a:p>
                  </a:txBody>
                  <a:tcPr marL="0" marR="0" marT="0" marB="0" anchor="ctr">
                    <a:lnL>
                      <a:noFill/>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140.44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29.42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63.45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92.09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220.20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255.78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288.06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326.37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364.29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402.28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432.46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466.45 </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3257881852"/>
                  </a:ext>
                </a:extLst>
              </a:tr>
              <a:tr h="154213">
                <a:tc>
                  <a:txBody>
                    <a:bodyPr/>
                    <a:lstStyle/>
                    <a:p>
                      <a:pPr algn="l" fontAlgn="ctr"/>
                      <a:r>
                        <a:rPr lang="en-CA" sz="900" b="0" i="0" u="none" strike="noStrike">
                          <a:solidFill>
                            <a:srgbClr val="000000"/>
                          </a:solidFill>
                          <a:effectLst/>
                          <a:latin typeface="Arial"/>
                        </a:rPr>
                        <a:t>SG&amp;A</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74.91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18.2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269.69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345.62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340.2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433.26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497.36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564.24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633.12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711.51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793.10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854.0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930.96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009.0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071.11 </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7088567"/>
                  </a:ext>
                </a:extLst>
              </a:tr>
              <a:tr h="154213">
                <a:tc>
                  <a:txBody>
                    <a:bodyPr/>
                    <a:lstStyle/>
                    <a:p>
                      <a:pPr algn="l" fontAlgn="ctr"/>
                      <a:r>
                        <a:rPr lang="en-CA" sz="900" b="1" i="0" u="none" strike="noStrike">
                          <a:solidFill>
                            <a:srgbClr val="000000"/>
                          </a:solidFill>
                          <a:effectLst/>
                          <a:latin typeface="Arial"/>
                        </a:rPr>
                        <a:t>EBITDA</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6.07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8.66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1.88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41.85)</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37.82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127.60)</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122.89)</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138.04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183.77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228.52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259.52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313.19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353.45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379.65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393.33 </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360696354"/>
                  </a:ext>
                </a:extLst>
              </a:tr>
              <a:tr h="154213">
                <a:tc>
                  <a:txBody>
                    <a:bodyPr/>
                    <a:lstStyle/>
                    <a:p>
                      <a:pPr algn="l" fontAlgn="ctr"/>
                      <a:r>
                        <a:rPr lang="en-CA" sz="900" b="0" i="0" u="none" strike="noStrike">
                          <a:solidFill>
                            <a:srgbClr val="000000"/>
                          </a:solidFill>
                          <a:effectLst/>
                          <a:latin typeface="Arial"/>
                        </a:rPr>
                        <a:t>D&amp;A</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3.4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36.48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04.5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115.26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09.6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23.5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35.30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48.7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61.6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72.22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81.31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88.8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94.2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97.9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99.02 </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2133700"/>
                  </a:ext>
                </a:extLst>
              </a:tr>
              <a:tr h="154213">
                <a:tc>
                  <a:txBody>
                    <a:bodyPr/>
                    <a:lstStyle/>
                    <a:p>
                      <a:pPr algn="l" fontAlgn="ctr"/>
                      <a:r>
                        <a:rPr lang="en-CA" sz="900" b="1" i="0" u="none" strike="noStrike">
                          <a:solidFill>
                            <a:srgbClr val="000000"/>
                          </a:solidFill>
                          <a:effectLst/>
                          <a:latin typeface="Arial"/>
                        </a:rPr>
                        <a:t>EBIT</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7.40)</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27.83)</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102.67)</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157.11)</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71.81)</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251.17)</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58.19)</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10.70)</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22.10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56.30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78.20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124.34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159.18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181.68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194.32 </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699378045"/>
                  </a:ext>
                </a:extLst>
              </a:tr>
              <a:tr h="308426">
                <a:tc>
                  <a:txBody>
                    <a:bodyPr/>
                    <a:lstStyle/>
                    <a:p>
                      <a:pPr algn="l" fontAlgn="ctr"/>
                      <a:r>
                        <a:rPr lang="en-CA" sz="900" b="1" i="0" u="none" strike="noStrike">
                          <a:solidFill>
                            <a:srgbClr val="000000"/>
                          </a:solidFill>
                          <a:effectLst/>
                          <a:latin typeface="Arial"/>
                        </a:rPr>
                        <a:t>Less:</a:t>
                      </a:r>
                      <a:r>
                        <a:rPr lang="en-CA" sz="900" b="0" i="0" u="none" strike="noStrike">
                          <a:solidFill>
                            <a:srgbClr val="000000"/>
                          </a:solidFill>
                          <a:effectLst/>
                          <a:latin typeface="Arial"/>
                        </a:rPr>
                        <a:t> Income Tax</a:t>
                      </a:r>
                      <a:endParaRPr lang="en-CA" sz="900" b="1" i="0" u="none" strike="noStrike">
                        <a:solidFill>
                          <a:srgbClr val="000000"/>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a:rPr>
                        <a:t>0.06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a:rPr>
                        <a:t>0.04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a:rPr>
                        <a:t>1.08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a:rPr>
                        <a:t>0.20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a:rPr>
                        <a:t>5.21 </a:t>
                      </a:r>
                    </a:p>
                  </a:txBody>
                  <a:tcPr marL="0" marR="0" marT="0" marB="0" anchor="ctr">
                    <a:lnL>
                      <a:noFill/>
                    </a:lnL>
                    <a:lnR w="12700" cap="flat" cmpd="sng" algn="ctr">
                      <a:noFill/>
                      <a:prstDash val="solid"/>
                      <a:round/>
                      <a:headEnd type="none" w="med" len="med"/>
                      <a:tailEnd type="none" w="med" len="med"/>
                    </a:lnR>
                    <a:lnT>
                      <a:noFill/>
                    </a:lnT>
                    <a:lnB>
                      <a:noFill/>
                    </a:lnB>
                    <a:solidFill>
                      <a:srgbClr val="FFFFFF"/>
                    </a:solidFill>
                  </a:tcPr>
                </a:tc>
                <a:tc>
                  <a:txBody>
                    <a:bodyPr/>
                    <a:lstStyle/>
                    <a:p>
                      <a:pPr algn="ctr" fontAlgn="ctr"/>
                      <a:r>
                        <a:rPr lang="en-US" sz="900" b="0" i="0" u="none" strike="noStrike">
                          <a:solidFill>
                            <a:srgbClr val="000000"/>
                          </a:solidFill>
                          <a:effectLst/>
                          <a:latin typeface="+mn-lt"/>
                        </a:rPr>
                        <a:t>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900" b="0" i="0" u="none" strike="noStrike">
                          <a:solidFill>
                            <a:srgbClr val="000000"/>
                          </a:solidFill>
                          <a:effectLst/>
                          <a:latin typeface="+mn-lt"/>
                        </a:rPr>
                        <a:t>0.00 </a:t>
                      </a:r>
                    </a:p>
                  </a:txBody>
                  <a:tcPr marL="0" marR="0" marT="0" marB="0" anchor="ctr">
                    <a:lnL w="12700" cap="flat" cmpd="sng" algn="ctr">
                      <a:noFill/>
                      <a:prstDash val="solid"/>
                      <a:round/>
                      <a:headEnd type="none" w="med" len="med"/>
                      <a:tailEnd type="none" w="med" len="med"/>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mn-lt"/>
                        </a:rPr>
                        <a:t>0.00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mn-lt"/>
                        </a:rPr>
                        <a:t>3.17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mn-lt"/>
                        </a:rPr>
                        <a:t>8.05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mn-lt"/>
                        </a:rPr>
                        <a:t>11.17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mn-lt"/>
                        </a:rPr>
                        <a:t>17.76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mn-lt"/>
                        </a:rPr>
                        <a:t>22.74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mn-lt"/>
                        </a:rPr>
                        <a:t>25.95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mn-lt"/>
                        </a:rPr>
                        <a:t>41.63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456528352"/>
                  </a:ext>
                </a:extLst>
              </a:tr>
              <a:tr h="154213">
                <a:tc>
                  <a:txBody>
                    <a:bodyPr/>
                    <a:lstStyle/>
                    <a:p>
                      <a:pPr algn="l" fontAlgn="ctr"/>
                      <a:r>
                        <a:rPr lang="en-CA" sz="900" b="1" i="0" u="none" strike="noStrike">
                          <a:solidFill>
                            <a:srgbClr val="000000"/>
                          </a:solidFill>
                          <a:effectLst/>
                          <a:latin typeface="Arial"/>
                        </a:rPr>
                        <a:t>Less: </a:t>
                      </a:r>
                      <a:r>
                        <a:rPr lang="en-CA" sz="900" b="0" i="0" u="none" strike="noStrike">
                          <a:solidFill>
                            <a:srgbClr val="000000"/>
                          </a:solidFill>
                          <a:effectLst/>
                          <a:latin typeface="Arial"/>
                        </a:rPr>
                        <a:t>CapEX</a:t>
                      </a:r>
                      <a:endParaRPr lang="en-CA" sz="900" b="1" i="0" u="none" strike="noStrike">
                        <a:solidFill>
                          <a:srgbClr val="000000"/>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Arial"/>
                        </a:rPr>
                        <a:t>3.6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1.7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10.6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9.2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7.5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9.48 </a:t>
                      </a:r>
                    </a:p>
                  </a:txBody>
                  <a:tcPr marL="0" marR="0" marT="0" marB="0" anchor="ctr">
                    <a:lnL>
                      <a:noFill/>
                    </a:lnL>
                    <a:lnR>
                      <a:noFill/>
                    </a:lnR>
                    <a:lnT w="12700" cap="flat" cmpd="sng" algn="ctr">
                      <a:no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11.7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14.6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17.8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21.6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25.7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30.5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35.6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41.0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47.68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131104084"/>
                  </a:ext>
                </a:extLst>
              </a:tr>
              <a:tr h="308426">
                <a:tc>
                  <a:txBody>
                    <a:bodyPr/>
                    <a:lstStyle/>
                    <a:p>
                      <a:pPr algn="l" fontAlgn="ctr"/>
                      <a:r>
                        <a:rPr lang="en-CA" sz="900" b="1" i="0" u="none" strike="noStrike">
                          <a:solidFill>
                            <a:srgbClr val="000000"/>
                          </a:solidFill>
                          <a:effectLst/>
                          <a:latin typeface="Arial"/>
                        </a:rPr>
                        <a:t>Less:</a:t>
                      </a:r>
                      <a:r>
                        <a:rPr lang="en-CA" sz="900" b="0" i="0" u="none" strike="noStrike">
                          <a:solidFill>
                            <a:srgbClr val="000000"/>
                          </a:solidFill>
                          <a:effectLst/>
                          <a:latin typeface="Arial"/>
                        </a:rPr>
                        <a:t> Change in NWC</a:t>
                      </a:r>
                      <a:endParaRPr lang="en-CA" sz="900" b="1" i="0" u="none" strike="noStrike">
                        <a:solidFill>
                          <a:srgbClr val="000000"/>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noFill/>
                  </a:tcPr>
                </a:tc>
                <a:tc>
                  <a:txBody>
                    <a:bodyPr/>
                    <a:lstStyle/>
                    <a:p>
                      <a:pPr algn="ctr" fontAlgn="ctr"/>
                      <a:endParaRPr lang="en-CA" sz="9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solidFill>
                  </a:tcPr>
                </a:tc>
                <a:tc>
                  <a:txBody>
                    <a:bodyPr/>
                    <a:lstStyle/>
                    <a:p>
                      <a:pPr algn="ctr" fontAlgn="ctr"/>
                      <a:r>
                        <a:rPr lang="en-CA" sz="900" b="0" i="0" u="none" strike="noStrike">
                          <a:solidFill>
                            <a:srgbClr val="000000"/>
                          </a:solidFill>
                          <a:effectLst/>
                          <a:latin typeface="Arial" panose="020B0604020202020204" pitchFamily="34" charset="0"/>
                        </a:rPr>
                        <a:t>(24.69)</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4.65)</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28.9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8.7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77.0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1.7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5.32)</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1.0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8.23)</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23)</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3.50)</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4.78)</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1.92)</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a:rPr>
                        <a:t>0.91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384504755"/>
                  </a:ext>
                </a:extLst>
              </a:tr>
              <a:tr h="154213">
                <a:tc>
                  <a:txBody>
                    <a:bodyPr/>
                    <a:lstStyle/>
                    <a:p>
                      <a:pPr algn="l" fontAlgn="ctr"/>
                      <a:r>
                        <a:rPr lang="en-CA" sz="900" b="1" i="0" u="none" strike="noStrike">
                          <a:solidFill>
                            <a:srgbClr val="000000"/>
                          </a:solidFill>
                          <a:effectLst/>
                          <a:latin typeface="Arial"/>
                        </a:rPr>
                        <a:t>Add:</a:t>
                      </a:r>
                      <a:r>
                        <a:rPr lang="en-CA" sz="900" b="0" i="0" u="none" strike="noStrike">
                          <a:solidFill>
                            <a:srgbClr val="000000"/>
                          </a:solidFill>
                          <a:effectLst/>
                          <a:latin typeface="Arial"/>
                        </a:rPr>
                        <a:t> D&amp;A</a:t>
                      </a:r>
                      <a:endParaRPr lang="en-CA" sz="900" b="1" i="0" u="none" strike="noStrike">
                        <a:solidFill>
                          <a:srgbClr val="000000"/>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3.4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36.48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04.5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15.26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09.6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23.5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35.30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48.7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61.6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72.22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81.31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88.8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94.2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97.9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199.02 </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7364456"/>
                  </a:ext>
                </a:extLst>
              </a:tr>
              <a:tr h="154213">
                <a:tc>
                  <a:txBody>
                    <a:bodyPr/>
                    <a:lstStyle/>
                    <a:p>
                      <a:pPr algn="l" fontAlgn="ctr"/>
                      <a:r>
                        <a:rPr lang="en-CA" sz="900" b="1" i="0" u="none" strike="noStrike">
                          <a:solidFill>
                            <a:srgbClr val="000000"/>
                          </a:solidFill>
                          <a:effectLst/>
                          <a:latin typeface="Arial"/>
                        </a:rPr>
                        <a:t>FCFF</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2.40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31.51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5.20)</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80.19)</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16.37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233.20)</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58.02)</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127.77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162.84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209.52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226.24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269.40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299.45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308.77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305.88 </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53746506"/>
                  </a:ext>
                </a:extLst>
              </a:tr>
              <a:tr h="159576">
                <a:tc>
                  <a:txBody>
                    <a:bodyPr/>
                    <a:lstStyle/>
                    <a:p>
                      <a:pPr algn="l" fontAlgn="ctr"/>
                      <a:r>
                        <a:rPr lang="en-US" sz="900" b="1" i="0" u="none" strike="noStrike">
                          <a:solidFill>
                            <a:srgbClr val="000000"/>
                          </a:solidFill>
                          <a:effectLst/>
                          <a:latin typeface="Arial"/>
                        </a:rPr>
                        <a:t>PV of FCFF</a:t>
                      </a:r>
                    </a:p>
                  </a:txBody>
                  <a:tcPr marL="4770" marR="4770" marT="477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1" i="0" u="none" strike="noStrike">
                        <a:solidFill>
                          <a:srgbClr val="000000"/>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1" i="0" u="none" strike="noStrike">
                        <a:solidFill>
                          <a:srgbClr val="000000"/>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1" i="0" u="none" strike="noStrike">
                        <a:solidFill>
                          <a:srgbClr val="000000"/>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1" i="0" u="none" strike="noStrike">
                        <a:solidFill>
                          <a:srgbClr val="000000"/>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1" i="0" u="none" strike="noStrike">
                        <a:solidFill>
                          <a:srgbClr val="000000"/>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211.81)</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30.37)</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95.74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110.83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129.52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127.03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137.39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138.71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129.91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a:rPr>
                        <a:t>116.89 </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44955296"/>
                  </a:ext>
                </a:extLst>
              </a:tr>
            </a:tbl>
          </a:graphicData>
        </a:graphic>
      </p:graphicFrame>
      <p:graphicFrame>
        <p:nvGraphicFramePr>
          <p:cNvPr id="7" name="Table 6">
            <a:extLst>
              <a:ext uri="{FF2B5EF4-FFF2-40B4-BE49-F238E27FC236}">
                <a16:creationId xmlns:a16="http://schemas.microsoft.com/office/drawing/2014/main" id="{4754AC75-BED6-6ED6-5C12-800EBB2E1C01}"/>
              </a:ext>
            </a:extLst>
          </p:cNvPr>
          <p:cNvGraphicFramePr>
            <a:graphicFrameLocks noGrp="1"/>
          </p:cNvGraphicFramePr>
          <p:nvPr>
            <p:extLst>
              <p:ext uri="{D42A27DB-BD31-4B8C-83A1-F6EECF244321}">
                <p14:modId xmlns:p14="http://schemas.microsoft.com/office/powerpoint/2010/main" val="3045932474"/>
              </p:ext>
            </p:extLst>
          </p:nvPr>
        </p:nvGraphicFramePr>
        <p:xfrm>
          <a:off x="250825" y="3650075"/>
          <a:ext cx="3860277" cy="2550700"/>
        </p:xfrm>
        <a:graphic>
          <a:graphicData uri="http://schemas.openxmlformats.org/drawingml/2006/table">
            <a:tbl>
              <a:tblPr bandRow="1">
                <a:tableStyleId>{5C22544A-7EE6-4342-B048-85BDC9FD1C3A}</a:tableStyleId>
              </a:tblPr>
              <a:tblGrid>
                <a:gridCol w="1286759">
                  <a:extLst>
                    <a:ext uri="{9D8B030D-6E8A-4147-A177-3AD203B41FA5}">
                      <a16:colId xmlns:a16="http://schemas.microsoft.com/office/drawing/2014/main" val="2665541169"/>
                    </a:ext>
                  </a:extLst>
                </a:gridCol>
                <a:gridCol w="1286759">
                  <a:extLst>
                    <a:ext uri="{9D8B030D-6E8A-4147-A177-3AD203B41FA5}">
                      <a16:colId xmlns:a16="http://schemas.microsoft.com/office/drawing/2014/main" val="3613334802"/>
                    </a:ext>
                  </a:extLst>
                </a:gridCol>
                <a:gridCol w="1286759">
                  <a:extLst>
                    <a:ext uri="{9D8B030D-6E8A-4147-A177-3AD203B41FA5}">
                      <a16:colId xmlns:a16="http://schemas.microsoft.com/office/drawing/2014/main" val="413569701"/>
                    </a:ext>
                  </a:extLst>
                </a:gridCol>
              </a:tblGrid>
              <a:tr h="127604">
                <a:tc gridSpan="3">
                  <a:txBody>
                    <a:bodyPr/>
                    <a:lstStyle/>
                    <a:p>
                      <a:pPr algn="l" fontAlgn="ctr"/>
                      <a:r>
                        <a:rPr lang="en-US" sz="900" b="1" i="0" u="none" strike="noStrike">
                          <a:solidFill>
                            <a:srgbClr val="FFFFFF"/>
                          </a:solidFill>
                          <a:effectLst/>
                          <a:latin typeface="Arial"/>
                        </a:rPr>
                        <a:t>10yr Perpetual Growth Rate Metho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79578086"/>
                  </a:ext>
                </a:extLst>
              </a:tr>
              <a:tr h="191905">
                <a:tc>
                  <a:txBody>
                    <a:bodyPr/>
                    <a:lstStyle/>
                    <a:p>
                      <a:pPr algn="l" fontAlgn="ctr"/>
                      <a:r>
                        <a:rPr lang="en-US" sz="900" b="0" i="0" u="none" strike="noStrike">
                          <a:solidFill>
                            <a:srgbClr val="000000"/>
                          </a:solidFill>
                          <a:effectLst/>
                          <a:latin typeface="Arial"/>
                        </a:rPr>
                        <a:t>Perpetual Growth Rate</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ctr"/>
                      <a:r>
                        <a:rPr lang="en-US" sz="900" b="0" i="0" u="none" strike="noStrike">
                          <a:solidFill>
                            <a:srgbClr val="000000"/>
                          </a:solidFill>
                          <a:effectLst/>
                          <a:latin typeface="Arial"/>
                        </a:rPr>
                        <a:t>3.00%</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919525503"/>
                  </a:ext>
                </a:extLst>
              </a:tr>
              <a:tr h="127604">
                <a:tc>
                  <a:txBody>
                    <a:bodyPr/>
                    <a:lstStyle/>
                    <a:p>
                      <a:pPr algn="l" fontAlgn="ctr"/>
                      <a:r>
                        <a:rPr lang="en-US" sz="900" b="0" i="0" u="none" strike="noStrike">
                          <a:solidFill>
                            <a:srgbClr val="000000"/>
                          </a:solidFill>
                          <a:effectLst/>
                          <a:latin typeface="Arial"/>
                        </a:rPr>
                        <a:t>Terminal Value</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a:noFill/>
                    </a:lnB>
                    <a:noFill/>
                  </a:tcPr>
                </a:tc>
                <a:tc>
                  <a:txBody>
                    <a:bodyPr/>
                    <a:lstStyle/>
                    <a:p>
                      <a:pPr algn="r" fontAlgn="ctr"/>
                      <a:r>
                        <a:rPr lang="en-US" sz="900" b="0" i="0" u="none" strike="noStrike">
                          <a:solidFill>
                            <a:srgbClr val="000000"/>
                          </a:solidFill>
                          <a:effectLst/>
                          <a:latin typeface="Arial"/>
                        </a:rPr>
                        <a:t>4851.79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316003889"/>
                  </a:ext>
                </a:extLst>
              </a:tr>
              <a:tr h="191905">
                <a:tc>
                  <a:txBody>
                    <a:bodyPr/>
                    <a:lstStyle/>
                    <a:p>
                      <a:pPr algn="l" fontAlgn="ctr"/>
                      <a:r>
                        <a:rPr lang="en-US" sz="900" b="0" i="0" u="none" strike="noStrike">
                          <a:solidFill>
                            <a:srgbClr val="000000"/>
                          </a:solidFill>
                          <a:effectLst/>
                          <a:latin typeface="Arial"/>
                        </a:rPr>
                        <a:t>PV of Terminal Value</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a:noFill/>
                    </a:lnB>
                    <a:noFill/>
                  </a:tcPr>
                </a:tc>
                <a:tc>
                  <a:txBody>
                    <a:bodyPr/>
                    <a:lstStyle/>
                    <a:p>
                      <a:pPr algn="r" fontAlgn="ctr"/>
                      <a:r>
                        <a:rPr lang="en-US" sz="900" b="0" i="0" u="none" strike="noStrike">
                          <a:solidFill>
                            <a:srgbClr val="000000"/>
                          </a:solidFill>
                          <a:effectLst/>
                          <a:latin typeface="Arial"/>
                        </a:rPr>
                        <a:t>1854.11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282458989"/>
                  </a:ext>
                </a:extLst>
              </a:tr>
              <a:tr h="255207">
                <a:tc>
                  <a:txBody>
                    <a:bodyPr/>
                    <a:lstStyle/>
                    <a:p>
                      <a:pPr algn="l" fontAlgn="ctr"/>
                      <a:r>
                        <a:rPr lang="en-US" sz="900" b="0" i="1" u="none" strike="noStrike">
                          <a:solidFill>
                            <a:srgbClr val="000000"/>
                          </a:solidFill>
                          <a:effectLst/>
                          <a:latin typeface="Arial"/>
                        </a:rPr>
                        <a:t>Terminal Value as % of EV</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a:noFill/>
                    </a:lnB>
                    <a:noFill/>
                  </a:tcPr>
                </a:tc>
                <a:tc>
                  <a:txBody>
                    <a:bodyPr/>
                    <a:lstStyle/>
                    <a:p>
                      <a:pPr algn="r" fontAlgn="ctr"/>
                      <a:r>
                        <a:rPr lang="en-US" sz="900" b="0" i="0" u="none" strike="noStrike">
                          <a:solidFill>
                            <a:srgbClr val="000000"/>
                          </a:solidFill>
                          <a:effectLst/>
                          <a:latin typeface="Arial"/>
                        </a:rPr>
                        <a:t>74.23%</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539120641"/>
                  </a:ext>
                </a:extLst>
              </a:tr>
              <a:tr h="127604">
                <a:tc>
                  <a:txBody>
                    <a:bodyPr/>
                    <a:lstStyle/>
                    <a:p>
                      <a:pPr algn="l" fontAlgn="ctr"/>
                      <a:r>
                        <a:rPr lang="en-US" sz="900" b="0" i="0" u="none" strike="noStrike">
                          <a:solidFill>
                            <a:srgbClr val="000000"/>
                          </a:solidFill>
                          <a:effectLst/>
                          <a:latin typeface="Arial"/>
                        </a:rPr>
                        <a:t>PV of FCFF</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a:noFill/>
                    </a:lnB>
                    <a:noFill/>
                  </a:tcPr>
                </a:tc>
                <a:tc>
                  <a:txBody>
                    <a:bodyPr/>
                    <a:lstStyle/>
                    <a:p>
                      <a:pPr algn="r" fontAlgn="ctr"/>
                      <a:r>
                        <a:rPr lang="en-US" sz="900" b="0" i="0" u="none" strike="noStrike">
                          <a:solidFill>
                            <a:srgbClr val="000000"/>
                          </a:solidFill>
                          <a:effectLst/>
                          <a:latin typeface="Arial"/>
                        </a:rPr>
                        <a:t>643.84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797223201"/>
                  </a:ext>
                </a:extLst>
              </a:tr>
              <a:tr h="255207">
                <a:tc>
                  <a:txBody>
                    <a:bodyPr/>
                    <a:lstStyle/>
                    <a:p>
                      <a:pPr algn="l" fontAlgn="ctr"/>
                      <a:r>
                        <a:rPr lang="en-US" sz="900" b="0" i="1" u="none" strike="noStrike">
                          <a:solidFill>
                            <a:srgbClr val="000000"/>
                          </a:solidFill>
                          <a:effectLst/>
                          <a:latin typeface="Arial"/>
                        </a:rPr>
                        <a:t>Forecast Period as % of EV</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US" sz="900" b="0" i="0" u="none" strike="noStrike">
                          <a:solidFill>
                            <a:srgbClr val="000000"/>
                          </a:solidFill>
                          <a:effectLst/>
                          <a:latin typeface="Arial"/>
                        </a:rPr>
                        <a:t>25.77%</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6941614"/>
                  </a:ext>
                </a:extLst>
              </a:tr>
              <a:tr h="127604">
                <a:tc>
                  <a:txBody>
                    <a:bodyPr/>
                    <a:lstStyle/>
                    <a:p>
                      <a:pPr algn="l" fontAlgn="ctr"/>
                      <a:r>
                        <a:rPr lang="en-US" sz="900" b="1" i="0" u="none" strike="noStrike">
                          <a:solidFill>
                            <a:srgbClr val="000000"/>
                          </a:solidFill>
                          <a:effectLst/>
                          <a:latin typeface="Arial"/>
                        </a:rPr>
                        <a:t>Enterprise Value</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fontAlgn="ctr"/>
                      <a:r>
                        <a:rPr lang="en-US" sz="900" b="1" i="0" u="none" strike="noStrike">
                          <a:solidFill>
                            <a:srgbClr val="000000"/>
                          </a:solidFill>
                          <a:effectLst/>
                          <a:latin typeface="Arial"/>
                        </a:rPr>
                        <a:t>2497.95 </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74897663"/>
                  </a:ext>
                </a:extLst>
              </a:tr>
              <a:tr h="127604">
                <a:tc>
                  <a:txBody>
                    <a:bodyPr/>
                    <a:lstStyle/>
                    <a:p>
                      <a:pPr algn="l" fontAlgn="ctr"/>
                      <a:r>
                        <a:rPr lang="en-US" sz="900" b="0" i="0" u="none" strike="noStrike">
                          <a:solidFill>
                            <a:srgbClr val="000000"/>
                          </a:solidFill>
                          <a:effectLst/>
                          <a:latin typeface="Arial"/>
                        </a:rPr>
                        <a:t>(-) Net Debt</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900" b="0" i="0" u="none" strike="noStrike">
                          <a:solidFill>
                            <a:srgbClr val="000000"/>
                          </a:solidFill>
                          <a:effectLst/>
                          <a:latin typeface="Arial"/>
                        </a:rPr>
                        <a:t>(648.60)</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5917242"/>
                  </a:ext>
                </a:extLst>
              </a:tr>
              <a:tr h="127604">
                <a:tc>
                  <a:txBody>
                    <a:bodyPr/>
                    <a:lstStyle/>
                    <a:p>
                      <a:pPr algn="l" fontAlgn="ctr"/>
                      <a:r>
                        <a:rPr lang="en-US" sz="900" b="1" i="0" u="none" strike="noStrike">
                          <a:solidFill>
                            <a:srgbClr val="000000"/>
                          </a:solidFill>
                          <a:effectLst/>
                          <a:latin typeface="Arial"/>
                        </a:rPr>
                        <a:t>Equity Value</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fontAlgn="ctr"/>
                      <a:r>
                        <a:rPr lang="en-US" sz="900" b="1" i="0" u="none" strike="noStrike">
                          <a:solidFill>
                            <a:srgbClr val="000000"/>
                          </a:solidFill>
                          <a:effectLst/>
                          <a:latin typeface="Arial"/>
                        </a:rPr>
                        <a:t>3146.65 </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21608526"/>
                  </a:ext>
                </a:extLst>
              </a:tr>
              <a:tr h="255207">
                <a:tc>
                  <a:txBody>
                    <a:bodyPr/>
                    <a:lstStyle/>
                    <a:p>
                      <a:pPr algn="l" fontAlgn="ctr"/>
                      <a:r>
                        <a:rPr lang="en-US" sz="900" b="0" i="0" u="none" strike="noStrike">
                          <a:solidFill>
                            <a:srgbClr val="000000"/>
                          </a:solidFill>
                          <a:effectLst/>
                          <a:latin typeface="Arial"/>
                        </a:rPr>
                        <a:t>Diluted Shares Outstanding</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fontAlgn="ctr"/>
                      <a:r>
                        <a:rPr lang="en-US" sz="900" b="0" i="0" u="none" strike="noStrike">
                          <a:solidFill>
                            <a:srgbClr val="000000"/>
                          </a:solidFill>
                          <a:effectLst/>
                          <a:latin typeface="Arial"/>
                        </a:rPr>
                        <a:t>     152.97 </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225144787"/>
                  </a:ext>
                </a:extLst>
              </a:tr>
              <a:tr h="191905">
                <a:tc>
                  <a:txBody>
                    <a:bodyPr/>
                    <a:lstStyle/>
                    <a:p>
                      <a:pPr algn="l" fontAlgn="ctr"/>
                      <a:r>
                        <a:rPr lang="en-US" sz="900" b="0" i="0" u="none" strike="noStrike">
                          <a:solidFill>
                            <a:srgbClr val="000000"/>
                          </a:solidFill>
                          <a:effectLst/>
                          <a:latin typeface="Arial"/>
                        </a:rPr>
                        <a:t>Implied Share Price</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a:noFill/>
                    </a:lnB>
                    <a:noFill/>
                  </a:tcPr>
                </a:tc>
                <a:tc>
                  <a:txBody>
                    <a:bodyPr/>
                    <a:lstStyle/>
                    <a:p>
                      <a:pPr algn="r" fontAlgn="ctr"/>
                      <a:r>
                        <a:rPr lang="en-US" sz="900" b="0" i="0" u="none" strike="noStrike">
                          <a:solidFill>
                            <a:srgbClr val="000000"/>
                          </a:solidFill>
                          <a:effectLst/>
                          <a:latin typeface="Arial"/>
                        </a:rPr>
                        <a:t> $       20.68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214466846"/>
                  </a:ext>
                </a:extLst>
              </a:tr>
              <a:tr h="191905">
                <a:tc>
                  <a:txBody>
                    <a:bodyPr/>
                    <a:lstStyle/>
                    <a:p>
                      <a:pPr algn="l" fontAlgn="ctr"/>
                      <a:r>
                        <a:rPr lang="en-US" sz="900" b="0" i="0" u="none" strike="noStrike">
                          <a:solidFill>
                            <a:srgbClr val="000000"/>
                          </a:solidFill>
                          <a:effectLst/>
                          <a:latin typeface="Arial"/>
                        </a:rPr>
                        <a:t>Current Share Price</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US" sz="900" b="0" i="0" u="none" strike="noStrike">
                          <a:solidFill>
                            <a:srgbClr val="000000"/>
                          </a:solidFill>
                          <a:effectLst/>
                          <a:latin typeface="Arial"/>
                        </a:rPr>
                        <a:t> $       13.15 </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99342509"/>
                  </a:ext>
                </a:extLst>
              </a:tr>
              <a:tr h="127604">
                <a:tc gridSpan="2">
                  <a:txBody>
                    <a:bodyPr/>
                    <a:lstStyle/>
                    <a:p>
                      <a:pPr algn="l" fontAlgn="ctr"/>
                      <a:r>
                        <a:rPr lang="en-US" sz="900" b="1" i="1" u="none" strike="noStrike">
                          <a:solidFill>
                            <a:srgbClr val="000000"/>
                          </a:solidFill>
                          <a:effectLst/>
                          <a:latin typeface="Arial"/>
                        </a:rPr>
                        <a:t>Implied Upside (Downside)</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9F8"/>
                    </a:solidFill>
                  </a:tcPr>
                </a:tc>
                <a:tc hMerge="1">
                  <a:txBody>
                    <a:bodyPr/>
                    <a:lstStyle/>
                    <a:p>
                      <a:endParaRPr lang="en-US"/>
                    </a:p>
                  </a:txBody>
                  <a:tcPr/>
                </a:tc>
                <a:tc>
                  <a:txBody>
                    <a:bodyPr/>
                    <a:lstStyle/>
                    <a:p>
                      <a:pPr algn="r" fontAlgn="ctr"/>
                      <a:r>
                        <a:rPr lang="en-US" sz="900" b="1" i="0" u="none" strike="noStrike">
                          <a:solidFill>
                            <a:srgbClr val="000000"/>
                          </a:solidFill>
                          <a:effectLst/>
                          <a:latin typeface="Arial"/>
                        </a:rPr>
                        <a:t>57.30%</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9F8"/>
                    </a:solidFill>
                  </a:tcPr>
                </a:tc>
                <a:extLst>
                  <a:ext uri="{0D108BD9-81ED-4DB2-BD59-A6C34878D82A}">
                    <a16:rowId xmlns:a16="http://schemas.microsoft.com/office/drawing/2014/main" val="2770490442"/>
                  </a:ext>
                </a:extLst>
              </a:tr>
            </a:tbl>
          </a:graphicData>
        </a:graphic>
      </p:graphicFrame>
      <p:graphicFrame>
        <p:nvGraphicFramePr>
          <p:cNvPr id="11" name="Table 10">
            <a:extLst>
              <a:ext uri="{FF2B5EF4-FFF2-40B4-BE49-F238E27FC236}">
                <a16:creationId xmlns:a16="http://schemas.microsoft.com/office/drawing/2014/main" id="{1DD65CFC-7F1F-9252-C9EA-3DD79959499D}"/>
              </a:ext>
            </a:extLst>
          </p:cNvPr>
          <p:cNvGraphicFramePr>
            <a:graphicFrameLocks noGrp="1"/>
          </p:cNvGraphicFramePr>
          <p:nvPr>
            <p:extLst>
              <p:ext uri="{D42A27DB-BD31-4B8C-83A1-F6EECF244321}">
                <p14:modId xmlns:p14="http://schemas.microsoft.com/office/powerpoint/2010/main" val="3040004"/>
              </p:ext>
            </p:extLst>
          </p:nvPr>
        </p:nvGraphicFramePr>
        <p:xfrm>
          <a:off x="5032898" y="3650075"/>
          <a:ext cx="3860277" cy="2537011"/>
        </p:xfrm>
        <a:graphic>
          <a:graphicData uri="http://schemas.openxmlformats.org/drawingml/2006/table">
            <a:tbl>
              <a:tblPr bandRow="1">
                <a:tableStyleId>{5C22544A-7EE6-4342-B048-85BDC9FD1C3A}</a:tableStyleId>
              </a:tblPr>
              <a:tblGrid>
                <a:gridCol w="1286759">
                  <a:extLst>
                    <a:ext uri="{9D8B030D-6E8A-4147-A177-3AD203B41FA5}">
                      <a16:colId xmlns:a16="http://schemas.microsoft.com/office/drawing/2014/main" val="2296492773"/>
                    </a:ext>
                  </a:extLst>
                </a:gridCol>
                <a:gridCol w="1286759">
                  <a:extLst>
                    <a:ext uri="{9D8B030D-6E8A-4147-A177-3AD203B41FA5}">
                      <a16:colId xmlns:a16="http://schemas.microsoft.com/office/drawing/2014/main" val="1308012193"/>
                    </a:ext>
                  </a:extLst>
                </a:gridCol>
                <a:gridCol w="1286759">
                  <a:extLst>
                    <a:ext uri="{9D8B030D-6E8A-4147-A177-3AD203B41FA5}">
                      <a16:colId xmlns:a16="http://schemas.microsoft.com/office/drawing/2014/main" val="1673225975"/>
                    </a:ext>
                  </a:extLst>
                </a:gridCol>
              </a:tblGrid>
              <a:tr h="143758">
                <a:tc gridSpan="3">
                  <a:txBody>
                    <a:bodyPr/>
                    <a:lstStyle/>
                    <a:p>
                      <a:pPr algn="l" fontAlgn="ctr"/>
                      <a:r>
                        <a:rPr lang="en-CA" sz="900" b="1" i="0" u="none" strike="noStrike">
                          <a:solidFill>
                            <a:srgbClr val="FFFFFF"/>
                          </a:solidFill>
                          <a:effectLst/>
                          <a:latin typeface="Arial" panose="020B0604020202020204" pitchFamily="34" charset="0"/>
                        </a:rPr>
                        <a:t> WACC Assump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5"/>
                    </a:solidFill>
                  </a:tcPr>
                </a:tc>
                <a:tc hMerge="1">
                  <a:txBody>
                    <a:bodyPr/>
                    <a:lstStyle/>
                    <a:p>
                      <a:endParaRPr lang="en-US"/>
                    </a:p>
                  </a:txBody>
                  <a:tcPr/>
                </a:tc>
                <a:tc hMerge="1">
                  <a:txBody>
                    <a:bodyPr/>
                    <a:lstStyle/>
                    <a:p>
                      <a:endParaRPr lang="en-CA"/>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5"/>
                    </a:solidFill>
                  </a:tcPr>
                </a:tc>
                <a:extLst>
                  <a:ext uri="{0D108BD9-81ED-4DB2-BD59-A6C34878D82A}">
                    <a16:rowId xmlns:a16="http://schemas.microsoft.com/office/drawing/2014/main" val="3360048349"/>
                  </a:ext>
                </a:extLst>
              </a:tr>
              <a:tr h="181656">
                <a:tc gridSpan="2">
                  <a:txBody>
                    <a:bodyPr/>
                    <a:lstStyle/>
                    <a:p>
                      <a:pPr algn="l" fontAlgn="ctr"/>
                      <a:r>
                        <a:rPr lang="en-CA" sz="900" b="0" i="0" u="none" strike="noStrike">
                          <a:solidFill>
                            <a:srgbClr val="000000"/>
                          </a:solidFill>
                          <a:effectLst/>
                          <a:latin typeface="Arial" panose="020B0604020202020204" pitchFamily="34" charset="0"/>
                        </a:rPr>
                        <a:t>Risk-Free Rate</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hMerge="1">
                  <a:txBody>
                    <a:bodyPr/>
                    <a:lstStyle/>
                    <a:p>
                      <a:endParaRPr lang="en-US"/>
                    </a:p>
                  </a:txBody>
                  <a:tcPr/>
                </a:tc>
                <a:tc>
                  <a:txBody>
                    <a:bodyPr/>
                    <a:lstStyle/>
                    <a:p>
                      <a:pPr algn="r" fontAlgn="ctr"/>
                      <a:r>
                        <a:rPr lang="en-CA" sz="900" b="0" i="0" u="none" strike="noStrike">
                          <a:solidFill>
                            <a:srgbClr val="000000"/>
                          </a:solidFill>
                          <a:effectLst/>
                          <a:latin typeface="Arial" panose="020B0604020202020204" pitchFamily="34" charset="0"/>
                        </a:rPr>
                        <a:t>3.11%</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998151433"/>
                  </a:ext>
                </a:extLst>
              </a:tr>
              <a:tr h="181656">
                <a:tc gridSpan="2">
                  <a:txBody>
                    <a:bodyPr/>
                    <a:lstStyle/>
                    <a:p>
                      <a:pPr algn="l" fontAlgn="ctr"/>
                      <a:r>
                        <a:rPr lang="en-CA" sz="900" b="0" i="0" u="none" strike="noStrike">
                          <a:solidFill>
                            <a:srgbClr val="000000"/>
                          </a:solidFill>
                          <a:effectLst/>
                          <a:latin typeface="Arial" panose="020B0604020202020204" pitchFamily="34" charset="0"/>
                        </a:rPr>
                        <a:t>Credit Rating</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r" fontAlgn="ctr"/>
                      <a:r>
                        <a:rPr lang="en-CA" sz="900" b="0" i="0" u="none" strike="noStrike">
                          <a:solidFill>
                            <a:srgbClr val="000000"/>
                          </a:solidFill>
                          <a:effectLst/>
                          <a:latin typeface="Arial" panose="020B0604020202020204" pitchFamily="34" charset="0"/>
                        </a:rPr>
                        <a:t>B1/B+</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45284644"/>
                  </a:ext>
                </a:extLst>
              </a:tr>
              <a:tr h="181656">
                <a:tc>
                  <a:txBody>
                    <a:bodyPr/>
                    <a:lstStyle/>
                    <a:p>
                      <a:pPr algn="l" fontAlgn="ctr"/>
                      <a:r>
                        <a:rPr lang="en-CA" sz="900" b="0" i="0" u="none" strike="noStrike">
                          <a:solidFill>
                            <a:srgbClr val="000000"/>
                          </a:solidFill>
                          <a:effectLst/>
                          <a:latin typeface="Arial" panose="020B0604020202020204" pitchFamily="34" charset="0"/>
                        </a:rPr>
                        <a:t>Beta</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r>
                        <a:rPr lang="en-CA" sz="900" b="0" i="0" u="none" strike="noStrike">
                          <a:solidFill>
                            <a:srgbClr val="000000"/>
                          </a:solidFill>
                          <a:effectLst/>
                          <a:latin typeface="Arial" panose="020B0604020202020204" pitchFamily="34" charset="0"/>
                        </a:rPr>
                        <a:t> </a:t>
                      </a:r>
                    </a:p>
                  </a:txBody>
                  <a:tcPr marL="0" marR="0" marT="0" marB="0" anchor="ctr">
                    <a:lnL>
                      <a:noFill/>
                    </a:lnL>
                    <a:lnR>
                      <a:noFill/>
                    </a:lnR>
                    <a:lnT>
                      <a:noFill/>
                    </a:lnT>
                    <a:lnB>
                      <a:noFill/>
                    </a:lnB>
                    <a:solidFill>
                      <a:srgbClr val="FFFFFF"/>
                    </a:solidFill>
                  </a:tcPr>
                </a:tc>
                <a:tc>
                  <a:txBody>
                    <a:bodyPr/>
                    <a:lstStyle/>
                    <a:p>
                      <a:pPr algn="r" fontAlgn="ctr"/>
                      <a:r>
                        <a:rPr lang="en-CA" sz="900" b="0" i="0" u="none" strike="noStrike">
                          <a:solidFill>
                            <a:srgbClr val="000000"/>
                          </a:solidFill>
                          <a:effectLst/>
                          <a:latin typeface="Arial" panose="020B0604020202020204" pitchFamily="34" charset="0"/>
                        </a:rPr>
                        <a:t>1.78</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832563952"/>
                  </a:ext>
                </a:extLst>
              </a:tr>
              <a:tr h="181656">
                <a:tc gridSpan="2">
                  <a:txBody>
                    <a:bodyPr/>
                    <a:lstStyle/>
                    <a:p>
                      <a:pPr algn="l" fontAlgn="ctr"/>
                      <a:r>
                        <a:rPr lang="en-CA" sz="900" b="0" i="0" u="none" strike="noStrike">
                          <a:solidFill>
                            <a:srgbClr val="000000"/>
                          </a:solidFill>
                          <a:effectLst/>
                          <a:latin typeface="Arial" panose="020B0604020202020204" pitchFamily="34" charset="0"/>
                        </a:rPr>
                        <a:t>Market Risk Premium</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hMerge="1">
                  <a:txBody>
                    <a:bodyPr/>
                    <a:lstStyle/>
                    <a:p>
                      <a:endParaRPr lang="en-US"/>
                    </a:p>
                  </a:txBody>
                  <a:tcPr/>
                </a:tc>
                <a:tc>
                  <a:txBody>
                    <a:bodyPr/>
                    <a:lstStyle/>
                    <a:p>
                      <a:pPr algn="r" fontAlgn="ctr"/>
                      <a:r>
                        <a:rPr lang="en-CA" sz="900" b="0" i="0" u="none" strike="noStrike">
                          <a:solidFill>
                            <a:srgbClr val="000000"/>
                          </a:solidFill>
                          <a:effectLst/>
                          <a:latin typeface="Arial" panose="020B0604020202020204" pitchFamily="34" charset="0"/>
                        </a:rPr>
                        <a:t>3.95%</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323374581"/>
                  </a:ext>
                </a:extLst>
              </a:tr>
              <a:tr h="181656">
                <a:tc>
                  <a:txBody>
                    <a:bodyPr/>
                    <a:lstStyle/>
                    <a:p>
                      <a:pPr algn="l" fontAlgn="ctr"/>
                      <a:r>
                        <a:rPr lang="en-CA" sz="900" b="0" i="0" u="none" strike="noStrike">
                          <a:solidFill>
                            <a:srgbClr val="000000"/>
                          </a:solidFill>
                          <a:effectLst/>
                          <a:latin typeface="Arial" panose="020B0604020202020204" pitchFamily="34" charset="0"/>
                        </a:rPr>
                        <a:t>Equity Value</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r>
                        <a:rPr lang="en-CA" sz="900" b="0" i="0" u="none" strike="noStrike">
                          <a:solidFill>
                            <a:srgbClr val="000000"/>
                          </a:solidFill>
                          <a:effectLst/>
                          <a:latin typeface="Arial" panose="020B0604020202020204" pitchFamily="34" charset="0"/>
                        </a:rPr>
                        <a:t> </a:t>
                      </a:r>
                    </a:p>
                  </a:txBody>
                  <a:tcPr marL="0" marR="0" marT="0" marB="0" anchor="ctr">
                    <a:lnL>
                      <a:noFill/>
                    </a:lnL>
                    <a:lnR>
                      <a:noFill/>
                    </a:lnR>
                    <a:lnT>
                      <a:noFill/>
                    </a:lnT>
                    <a:lnB>
                      <a:noFill/>
                    </a:lnB>
                    <a:solidFill>
                      <a:srgbClr val="FFFFFF"/>
                    </a:solidFill>
                  </a:tcPr>
                </a:tc>
                <a:tc>
                  <a:txBody>
                    <a:bodyPr/>
                    <a:lstStyle/>
                    <a:p>
                      <a:pPr algn="r" fontAlgn="ctr"/>
                      <a:r>
                        <a:rPr lang="en-CA" sz="900" b="0" i="0" u="none" strike="noStrike">
                          <a:solidFill>
                            <a:srgbClr val="000000"/>
                          </a:solidFill>
                          <a:effectLst/>
                          <a:latin typeface="Arial" panose="020B0604020202020204" pitchFamily="34" charset="0"/>
                        </a:rPr>
                        <a:t> $  2,011.95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128846405"/>
                  </a:ext>
                </a:extLst>
              </a:tr>
              <a:tr h="181656">
                <a:tc>
                  <a:txBody>
                    <a:bodyPr/>
                    <a:lstStyle/>
                    <a:p>
                      <a:pPr algn="l" fontAlgn="ctr"/>
                      <a:r>
                        <a:rPr lang="en-CA" sz="900" b="0" i="0" u="none" strike="noStrike">
                          <a:solidFill>
                            <a:srgbClr val="000000"/>
                          </a:solidFill>
                          <a:effectLst/>
                          <a:latin typeface="Arial" panose="020B0604020202020204" pitchFamily="34" charset="0"/>
                        </a:rPr>
                        <a:t>Weight</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CA" sz="900" b="0" i="0" u="none" strike="noStrike">
                          <a:solidFill>
                            <a:srgbClr val="000000"/>
                          </a:solidFill>
                          <a:effectLst/>
                          <a:latin typeface="Arial" panose="020B0604020202020204" pitchFamily="34" charset="0"/>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CA" sz="900" b="0" i="0" u="none" strike="noStrike">
                          <a:solidFill>
                            <a:srgbClr val="000000"/>
                          </a:solidFill>
                          <a:effectLst/>
                          <a:latin typeface="Arial" panose="020B0604020202020204" pitchFamily="34" charset="0"/>
                        </a:rPr>
                        <a:t>99.20%</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1338319"/>
                  </a:ext>
                </a:extLst>
              </a:tr>
              <a:tr h="238423">
                <a:tc gridSpan="2">
                  <a:txBody>
                    <a:bodyPr/>
                    <a:lstStyle/>
                    <a:p>
                      <a:pPr algn="l" fontAlgn="ctr"/>
                      <a:r>
                        <a:rPr lang="en-CA" sz="900" b="1" i="0" u="none" strike="noStrike">
                          <a:solidFill>
                            <a:srgbClr val="000000"/>
                          </a:solidFill>
                          <a:effectLst/>
                          <a:latin typeface="Arial" panose="020B0604020202020204" pitchFamily="34" charset="0"/>
                        </a:rPr>
                        <a:t>Cost of Equity</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r" fontAlgn="ctr"/>
                      <a:r>
                        <a:rPr lang="en-CA" sz="900" b="1" i="0" u="none" strike="noStrike">
                          <a:solidFill>
                            <a:srgbClr val="000000"/>
                          </a:solidFill>
                          <a:effectLst/>
                          <a:latin typeface="Arial" panose="020B0604020202020204" pitchFamily="34" charset="0"/>
                        </a:rPr>
                        <a:t>10.14%</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04484790"/>
                  </a:ext>
                </a:extLst>
              </a:tr>
              <a:tr h="181656">
                <a:tc gridSpan="2">
                  <a:txBody>
                    <a:bodyPr/>
                    <a:lstStyle/>
                    <a:p>
                      <a:pPr algn="l" fontAlgn="ctr"/>
                      <a:r>
                        <a:rPr lang="en-CA" sz="900" b="0" i="0" u="none" strike="noStrike">
                          <a:solidFill>
                            <a:srgbClr val="000000"/>
                          </a:solidFill>
                          <a:effectLst/>
                          <a:latin typeface="Arial" panose="020B0604020202020204" pitchFamily="34" charset="0"/>
                        </a:rPr>
                        <a:t>Cost of Debt (Pre-Tax)</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hMerge="1">
                  <a:txBody>
                    <a:bodyPr/>
                    <a:lstStyle/>
                    <a:p>
                      <a:endParaRPr lang="en-US"/>
                    </a:p>
                  </a:txBody>
                  <a:tcPr/>
                </a:tc>
                <a:tc>
                  <a:txBody>
                    <a:bodyPr/>
                    <a:lstStyle/>
                    <a:p>
                      <a:pPr algn="r" fontAlgn="ctr"/>
                      <a:r>
                        <a:rPr lang="en-CA" sz="900" b="0" i="0" u="none" strike="noStrike">
                          <a:solidFill>
                            <a:srgbClr val="000000"/>
                          </a:solidFill>
                          <a:effectLst/>
                          <a:latin typeface="Arial" panose="020B0604020202020204" pitchFamily="34" charset="0"/>
                        </a:rPr>
                        <a:t>4.94%</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92488225"/>
                  </a:ext>
                </a:extLst>
              </a:tr>
              <a:tr h="238423">
                <a:tc>
                  <a:txBody>
                    <a:bodyPr/>
                    <a:lstStyle/>
                    <a:p>
                      <a:pPr algn="l" fontAlgn="ctr"/>
                      <a:r>
                        <a:rPr lang="en-CA" sz="900" b="0" i="0" u="none" strike="noStrike">
                          <a:solidFill>
                            <a:srgbClr val="000000"/>
                          </a:solidFill>
                          <a:effectLst/>
                          <a:latin typeface="Arial" panose="020B0604020202020204" pitchFamily="34" charset="0"/>
                        </a:rPr>
                        <a:t>Net Debt</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r>
                        <a:rPr lang="en-CA" sz="900" b="0" i="0" u="none" strike="noStrike">
                          <a:solidFill>
                            <a:srgbClr val="000000"/>
                          </a:solidFill>
                          <a:effectLst/>
                          <a:latin typeface="Arial" panose="020B0604020202020204" pitchFamily="34" charset="0"/>
                        </a:rPr>
                        <a:t> </a:t>
                      </a:r>
                    </a:p>
                  </a:txBody>
                  <a:tcPr marL="0" marR="0" marT="0" marB="0" anchor="ctr">
                    <a:lnL>
                      <a:noFill/>
                    </a:lnL>
                    <a:lnR>
                      <a:noFill/>
                    </a:lnR>
                    <a:lnT>
                      <a:noFill/>
                    </a:lnT>
                    <a:lnB>
                      <a:noFill/>
                    </a:lnB>
                    <a:solidFill>
                      <a:srgbClr val="FFFFFF"/>
                    </a:solidFill>
                  </a:tcPr>
                </a:tc>
                <a:tc>
                  <a:txBody>
                    <a:bodyPr/>
                    <a:lstStyle/>
                    <a:p>
                      <a:pPr algn="r" fontAlgn="ctr"/>
                      <a:r>
                        <a:rPr lang="en-CA" sz="900" b="0" i="0" u="none" strike="noStrike">
                          <a:solidFill>
                            <a:srgbClr val="000000"/>
                          </a:solidFill>
                          <a:effectLst/>
                          <a:latin typeface="Arial" panose="020B0604020202020204" pitchFamily="34" charset="0"/>
                        </a:rPr>
                        <a:t>(648.60)</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007094776"/>
                  </a:ext>
                </a:extLst>
              </a:tr>
              <a:tr h="181656">
                <a:tc>
                  <a:txBody>
                    <a:bodyPr/>
                    <a:lstStyle/>
                    <a:p>
                      <a:pPr algn="l" fontAlgn="ctr"/>
                      <a:r>
                        <a:rPr lang="en-CA" sz="900" b="0" i="0" u="none" strike="noStrike">
                          <a:solidFill>
                            <a:srgbClr val="000000"/>
                          </a:solidFill>
                          <a:effectLst/>
                          <a:latin typeface="Arial" panose="020B0604020202020204" pitchFamily="34" charset="0"/>
                        </a:rPr>
                        <a:t>Weight</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CA" sz="900" b="0" i="0" u="none" strike="noStrike">
                          <a:solidFill>
                            <a:srgbClr val="000000"/>
                          </a:solidFill>
                          <a:effectLst/>
                          <a:latin typeface="Arial" panose="020B0604020202020204" pitchFamily="34" charset="0"/>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CA" sz="900" b="0" i="0" u="none" strike="noStrike">
                          <a:solidFill>
                            <a:srgbClr val="000000"/>
                          </a:solidFill>
                          <a:effectLst/>
                          <a:latin typeface="Arial" panose="020B0604020202020204" pitchFamily="34" charset="0"/>
                        </a:rPr>
                        <a:t>0.80%</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7971162"/>
                  </a:ext>
                </a:extLst>
              </a:tr>
              <a:tr h="325999">
                <a:tc gridSpan="2">
                  <a:txBody>
                    <a:bodyPr/>
                    <a:lstStyle/>
                    <a:p>
                      <a:pPr algn="l" fontAlgn="ctr"/>
                      <a:r>
                        <a:rPr lang="en-CA" sz="900" b="1" i="0" u="none" strike="noStrike">
                          <a:solidFill>
                            <a:srgbClr val="000000"/>
                          </a:solidFill>
                          <a:effectLst/>
                          <a:latin typeface="Arial" panose="020B0604020202020204" pitchFamily="34" charset="0"/>
                        </a:rPr>
                        <a:t>Cost of Debt</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r" fontAlgn="ctr"/>
                      <a:r>
                        <a:rPr lang="en-CA" sz="900" b="1" i="0" u="none" strike="noStrike">
                          <a:solidFill>
                            <a:srgbClr val="000000"/>
                          </a:solidFill>
                          <a:effectLst/>
                          <a:latin typeface="Arial" panose="020B0604020202020204" pitchFamily="34" charset="0"/>
                        </a:rPr>
                        <a:t>4.20%</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65493948"/>
                  </a:ext>
                </a:extLst>
              </a:tr>
              <a:tr h="0">
                <a:tc>
                  <a:txBody>
                    <a:bodyPr/>
                    <a:lstStyle/>
                    <a:p>
                      <a:pPr algn="l" fontAlgn="ctr"/>
                      <a:r>
                        <a:rPr lang="en-CA" sz="900" b="1" i="0" u="none" strike="noStrike">
                          <a:solidFill>
                            <a:srgbClr val="000000"/>
                          </a:solidFill>
                          <a:effectLst/>
                          <a:latin typeface="Arial" panose="020B0604020202020204" pitchFamily="34" charset="0"/>
                        </a:rPr>
                        <a:t>WACC</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9F8"/>
                    </a:solidFill>
                  </a:tcPr>
                </a:tc>
                <a:tc>
                  <a:txBody>
                    <a:bodyPr/>
                    <a:lstStyle/>
                    <a:p>
                      <a:pPr algn="l" fontAlgn="ctr"/>
                      <a:r>
                        <a:rPr lang="en-CA" sz="900" b="1" i="0" u="none" strike="noStrike">
                          <a:solidFill>
                            <a:srgbClr val="000000"/>
                          </a:solidFill>
                          <a:effectLst/>
                          <a:latin typeface="Arial" panose="020B0604020202020204" pitchFamily="34" charset="0"/>
                        </a:rPr>
                        <a:t>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9F8"/>
                    </a:solidFill>
                  </a:tcPr>
                </a:tc>
                <a:tc>
                  <a:txBody>
                    <a:bodyPr/>
                    <a:lstStyle/>
                    <a:p>
                      <a:pPr algn="r" fontAlgn="ctr"/>
                      <a:r>
                        <a:rPr lang="en-CA" sz="900" b="1" i="0" u="none" strike="noStrike">
                          <a:solidFill>
                            <a:srgbClr val="000000"/>
                          </a:solidFill>
                          <a:effectLst/>
                          <a:latin typeface="Arial" panose="020B0604020202020204" pitchFamily="34" charset="0"/>
                        </a:rPr>
                        <a:t>10.10%</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9F8"/>
                    </a:solidFill>
                  </a:tcPr>
                </a:tc>
                <a:extLst>
                  <a:ext uri="{0D108BD9-81ED-4DB2-BD59-A6C34878D82A}">
                    <a16:rowId xmlns:a16="http://schemas.microsoft.com/office/drawing/2014/main" val="3137484766"/>
                  </a:ext>
                </a:extLst>
              </a:tr>
            </a:tbl>
          </a:graphicData>
        </a:graphic>
      </p:graphicFrame>
    </p:spTree>
    <p:extLst>
      <p:ext uri="{BB962C8B-B14F-4D97-AF65-F5344CB8AC3E}">
        <p14:creationId xmlns:p14="http://schemas.microsoft.com/office/powerpoint/2010/main" val="33628399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1EFFD7-4ED9-FCBC-373D-72FC76D4B6E4}"/>
              </a:ext>
            </a:extLst>
          </p:cNvPr>
          <p:cNvSpPr>
            <a:spLocks noGrp="1"/>
          </p:cNvSpPr>
          <p:nvPr>
            <p:ph type="body" sz="quarter" idx="21"/>
          </p:nvPr>
        </p:nvSpPr>
        <p:spPr/>
        <p:txBody>
          <a:bodyPr/>
          <a:lstStyle/>
          <a:p>
            <a:r>
              <a:rPr lang="en-CA"/>
              <a:t>Comparable companies in the POS industry </a:t>
            </a:r>
          </a:p>
        </p:txBody>
      </p:sp>
      <p:sp>
        <p:nvSpPr>
          <p:cNvPr id="4" name="Title 3">
            <a:extLst>
              <a:ext uri="{FF2B5EF4-FFF2-40B4-BE49-F238E27FC236}">
                <a16:creationId xmlns:a16="http://schemas.microsoft.com/office/drawing/2014/main" id="{9FBDD151-BE58-8591-B023-E6C07D92F6EB}"/>
              </a:ext>
            </a:extLst>
          </p:cNvPr>
          <p:cNvSpPr>
            <a:spLocks noGrp="1"/>
          </p:cNvSpPr>
          <p:nvPr>
            <p:ph type="title"/>
          </p:nvPr>
        </p:nvSpPr>
        <p:spPr/>
        <p:txBody>
          <a:bodyPr/>
          <a:lstStyle/>
          <a:p>
            <a:r>
              <a:rPr lang="en-CA"/>
              <a:t>Comparable Companies Overview</a:t>
            </a:r>
          </a:p>
        </p:txBody>
      </p:sp>
      <p:sp>
        <p:nvSpPr>
          <p:cNvPr id="5" name="Text Placeholder 4">
            <a:extLst>
              <a:ext uri="{FF2B5EF4-FFF2-40B4-BE49-F238E27FC236}">
                <a16:creationId xmlns:a16="http://schemas.microsoft.com/office/drawing/2014/main" id="{356D3A17-E326-A807-7D6E-BD02C9FE5CAB}"/>
              </a:ext>
            </a:extLst>
          </p:cNvPr>
          <p:cNvSpPr>
            <a:spLocks noGrp="1"/>
          </p:cNvSpPr>
          <p:nvPr>
            <p:ph type="body" sz="quarter" idx="13"/>
          </p:nvPr>
        </p:nvSpPr>
        <p:spPr/>
        <p:txBody>
          <a:bodyPr/>
          <a:lstStyle/>
          <a:p>
            <a:r>
              <a:rPr lang="en-CA"/>
              <a:t>Source(s): Capital IQ, Pitchbook</a:t>
            </a:r>
          </a:p>
          <a:p>
            <a:endParaRPr lang="en-CA"/>
          </a:p>
        </p:txBody>
      </p:sp>
      <p:graphicFrame>
        <p:nvGraphicFramePr>
          <p:cNvPr id="6" name="Espace réservé du tableau 16">
            <a:extLst>
              <a:ext uri="{FF2B5EF4-FFF2-40B4-BE49-F238E27FC236}">
                <a16:creationId xmlns:a16="http://schemas.microsoft.com/office/drawing/2014/main" id="{15B9BECC-832E-CC88-EFF0-D51343A510D1}"/>
              </a:ext>
            </a:extLst>
          </p:cNvPr>
          <p:cNvGraphicFramePr>
            <a:graphicFrameLocks noGrp="1"/>
          </p:cNvGraphicFramePr>
          <p:nvPr>
            <p:ph type="tbl" sz="quarter" idx="14"/>
            <p:extLst>
              <p:ext uri="{D42A27DB-BD31-4B8C-83A1-F6EECF244321}">
                <p14:modId xmlns:p14="http://schemas.microsoft.com/office/powerpoint/2010/main" val="750714380"/>
              </p:ext>
            </p:extLst>
          </p:nvPr>
        </p:nvGraphicFramePr>
        <p:xfrm>
          <a:off x="250825" y="1016000"/>
          <a:ext cx="8660579" cy="5184776"/>
        </p:xfrm>
        <a:graphic>
          <a:graphicData uri="http://schemas.openxmlformats.org/drawingml/2006/table">
            <a:tbl>
              <a:tblPr bandRow="1">
                <a:tableStyleId>{5C22544A-7EE6-4342-B048-85BDC9FD1C3A}</a:tableStyleId>
              </a:tblPr>
              <a:tblGrid>
                <a:gridCol w="1672548">
                  <a:extLst>
                    <a:ext uri="{9D8B030D-6E8A-4147-A177-3AD203B41FA5}">
                      <a16:colId xmlns:a16="http://schemas.microsoft.com/office/drawing/2014/main" val="3027066136"/>
                    </a:ext>
                  </a:extLst>
                </a:gridCol>
                <a:gridCol w="1672548">
                  <a:extLst>
                    <a:ext uri="{9D8B030D-6E8A-4147-A177-3AD203B41FA5}">
                      <a16:colId xmlns:a16="http://schemas.microsoft.com/office/drawing/2014/main" val="240322726"/>
                    </a:ext>
                  </a:extLst>
                </a:gridCol>
                <a:gridCol w="981900">
                  <a:extLst>
                    <a:ext uri="{9D8B030D-6E8A-4147-A177-3AD203B41FA5}">
                      <a16:colId xmlns:a16="http://schemas.microsoft.com/office/drawing/2014/main" val="878987194"/>
                    </a:ext>
                  </a:extLst>
                </a:gridCol>
                <a:gridCol w="4333583">
                  <a:extLst>
                    <a:ext uri="{9D8B030D-6E8A-4147-A177-3AD203B41FA5}">
                      <a16:colId xmlns:a16="http://schemas.microsoft.com/office/drawing/2014/main" val="3412740691"/>
                    </a:ext>
                  </a:extLst>
                </a:gridCol>
              </a:tblGrid>
              <a:tr h="332491">
                <a:tc>
                  <a:txBody>
                    <a:bodyPr/>
                    <a:lstStyle/>
                    <a:p>
                      <a:pPr algn="ctr" rtl="0" fontAlgn="base">
                        <a:lnSpc>
                          <a:spcPts val="1200"/>
                        </a:lnSpc>
                      </a:pPr>
                      <a:r>
                        <a:rPr lang="en-US" sz="900" b="1">
                          <a:solidFill>
                            <a:schemeClr val="bg1"/>
                          </a:solidFill>
                          <a:effectLst/>
                          <a:latin typeface="Arial"/>
                        </a:rPr>
                        <a:t>Logos</a:t>
                      </a:r>
                    </a:p>
                  </a:txBody>
                  <a:tcPr marL="103499" marR="103499" marT="51749" marB="51749" anchor="ctr">
                    <a:lnL w="12700" cap="flat" cmpd="sng" algn="ctr">
                      <a:noFill/>
                      <a:prstDash val="solid"/>
                      <a:round/>
                      <a:headEnd type="none" w="med" len="med"/>
                      <a:tailEnd type="none" w="med" len="med"/>
                    </a:lnL>
                    <a:lnR w="14373" cap="flat" cmpd="sng" algn="ctr">
                      <a:noFill/>
                      <a:prstDash val="solid"/>
                      <a:round/>
                      <a:headEnd type="none" w="med" len="med"/>
                      <a:tailEnd type="none" w="med" len="med"/>
                    </a:lnR>
                    <a:lnT w="12700" cap="flat" cmpd="sng" algn="ctr">
                      <a:noFill/>
                      <a:prstDash val="solid"/>
                      <a:round/>
                      <a:headEnd type="none" w="med" len="med"/>
                      <a:tailEnd type="none" w="med" len="med"/>
                    </a:lnT>
                    <a:lnB w="10773"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rtl="0" fontAlgn="base">
                        <a:lnSpc>
                          <a:spcPts val="1200"/>
                        </a:lnSpc>
                      </a:pPr>
                      <a:r>
                        <a:rPr lang="en-US" sz="900" b="1">
                          <a:solidFill>
                            <a:schemeClr val="bg1"/>
                          </a:solidFill>
                          <a:effectLst/>
                          <a:latin typeface="Arial"/>
                        </a:rPr>
                        <a:t>Company Name</a:t>
                      </a:r>
                    </a:p>
                  </a:txBody>
                  <a:tcPr marL="103499" marR="103499" marT="51749" marB="51749" anchor="ctr">
                    <a:lnL w="14373" cap="flat" cmpd="sng" algn="ctr">
                      <a:noFill/>
                      <a:prstDash val="solid"/>
                      <a:round/>
                      <a:headEnd type="none" w="med" len="med"/>
                      <a:tailEnd type="none" w="med" len="med"/>
                    </a:lnL>
                    <a:lnR w="14373" cap="flat" cmpd="sng" algn="ctr">
                      <a:noFill/>
                      <a:prstDash val="solid"/>
                      <a:round/>
                      <a:headEnd type="none" w="med" len="med"/>
                      <a:tailEnd type="none" w="med" len="med"/>
                    </a:lnR>
                    <a:lnT w="12700" cap="flat" cmpd="sng" algn="ctr">
                      <a:noFill/>
                      <a:prstDash val="solid"/>
                      <a:round/>
                      <a:headEnd type="none" w="med" len="med"/>
                      <a:tailEnd type="none" w="med" len="med"/>
                    </a:lnT>
                    <a:lnB w="10773"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rtl="0" fontAlgn="base">
                        <a:lnSpc>
                          <a:spcPts val="1200"/>
                        </a:lnSpc>
                      </a:pPr>
                      <a:r>
                        <a:rPr lang="en-US" sz="900" b="1">
                          <a:solidFill>
                            <a:schemeClr val="bg1"/>
                          </a:solidFill>
                          <a:effectLst/>
                          <a:latin typeface="Arial"/>
                        </a:rPr>
                        <a:t>Ticker</a:t>
                      </a:r>
                    </a:p>
                  </a:txBody>
                  <a:tcPr marL="103499" marR="103499" marT="51749" marB="51749" anchor="ctr">
                    <a:lnL w="14373" cap="flat" cmpd="sng" algn="ctr">
                      <a:noFill/>
                      <a:prstDash val="solid"/>
                      <a:round/>
                      <a:headEnd type="none" w="med" len="med"/>
                      <a:tailEnd type="none" w="med" len="med"/>
                    </a:lnL>
                    <a:lnR w="14373" cap="flat" cmpd="sng" algn="ctr">
                      <a:noFill/>
                      <a:prstDash val="solid"/>
                      <a:round/>
                      <a:headEnd type="none" w="med" len="med"/>
                      <a:tailEnd type="none" w="med" len="med"/>
                    </a:lnR>
                    <a:lnT w="12700" cap="flat" cmpd="sng" algn="ctr">
                      <a:noFill/>
                      <a:prstDash val="solid"/>
                      <a:round/>
                      <a:headEnd type="none" w="med" len="med"/>
                      <a:tailEnd type="none" w="med" len="med"/>
                    </a:lnT>
                    <a:lnB w="10773"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rtl="0" fontAlgn="base">
                        <a:lnSpc>
                          <a:spcPts val="1200"/>
                        </a:lnSpc>
                      </a:pPr>
                      <a:r>
                        <a:rPr lang="en-US" sz="900" b="1">
                          <a:solidFill>
                            <a:schemeClr val="bg1"/>
                          </a:solidFill>
                          <a:effectLst/>
                          <a:latin typeface="Arial"/>
                        </a:rPr>
                        <a:t>Overview</a:t>
                      </a:r>
                    </a:p>
                  </a:txBody>
                  <a:tcPr marL="103499" marR="103499" marT="51749" marB="51749" anchor="ctr">
                    <a:lnL w="14373"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0773"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35865010"/>
                  </a:ext>
                </a:extLst>
              </a:tr>
              <a:tr h="970457">
                <a:tc>
                  <a:txBody>
                    <a:bodyPr/>
                    <a:lstStyle/>
                    <a:p>
                      <a:pPr algn="ctr" rtl="0" fontAlgn="base">
                        <a:lnSpc>
                          <a:spcPts val="1200"/>
                        </a:lnSpc>
                      </a:pPr>
                      <a:endParaRPr lang="en-CA" sz="900">
                        <a:effectLst/>
                      </a:endParaRPr>
                    </a:p>
                  </a:txBody>
                  <a:tcPr marL="103499" marR="103499" marT="51749" marB="51749" anchor="ctr">
                    <a:lnL w="12700" cap="flat" cmpd="sng" algn="ctr">
                      <a:noFill/>
                      <a:prstDash val="solid"/>
                      <a:round/>
                      <a:headEnd type="none" w="med" len="med"/>
                      <a:tailEnd type="none" w="med" len="med"/>
                    </a:lnL>
                    <a:lnR w="14373" cap="flat" cmpd="sng" algn="ctr">
                      <a:noFill/>
                      <a:prstDash val="solid"/>
                      <a:round/>
                      <a:headEnd type="none" w="med" len="med"/>
                      <a:tailEnd type="none" w="med" len="med"/>
                    </a:lnR>
                    <a:lnT w="10773"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200"/>
                        </a:lnSpc>
                      </a:pPr>
                      <a:r>
                        <a:rPr lang="en-CA" sz="900" b="0" i="0" u="none" strike="noStrike">
                          <a:solidFill>
                            <a:srgbClr val="000000"/>
                          </a:solidFill>
                          <a:effectLst/>
                          <a:latin typeface="+mn-lt"/>
                        </a:rPr>
                        <a:t>PayPal Holdings, Inc. </a:t>
                      </a:r>
                      <a:endParaRPr lang="en-CA" sz="900">
                        <a:effectLst/>
                      </a:endParaRPr>
                    </a:p>
                  </a:txBody>
                  <a:tcPr marL="103499" marR="103499" marT="51749" marB="51749" anchor="ctr">
                    <a:lnL w="14373" cap="flat" cmpd="sng" algn="ctr">
                      <a:noFill/>
                      <a:prstDash val="solid"/>
                      <a:round/>
                      <a:headEnd type="none" w="med" len="med"/>
                      <a:tailEnd type="none" w="med" len="med"/>
                    </a:lnL>
                    <a:lnR w="14373" cap="flat" cmpd="sng" algn="ctr">
                      <a:noFill/>
                      <a:prstDash val="solid"/>
                      <a:round/>
                      <a:headEnd type="none" w="med" len="med"/>
                      <a:tailEnd type="none" w="med" len="med"/>
                    </a:lnR>
                    <a:lnT w="10773"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900" b="0" i="0" u="none" strike="noStrike">
                          <a:solidFill>
                            <a:srgbClr val="000000"/>
                          </a:solidFill>
                          <a:effectLst/>
                          <a:latin typeface="+mn-lt"/>
                        </a:rPr>
                        <a:t>NAS: PYPL</a:t>
                      </a:r>
                    </a:p>
                  </a:txBody>
                  <a:tcPr marL="103499" marR="103499" marT="51749" marB="51749" anchor="ctr">
                    <a:lnL w="14373" cap="flat" cmpd="sng" algn="ctr">
                      <a:noFill/>
                      <a:prstDash val="solid"/>
                      <a:round/>
                      <a:headEnd type="none" w="med" len="med"/>
                      <a:tailEnd type="none" w="med" len="med"/>
                    </a:lnL>
                    <a:lnR w="14373" cap="flat" cmpd="sng" algn="ctr">
                      <a:noFill/>
                      <a:prstDash val="solid"/>
                      <a:round/>
                      <a:headEnd type="none" w="med" len="med"/>
                      <a:tailEnd type="none" w="med" len="med"/>
                    </a:lnR>
                    <a:lnT w="10773"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ts val="1200"/>
                        </a:lnSpc>
                        <a:buNone/>
                      </a:pPr>
                      <a:r>
                        <a:rPr lang="en-CA" sz="900" b="0" i="0" kern="1200">
                          <a:solidFill>
                            <a:schemeClr val="dk1"/>
                          </a:solidFill>
                          <a:effectLst/>
                          <a:latin typeface="+mn-lt"/>
                          <a:ea typeface="+mn-ea"/>
                          <a:cs typeface="+mn-cs"/>
                        </a:rPr>
                        <a:t>PayPal Holdings, Inc. operates a technology platform that enables digital payments for merchants and consumers worldwide. It operates a two-sided network at scale that connects merchants and consumers that enables its customers to connect, transact, and send and receive payments through online and in person, as well as transfer and withdraw funds</a:t>
                      </a:r>
                      <a:endParaRPr lang="fr-FR" sz="900"/>
                    </a:p>
                  </a:txBody>
                  <a:tcPr marL="103499" marR="103499" marT="51749" marB="51749" anchor="ctr">
                    <a:lnL w="14373" cap="flat" cmpd="sng" algn="ctr">
                      <a:noFill/>
                      <a:prstDash val="solid"/>
                      <a:round/>
                      <a:headEnd type="none" w="med" len="med"/>
                      <a:tailEnd type="none" w="med" len="med"/>
                    </a:lnL>
                    <a:lnR w="12700" cap="flat" cmpd="sng" algn="ctr">
                      <a:noFill/>
                      <a:prstDash val="solid"/>
                      <a:round/>
                      <a:headEnd type="none" w="med" len="med"/>
                      <a:tailEnd type="none" w="med" len="med"/>
                    </a:lnR>
                    <a:lnT w="10773"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1192749"/>
                  </a:ext>
                </a:extLst>
              </a:tr>
              <a:tr h="970457">
                <a:tc>
                  <a:txBody>
                    <a:bodyPr/>
                    <a:lstStyle/>
                    <a:p>
                      <a:pPr lvl="0" algn="ctr">
                        <a:lnSpc>
                          <a:spcPts val="1200"/>
                        </a:lnSpc>
                        <a:buNone/>
                      </a:pPr>
                      <a:endParaRPr lang="fr-FR" sz="900">
                        <a:solidFill>
                          <a:schemeClr val="bg1"/>
                        </a:solidFill>
                      </a:endParaRP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lvl="0" algn="ctr">
                        <a:lnSpc>
                          <a:spcPts val="1200"/>
                        </a:lnSpc>
                        <a:buNone/>
                      </a:pPr>
                      <a:r>
                        <a:rPr lang="fr-FR" sz="900" err="1">
                          <a:solidFill>
                            <a:schemeClr val="tx1"/>
                          </a:solidFill>
                        </a:rPr>
                        <a:t>Shopify</a:t>
                      </a:r>
                      <a:endParaRPr lang="fr-FR" sz="900">
                        <a:solidFill>
                          <a:schemeClr val="tx1"/>
                        </a:solidFill>
                      </a:endParaRP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rtl="0" fontAlgn="base">
                        <a:lnSpc>
                          <a:spcPts val="1200"/>
                        </a:lnSpc>
                      </a:pPr>
                      <a:r>
                        <a:rPr lang="en-US" sz="900">
                          <a:solidFill>
                            <a:schemeClr val="tx1"/>
                          </a:solidFill>
                          <a:effectLst/>
                          <a:latin typeface="Arial"/>
                        </a:rPr>
                        <a:t>NYSE: SHOP</a:t>
                      </a: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marL="0" marR="0" lvl="0" indent="0" algn="ctr" defTabSz="914377" rtl="0" eaLnBrk="1" fontAlgn="base" latinLnBrk="0" hangingPunct="1">
                        <a:lnSpc>
                          <a:spcPts val="1200"/>
                        </a:lnSpc>
                        <a:spcBef>
                          <a:spcPts val="0"/>
                        </a:spcBef>
                        <a:spcAft>
                          <a:spcPts val="0"/>
                        </a:spcAft>
                        <a:buClrTx/>
                        <a:buSzTx/>
                        <a:buFontTx/>
                        <a:buNone/>
                        <a:tabLst/>
                        <a:defRPr/>
                      </a:pPr>
                      <a:r>
                        <a:rPr lang="en-CA" sz="900"/>
                        <a:t>Shopify Inc. provides an e-commerce technology platform that helps businesses of all sizes sell online and offline. Its platform enables merchants to manage inventory, process payments, fulfill orders, and access financing across web, mobile, retail, social media, and marketplaces. Shopify also offers integrated payment processing, shipping labels, POS hardware, and advertising solutions</a:t>
                      </a: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1285406285"/>
                  </a:ext>
                </a:extLst>
              </a:tr>
              <a:tr h="970457">
                <a:tc>
                  <a:txBody>
                    <a:bodyPr/>
                    <a:lstStyle/>
                    <a:p>
                      <a:pPr lvl="0" algn="ctr">
                        <a:lnSpc>
                          <a:spcPct val="100000"/>
                        </a:lnSpc>
                        <a:spcBef>
                          <a:spcPts val="0"/>
                        </a:spcBef>
                        <a:spcAft>
                          <a:spcPts val="0"/>
                        </a:spcAft>
                        <a:buNone/>
                      </a:pPr>
                      <a:endParaRPr lang="en-CA" sz="900" b="0" i="0" u="none" strike="noStrike" noProof="0">
                        <a:solidFill>
                          <a:schemeClr val="tx1"/>
                        </a:solidFill>
                        <a:effectLst/>
                        <a:latin typeface="Arial"/>
                      </a:endParaRP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spcBef>
                          <a:spcPts val="0"/>
                        </a:spcBef>
                        <a:spcAft>
                          <a:spcPts val="0"/>
                        </a:spcAft>
                        <a:buNone/>
                      </a:pPr>
                      <a:r>
                        <a:rPr lang="en-CA" sz="900" b="0" i="0" u="none" strike="noStrike" noProof="0">
                          <a:solidFill>
                            <a:schemeClr val="tx1"/>
                          </a:solidFill>
                          <a:effectLst/>
                          <a:latin typeface="Arial"/>
                        </a:rPr>
                        <a:t>Block (prev. Square, Inc.)</a:t>
                      </a: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200"/>
                        </a:lnSpc>
                      </a:pPr>
                      <a:r>
                        <a:rPr lang="en-CA" sz="900">
                          <a:effectLst/>
                          <a:latin typeface="Arial"/>
                        </a:rPr>
                        <a:t>NYSE: XYZ</a:t>
                      </a: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900"/>
                        <a:t>Block, Inc. develops commerce and financial ecosystems through its Square and Cash App segments. Square provides payment processing, POS solutions, banking services, and business management tools for merchants. Cash App offers peer-to-peer payments, stock and bitcoin trading, debit cards, and buy now, pay later services. Block also operates TIDAL for music streaming, Bitkey for bitcoin self-custody, and TBD for decentralized finance</a:t>
                      </a: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860396"/>
                  </a:ext>
                </a:extLst>
              </a:tr>
              <a:tr h="970457">
                <a:tc>
                  <a:txBody>
                    <a:bodyPr/>
                    <a:lstStyle/>
                    <a:p>
                      <a:pPr lvl="0" algn="ctr">
                        <a:lnSpc>
                          <a:spcPct val="100000"/>
                        </a:lnSpc>
                        <a:spcBef>
                          <a:spcPts val="0"/>
                        </a:spcBef>
                        <a:spcAft>
                          <a:spcPts val="0"/>
                        </a:spcAft>
                        <a:buNone/>
                      </a:pPr>
                      <a:endParaRPr lang="en-US" sz="900" b="0" i="0" u="none" strike="noStrike" noProof="0">
                        <a:solidFill>
                          <a:schemeClr val="bg1"/>
                        </a:solidFill>
                        <a:effectLst/>
                        <a:latin typeface="Arial"/>
                      </a:endParaRP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lvl="0" algn="ctr">
                        <a:lnSpc>
                          <a:spcPct val="100000"/>
                        </a:lnSpc>
                        <a:spcBef>
                          <a:spcPts val="0"/>
                        </a:spcBef>
                        <a:spcAft>
                          <a:spcPts val="0"/>
                        </a:spcAft>
                        <a:buNone/>
                      </a:pPr>
                      <a:r>
                        <a:rPr lang="en-US" sz="900" b="0" i="0" u="none" strike="noStrike" noProof="0">
                          <a:solidFill>
                            <a:schemeClr val="tx1"/>
                          </a:solidFill>
                          <a:effectLst/>
                          <a:latin typeface="Arial"/>
                        </a:rPr>
                        <a:t>Toast, Inc.</a:t>
                      </a: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lvl="0" algn="ctr">
                        <a:lnSpc>
                          <a:spcPct val="100000"/>
                        </a:lnSpc>
                        <a:spcBef>
                          <a:spcPts val="0"/>
                        </a:spcBef>
                        <a:spcAft>
                          <a:spcPts val="0"/>
                        </a:spcAft>
                        <a:buNone/>
                      </a:pPr>
                      <a:r>
                        <a:rPr lang="en-US" sz="900" b="0" i="0" u="none" strike="noStrike" noProof="0">
                          <a:solidFill>
                            <a:schemeClr val="tx1"/>
                          </a:solidFill>
                          <a:effectLst/>
                          <a:latin typeface="Arial"/>
                        </a:rPr>
                        <a:t>NYSE: TOAST</a:t>
                      </a: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rtl="0" fontAlgn="base">
                        <a:lnSpc>
                          <a:spcPts val="1200"/>
                        </a:lnSpc>
                      </a:pPr>
                      <a:r>
                        <a:rPr lang="en-CA" sz="900"/>
                        <a:t>Toast, Inc. provides a cloud-based platform for the restaurant industry, offering POS systems, kitchen management, online ordering, and delivery integrations. It also provides payment processing, payroll, team management, and financial services like lending and purchase plans. Toast supports restaurants with analytics, marketing, and third-party integrations</a:t>
                      </a:r>
                      <a:endParaRPr lang="en-US" sz="900">
                        <a:solidFill>
                          <a:schemeClr val="tx1"/>
                        </a:solidFill>
                        <a:effectLst/>
                        <a:latin typeface="Arial"/>
                      </a:endParaRP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980143796"/>
                  </a:ext>
                </a:extLst>
              </a:tr>
              <a:tr h="970457">
                <a:tc>
                  <a:txBody>
                    <a:bodyPr/>
                    <a:lstStyle/>
                    <a:p>
                      <a:pPr lvl="0" algn="ctr">
                        <a:lnSpc>
                          <a:spcPct val="100000"/>
                        </a:lnSpc>
                        <a:spcBef>
                          <a:spcPts val="0"/>
                        </a:spcBef>
                        <a:spcAft>
                          <a:spcPts val="0"/>
                        </a:spcAft>
                        <a:buNone/>
                      </a:pPr>
                      <a:endParaRPr lang="en-US" sz="900" b="0" i="0" u="none" strike="noStrike" noProof="0">
                        <a:solidFill>
                          <a:schemeClr val="tx1"/>
                        </a:solidFill>
                        <a:effectLst/>
                        <a:latin typeface="Arial"/>
                      </a:endParaRP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spcBef>
                          <a:spcPts val="0"/>
                        </a:spcBef>
                        <a:spcAft>
                          <a:spcPts val="0"/>
                        </a:spcAft>
                        <a:buNone/>
                      </a:pPr>
                      <a:r>
                        <a:rPr lang="en-US" sz="900" b="0" i="0" u="none" strike="noStrike" noProof="0">
                          <a:solidFill>
                            <a:schemeClr val="tx1"/>
                          </a:solidFill>
                          <a:effectLst/>
                          <a:latin typeface="Arial"/>
                        </a:rPr>
                        <a:t>Affirm Holdings, Inc.</a:t>
                      </a: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lnSpc>
                          <a:spcPct val="100000"/>
                        </a:lnSpc>
                        <a:spcBef>
                          <a:spcPts val="0"/>
                        </a:spcBef>
                        <a:spcAft>
                          <a:spcPts val="0"/>
                        </a:spcAft>
                        <a:buNone/>
                      </a:pPr>
                      <a:r>
                        <a:rPr lang="en-US" sz="900" b="0" i="0" u="none" strike="noStrike" noProof="0">
                          <a:solidFill>
                            <a:schemeClr val="tx1"/>
                          </a:solidFill>
                          <a:effectLst/>
                          <a:latin typeface="Arial"/>
                        </a:rPr>
                        <a:t>NAS: AFRM</a:t>
                      </a: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900"/>
                        <a:t>Affirm Holdings, Inc. operates a payment network that offers buy now, pay later solutions for consumers and merchants. Its platform enables installment payments through a consumer app, merchant integrations, and partnerships with banks and capital markets. Affirm serves businesses of all sizes across various industries, including retail, travel, electronics, and auto</a:t>
                      </a:r>
                    </a:p>
                  </a:txBody>
                  <a:tcPr marL="103499" marR="103499" marT="51749" marB="517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7850047"/>
                  </a:ext>
                </a:extLst>
              </a:tr>
            </a:tbl>
          </a:graphicData>
        </a:graphic>
      </p:graphicFrame>
      <p:sp>
        <p:nvSpPr>
          <p:cNvPr id="7" name="AutoShape 8" descr="Gold Fields Limited - Top Women">
            <a:extLst>
              <a:ext uri="{FF2B5EF4-FFF2-40B4-BE49-F238E27FC236}">
                <a16:creationId xmlns:a16="http://schemas.microsoft.com/office/drawing/2014/main" id="{D27BCC90-FD48-8A3E-8B7A-04D414DCF28D}"/>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pic>
        <p:nvPicPr>
          <p:cNvPr id="1028" name="Picture 4" descr="Paypal Logo and symbol, meaning, history, PNG, brand">
            <a:extLst>
              <a:ext uri="{FF2B5EF4-FFF2-40B4-BE49-F238E27FC236}">
                <a16:creationId xmlns:a16="http://schemas.microsoft.com/office/drawing/2014/main" id="{731D2BDC-6CB3-20EE-32BB-E3AEA43B1E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1526" y="1614533"/>
            <a:ext cx="918390" cy="51659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undefined">
            <a:extLst>
              <a:ext uri="{FF2B5EF4-FFF2-40B4-BE49-F238E27FC236}">
                <a16:creationId xmlns:a16="http://schemas.microsoft.com/office/drawing/2014/main" id="{890ADE51-6182-D550-CD09-E28990E5AA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0841" y="2598267"/>
            <a:ext cx="1279761" cy="40192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undefined">
            <a:extLst>
              <a:ext uri="{FF2B5EF4-FFF2-40B4-BE49-F238E27FC236}">
                <a16:creationId xmlns:a16="http://schemas.microsoft.com/office/drawing/2014/main" id="{1464E7B6-39F1-66CD-ADF9-34F0250BB6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4015" y="3313594"/>
            <a:ext cx="633412" cy="910529"/>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Toast Inc - JUST Capital">
            <a:extLst>
              <a:ext uri="{FF2B5EF4-FFF2-40B4-BE49-F238E27FC236}">
                <a16:creationId xmlns:a16="http://schemas.microsoft.com/office/drawing/2014/main" id="{4F23BC99-19E1-BA03-1EFE-C5B5160FB8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0841" y="4582459"/>
            <a:ext cx="1279761" cy="339492"/>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Affirm Holdings, Inc. - Wikipedia">
            <a:extLst>
              <a:ext uri="{FF2B5EF4-FFF2-40B4-BE49-F238E27FC236}">
                <a16:creationId xmlns:a16="http://schemas.microsoft.com/office/drawing/2014/main" id="{6AF20B2B-1547-4939-0C53-AB106A7F17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6975" y="5459817"/>
            <a:ext cx="1167492" cy="4669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04214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F345C2-F28F-FD52-624E-86B5FE10A992}"/>
              </a:ext>
            </a:extLst>
          </p:cNvPr>
          <p:cNvSpPr>
            <a:spLocks noGrp="1"/>
          </p:cNvSpPr>
          <p:nvPr>
            <p:ph type="body" sz="quarter" idx="21"/>
          </p:nvPr>
        </p:nvSpPr>
        <p:spPr/>
        <p:txBody>
          <a:bodyPr/>
          <a:lstStyle/>
          <a:p>
            <a:r>
              <a:rPr lang="en-US"/>
              <a:t>Market data, financials, and benchmarking relative to peers</a:t>
            </a:r>
          </a:p>
        </p:txBody>
      </p:sp>
      <p:sp>
        <p:nvSpPr>
          <p:cNvPr id="6" name="Table Placeholder 5">
            <a:extLst>
              <a:ext uri="{FF2B5EF4-FFF2-40B4-BE49-F238E27FC236}">
                <a16:creationId xmlns:a16="http://schemas.microsoft.com/office/drawing/2014/main" id="{B67A51C7-09C4-64C3-0833-657EFE58DA16}"/>
              </a:ext>
            </a:extLst>
          </p:cNvPr>
          <p:cNvSpPr>
            <a:spLocks noGrp="1"/>
          </p:cNvSpPr>
          <p:nvPr>
            <p:ph type="tbl" sz="quarter" idx="14"/>
          </p:nvPr>
        </p:nvSpPr>
        <p:spPr/>
        <p:txBody>
          <a:bodyPr/>
          <a:lstStyle/>
          <a:p>
            <a:endParaRPr lang="en-CA"/>
          </a:p>
        </p:txBody>
      </p:sp>
      <p:sp>
        <p:nvSpPr>
          <p:cNvPr id="9" name="Title 8">
            <a:extLst>
              <a:ext uri="{FF2B5EF4-FFF2-40B4-BE49-F238E27FC236}">
                <a16:creationId xmlns:a16="http://schemas.microsoft.com/office/drawing/2014/main" id="{D1806AAA-B93A-7D0D-AF09-22B15AD42AEB}"/>
              </a:ext>
            </a:extLst>
          </p:cNvPr>
          <p:cNvSpPr>
            <a:spLocks noGrp="1"/>
          </p:cNvSpPr>
          <p:nvPr>
            <p:ph type="title"/>
          </p:nvPr>
        </p:nvSpPr>
        <p:spPr/>
        <p:txBody>
          <a:bodyPr/>
          <a:lstStyle/>
          <a:p>
            <a:r>
              <a:rPr lang="en-US"/>
              <a:t>Comparable Companies</a:t>
            </a:r>
          </a:p>
        </p:txBody>
      </p:sp>
      <p:sp>
        <p:nvSpPr>
          <p:cNvPr id="10" name="Text Placeholder 9">
            <a:extLst>
              <a:ext uri="{FF2B5EF4-FFF2-40B4-BE49-F238E27FC236}">
                <a16:creationId xmlns:a16="http://schemas.microsoft.com/office/drawing/2014/main" id="{EB3CB472-F164-CBEA-74F2-6A1E4BD72885}"/>
              </a:ext>
            </a:extLst>
          </p:cNvPr>
          <p:cNvSpPr>
            <a:spLocks noGrp="1"/>
          </p:cNvSpPr>
          <p:nvPr>
            <p:ph type="body" sz="quarter" idx="13"/>
          </p:nvPr>
        </p:nvSpPr>
        <p:spPr/>
        <p:txBody>
          <a:bodyPr/>
          <a:lstStyle/>
          <a:p>
            <a:r>
              <a:rPr lang="en-US">
                <a:cs typeface="Arial"/>
              </a:rPr>
              <a:t>Source(s): Bloomberg, Capital IQ, Pitchbook</a:t>
            </a:r>
          </a:p>
          <a:p>
            <a:endParaRPr lang="en-US"/>
          </a:p>
        </p:txBody>
      </p:sp>
      <p:graphicFrame>
        <p:nvGraphicFramePr>
          <p:cNvPr id="14" name="Table 13">
            <a:extLst>
              <a:ext uri="{FF2B5EF4-FFF2-40B4-BE49-F238E27FC236}">
                <a16:creationId xmlns:a16="http://schemas.microsoft.com/office/drawing/2014/main" id="{3BC6306E-854F-1B02-C863-3243FD086772}"/>
              </a:ext>
            </a:extLst>
          </p:cNvPr>
          <p:cNvGraphicFramePr>
            <a:graphicFrameLocks noGrp="1"/>
          </p:cNvGraphicFramePr>
          <p:nvPr>
            <p:extLst>
              <p:ext uri="{D42A27DB-BD31-4B8C-83A1-F6EECF244321}">
                <p14:modId xmlns:p14="http://schemas.microsoft.com/office/powerpoint/2010/main" val="1043876611"/>
              </p:ext>
            </p:extLst>
          </p:nvPr>
        </p:nvGraphicFramePr>
        <p:xfrm>
          <a:off x="250825" y="1033437"/>
          <a:ext cx="8642350" cy="2204678"/>
        </p:xfrm>
        <a:graphic>
          <a:graphicData uri="http://schemas.openxmlformats.org/drawingml/2006/table">
            <a:tbl>
              <a:tblPr/>
              <a:tblGrid>
                <a:gridCol w="2035175">
                  <a:extLst>
                    <a:ext uri="{9D8B030D-6E8A-4147-A177-3AD203B41FA5}">
                      <a16:colId xmlns:a16="http://schemas.microsoft.com/office/drawing/2014/main" val="3205426333"/>
                    </a:ext>
                  </a:extLst>
                </a:gridCol>
                <a:gridCol w="704850">
                  <a:extLst>
                    <a:ext uri="{9D8B030D-6E8A-4147-A177-3AD203B41FA5}">
                      <a16:colId xmlns:a16="http://schemas.microsoft.com/office/drawing/2014/main" val="2986783645"/>
                    </a:ext>
                  </a:extLst>
                </a:gridCol>
                <a:gridCol w="1131590">
                  <a:extLst>
                    <a:ext uri="{9D8B030D-6E8A-4147-A177-3AD203B41FA5}">
                      <a16:colId xmlns:a16="http://schemas.microsoft.com/office/drawing/2014/main" val="933753184"/>
                    </a:ext>
                  </a:extLst>
                </a:gridCol>
                <a:gridCol w="641175">
                  <a:extLst>
                    <a:ext uri="{9D8B030D-6E8A-4147-A177-3AD203B41FA5}">
                      <a16:colId xmlns:a16="http://schemas.microsoft.com/office/drawing/2014/main" val="3736973548"/>
                    </a:ext>
                  </a:extLst>
                </a:gridCol>
                <a:gridCol w="776288">
                  <a:extLst>
                    <a:ext uri="{9D8B030D-6E8A-4147-A177-3AD203B41FA5}">
                      <a16:colId xmlns:a16="http://schemas.microsoft.com/office/drawing/2014/main" val="692318134"/>
                    </a:ext>
                  </a:extLst>
                </a:gridCol>
                <a:gridCol w="641175">
                  <a:extLst>
                    <a:ext uri="{9D8B030D-6E8A-4147-A177-3AD203B41FA5}">
                      <a16:colId xmlns:a16="http://schemas.microsoft.com/office/drawing/2014/main" val="1809375614"/>
                    </a:ext>
                  </a:extLst>
                </a:gridCol>
                <a:gridCol w="641175">
                  <a:extLst>
                    <a:ext uri="{9D8B030D-6E8A-4147-A177-3AD203B41FA5}">
                      <a16:colId xmlns:a16="http://schemas.microsoft.com/office/drawing/2014/main" val="1118665127"/>
                    </a:ext>
                  </a:extLst>
                </a:gridCol>
                <a:gridCol w="788572">
                  <a:extLst>
                    <a:ext uri="{9D8B030D-6E8A-4147-A177-3AD203B41FA5}">
                      <a16:colId xmlns:a16="http://schemas.microsoft.com/office/drawing/2014/main" val="1160945949"/>
                    </a:ext>
                  </a:extLst>
                </a:gridCol>
                <a:gridCol w="641175">
                  <a:extLst>
                    <a:ext uri="{9D8B030D-6E8A-4147-A177-3AD203B41FA5}">
                      <a16:colId xmlns:a16="http://schemas.microsoft.com/office/drawing/2014/main" val="2509970156"/>
                    </a:ext>
                  </a:extLst>
                </a:gridCol>
                <a:gridCol w="641175">
                  <a:extLst>
                    <a:ext uri="{9D8B030D-6E8A-4147-A177-3AD203B41FA5}">
                      <a16:colId xmlns:a16="http://schemas.microsoft.com/office/drawing/2014/main" val="816065841"/>
                    </a:ext>
                  </a:extLst>
                </a:gridCol>
              </a:tblGrid>
              <a:tr h="368044">
                <a:tc>
                  <a:txBody>
                    <a:bodyPr/>
                    <a:lstStyle/>
                    <a:p>
                      <a:pPr algn="ctr" fontAlgn="ctr"/>
                      <a:endParaRPr lang="en-CA" sz="900" b="1" i="0" u="none" strike="noStrike">
                        <a:solidFill>
                          <a:srgbClr val="FFFFFF"/>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0F3557"/>
                    </a:solidFill>
                  </a:tcPr>
                </a:tc>
                <a:tc gridSpan="9">
                  <a:txBody>
                    <a:bodyPr/>
                    <a:lstStyle/>
                    <a:p>
                      <a:pPr algn="ctr" fontAlgn="ctr"/>
                      <a:r>
                        <a:rPr lang="en-CA" sz="900" b="1" i="0" u="none" strike="noStrike">
                          <a:solidFill>
                            <a:srgbClr val="FFFFFF"/>
                          </a:solidFill>
                          <a:effectLst/>
                          <a:latin typeface="Arial" panose="020B0604020202020204" pitchFamily="34" charset="0"/>
                        </a:rPr>
                        <a:t>Market Data and Financials</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F3557"/>
                    </a:solidFill>
                  </a:tcPr>
                </a:tc>
                <a:tc hMerge="1">
                  <a:txBody>
                    <a:bodyPr/>
                    <a:lstStyle/>
                    <a:p>
                      <a:pPr algn="ctr" fontAlgn="ctr"/>
                      <a:endParaRPr lang="en-CA" sz="900" b="1" i="0" u="none" strike="noStrike">
                        <a:solidFill>
                          <a:srgbClr val="FFFFFF"/>
                        </a:solidFill>
                        <a:effectLst/>
                        <a:latin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hMerge="1">
                  <a:txBody>
                    <a:bodyPr/>
                    <a:lstStyle/>
                    <a:p>
                      <a:pPr algn="ctr" fontAlgn="ctr"/>
                      <a:endParaRPr lang="en-CA" sz="900" b="1" i="0" u="none" strike="noStrike">
                        <a:solidFill>
                          <a:srgbClr val="FFFFFF"/>
                        </a:solidFill>
                        <a:effectLst/>
                        <a:latin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hMerge="1">
                  <a:txBody>
                    <a:bodyPr/>
                    <a:lstStyle/>
                    <a:p>
                      <a:pPr algn="ctr" fontAlgn="ctr"/>
                      <a:endParaRPr lang="en-CA" sz="900" b="1" i="0" u="none" strike="noStrike">
                        <a:solidFill>
                          <a:srgbClr val="FFFFFF"/>
                        </a:solidFill>
                        <a:effectLst/>
                        <a:latin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hMerge="1">
                  <a:txBody>
                    <a:bodyPr/>
                    <a:lstStyle/>
                    <a:p>
                      <a:pPr algn="ctr" fontAlgn="ctr"/>
                      <a:endParaRPr lang="en-CA" sz="900" b="1" i="0" u="none" strike="noStrike">
                        <a:solidFill>
                          <a:srgbClr val="FFFFFF"/>
                        </a:solidFill>
                        <a:effectLst/>
                        <a:latin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hMerge="1">
                  <a:txBody>
                    <a:bodyPr/>
                    <a:lstStyle/>
                    <a:p>
                      <a:pPr algn="ctr" fontAlgn="ctr"/>
                      <a:endParaRPr lang="en-CA" sz="900" b="1" i="0" u="none" strike="noStrike">
                        <a:solidFill>
                          <a:srgbClr val="FFFFFF"/>
                        </a:solidFill>
                        <a:effectLst/>
                        <a:latin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hMerge="1">
                  <a:txBody>
                    <a:bodyPr/>
                    <a:lstStyle/>
                    <a:p>
                      <a:pPr algn="ctr" fontAlgn="ctr"/>
                      <a:endParaRPr lang="en-CA" sz="900" b="1" i="0" u="none" strike="noStrike">
                        <a:solidFill>
                          <a:srgbClr val="FFFFFF"/>
                        </a:solidFill>
                        <a:effectLst/>
                        <a:latin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hMerge="1">
                  <a:txBody>
                    <a:bodyPr/>
                    <a:lstStyle/>
                    <a:p>
                      <a:pPr algn="ctr" fontAlgn="ctr"/>
                      <a:endParaRPr lang="en-CA" sz="900" b="1" i="0" u="none" strike="noStrike">
                        <a:solidFill>
                          <a:srgbClr val="FFFFFF"/>
                        </a:solidFill>
                        <a:effectLst/>
                        <a:latin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hMerge="1">
                  <a:txBody>
                    <a:bodyPr/>
                    <a:lstStyle/>
                    <a:p>
                      <a:pPr algn="ctr" fontAlgn="ctr"/>
                      <a:endParaRPr lang="en-CA" sz="900" b="1" i="0" u="none" strike="noStrike">
                        <a:solidFill>
                          <a:srgbClr val="FFFFFF"/>
                        </a:solidFill>
                        <a:effectLst/>
                        <a:latin typeface="Arial" panose="020B0604020202020204" pitchFamily="34" charset="0"/>
                      </a:endParaRP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F3557"/>
                    </a:solidFill>
                  </a:tcPr>
                </a:tc>
                <a:extLst>
                  <a:ext uri="{0D108BD9-81ED-4DB2-BD59-A6C34878D82A}">
                    <a16:rowId xmlns:a16="http://schemas.microsoft.com/office/drawing/2014/main" val="3669841600"/>
                  </a:ext>
                </a:extLst>
              </a:tr>
              <a:tr h="368044">
                <a:tc>
                  <a:txBody>
                    <a:bodyPr/>
                    <a:lstStyle/>
                    <a:p>
                      <a:pPr algn="ctr" fontAlgn="ctr"/>
                      <a:r>
                        <a:rPr lang="en-CA" sz="900" b="1" i="0" u="none" strike="noStrike">
                          <a:solidFill>
                            <a:srgbClr val="FFFFFF"/>
                          </a:solidFill>
                          <a:effectLst/>
                          <a:latin typeface="Arial" panose="020B0604020202020204" pitchFamily="34" charset="0"/>
                        </a:rPr>
                        <a:t>Company</a:t>
                      </a:r>
                    </a:p>
                  </a:txBody>
                  <a:tcPr marL="0" marR="0" marT="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a:noFill/>
                    </a:lnB>
                    <a:solidFill>
                      <a:srgbClr val="0F3557"/>
                    </a:solidFill>
                  </a:tcPr>
                </a:tc>
                <a:tc>
                  <a:txBody>
                    <a:bodyPr/>
                    <a:lstStyle/>
                    <a:p>
                      <a:pPr algn="ctr" fontAlgn="ctr"/>
                      <a:r>
                        <a:rPr lang="en-CA" sz="900" b="1" i="0" u="none" strike="noStrike">
                          <a:solidFill>
                            <a:srgbClr val="FFFFFF"/>
                          </a:solidFill>
                          <a:effectLst/>
                          <a:latin typeface="Arial" panose="020B0604020202020204" pitchFamily="34" charset="0"/>
                        </a:rPr>
                        <a:t>Share Price</a:t>
                      </a:r>
                    </a:p>
                  </a:txBody>
                  <a:tcPr marL="0" marR="0" marT="0" marB="0" anchor="ctr">
                    <a:lnL>
                      <a:noFill/>
                    </a:lnL>
                    <a:lnR>
                      <a:noFill/>
                    </a:lnR>
                    <a:lnT w="12700" cap="flat" cmpd="sng" algn="ctr">
                      <a:noFill/>
                      <a:prstDash val="solid"/>
                      <a:round/>
                      <a:headEnd type="none" w="med" len="med"/>
                      <a:tailEnd type="none" w="med" len="med"/>
                    </a:lnT>
                    <a:lnB>
                      <a:noFill/>
                    </a:lnB>
                    <a:solidFill>
                      <a:srgbClr val="0F3557"/>
                    </a:solidFill>
                  </a:tcPr>
                </a:tc>
                <a:tc>
                  <a:txBody>
                    <a:bodyPr/>
                    <a:lstStyle/>
                    <a:p>
                      <a:pPr algn="ctr" fontAlgn="ctr"/>
                      <a:r>
                        <a:rPr lang="en-CA" sz="900" b="1" i="0" u="none" strike="noStrike">
                          <a:solidFill>
                            <a:srgbClr val="FFFFFF"/>
                          </a:solidFill>
                          <a:effectLst/>
                          <a:latin typeface="Arial" panose="020B0604020202020204" pitchFamily="34" charset="0"/>
                        </a:rPr>
                        <a:t>FDSO</a:t>
                      </a:r>
                    </a:p>
                  </a:txBody>
                  <a:tcPr marL="0" marR="0" marT="0" marB="0" anchor="ctr">
                    <a:lnL>
                      <a:noFill/>
                    </a:lnL>
                    <a:lnR>
                      <a:noFill/>
                    </a:lnR>
                    <a:lnT w="12700" cap="flat" cmpd="sng" algn="ctr">
                      <a:noFill/>
                      <a:prstDash val="solid"/>
                      <a:round/>
                      <a:headEnd type="none" w="med" len="med"/>
                      <a:tailEnd type="none" w="med" len="med"/>
                    </a:lnT>
                    <a:lnB>
                      <a:noFill/>
                    </a:lnB>
                    <a:solidFill>
                      <a:srgbClr val="0F3557"/>
                    </a:solidFill>
                  </a:tcPr>
                </a:tc>
                <a:tc>
                  <a:txBody>
                    <a:bodyPr/>
                    <a:lstStyle/>
                    <a:p>
                      <a:pPr algn="ctr" fontAlgn="ctr"/>
                      <a:r>
                        <a:rPr lang="en-CA" sz="900" b="1" i="0" u="none" strike="noStrike">
                          <a:solidFill>
                            <a:srgbClr val="FFFFFF"/>
                          </a:solidFill>
                          <a:effectLst/>
                          <a:latin typeface="Arial" panose="020B0604020202020204" pitchFamily="34" charset="0"/>
                        </a:rPr>
                        <a:t>Mkt Cap</a:t>
                      </a:r>
                    </a:p>
                  </a:txBody>
                  <a:tcPr marL="0" marR="0" marT="0" marB="0" anchor="ctr">
                    <a:lnL>
                      <a:noFill/>
                    </a:lnL>
                    <a:lnR>
                      <a:noFill/>
                    </a:lnR>
                    <a:lnT w="12700" cap="flat" cmpd="sng" algn="ctr">
                      <a:noFill/>
                      <a:prstDash val="solid"/>
                      <a:round/>
                      <a:headEnd type="none" w="med" len="med"/>
                      <a:tailEnd type="none" w="med" len="med"/>
                    </a:lnT>
                    <a:lnB>
                      <a:noFill/>
                    </a:lnB>
                    <a:solidFill>
                      <a:srgbClr val="0F3557"/>
                    </a:solidFill>
                  </a:tcPr>
                </a:tc>
                <a:tc>
                  <a:txBody>
                    <a:bodyPr/>
                    <a:lstStyle/>
                    <a:p>
                      <a:pPr algn="ctr" fontAlgn="ctr"/>
                      <a:r>
                        <a:rPr lang="en-CA" sz="900" b="1" i="0" u="none" strike="noStrike">
                          <a:solidFill>
                            <a:srgbClr val="FFFFFF"/>
                          </a:solidFill>
                          <a:effectLst/>
                          <a:latin typeface="Arial" panose="020B0604020202020204" pitchFamily="34" charset="0"/>
                        </a:rPr>
                        <a:t>Cash</a:t>
                      </a:r>
                    </a:p>
                  </a:txBody>
                  <a:tcPr marL="0" marR="0" marT="0" marB="0" anchor="ctr">
                    <a:lnL>
                      <a:noFill/>
                    </a:lnL>
                    <a:lnR>
                      <a:noFill/>
                    </a:lnR>
                    <a:lnT w="12700" cap="flat" cmpd="sng" algn="ctr">
                      <a:noFill/>
                      <a:prstDash val="solid"/>
                      <a:round/>
                      <a:headEnd type="none" w="med" len="med"/>
                      <a:tailEnd type="none" w="med" len="med"/>
                    </a:lnT>
                    <a:lnB>
                      <a:noFill/>
                    </a:lnB>
                    <a:solidFill>
                      <a:srgbClr val="0F3557"/>
                    </a:solidFill>
                  </a:tcPr>
                </a:tc>
                <a:tc>
                  <a:txBody>
                    <a:bodyPr/>
                    <a:lstStyle/>
                    <a:p>
                      <a:pPr algn="ctr" fontAlgn="ctr"/>
                      <a:r>
                        <a:rPr lang="en-CA" sz="900" b="1" i="0" u="none" strike="noStrike">
                          <a:solidFill>
                            <a:srgbClr val="FFFFFF"/>
                          </a:solidFill>
                          <a:effectLst/>
                          <a:latin typeface="Arial" panose="020B0604020202020204" pitchFamily="34" charset="0"/>
                        </a:rPr>
                        <a:t>Funded Debt</a:t>
                      </a:r>
                    </a:p>
                  </a:txBody>
                  <a:tcPr marL="0" marR="0" marT="0" marB="0" anchor="ctr">
                    <a:lnL>
                      <a:noFill/>
                    </a:lnL>
                    <a:lnR>
                      <a:noFill/>
                    </a:lnR>
                    <a:lnT w="12700" cap="flat" cmpd="sng" algn="ctr">
                      <a:noFill/>
                      <a:prstDash val="solid"/>
                      <a:round/>
                      <a:headEnd type="none" w="med" len="med"/>
                      <a:tailEnd type="none" w="med" len="med"/>
                    </a:lnT>
                    <a:lnB>
                      <a:noFill/>
                    </a:lnB>
                    <a:solidFill>
                      <a:srgbClr val="0F3557"/>
                    </a:solidFill>
                  </a:tcPr>
                </a:tc>
                <a:tc>
                  <a:txBody>
                    <a:bodyPr/>
                    <a:lstStyle/>
                    <a:p>
                      <a:pPr algn="ctr" fontAlgn="ctr"/>
                      <a:r>
                        <a:rPr lang="en-CA" sz="900" b="1" i="0" u="none" strike="noStrike">
                          <a:solidFill>
                            <a:srgbClr val="FFFFFF"/>
                          </a:solidFill>
                          <a:effectLst/>
                          <a:latin typeface="Arial" panose="020B0604020202020204" pitchFamily="34" charset="0"/>
                        </a:rPr>
                        <a:t>EV</a:t>
                      </a:r>
                    </a:p>
                  </a:txBody>
                  <a:tcPr marL="0" marR="0" marT="0" marB="0" anchor="ctr">
                    <a:lnL>
                      <a:noFill/>
                    </a:lnL>
                    <a:lnR>
                      <a:noFill/>
                    </a:lnR>
                    <a:lnT w="12700" cap="flat" cmpd="sng" algn="ctr">
                      <a:noFill/>
                      <a:prstDash val="solid"/>
                      <a:round/>
                      <a:headEnd type="none" w="med" len="med"/>
                      <a:tailEnd type="none" w="med" len="med"/>
                    </a:lnT>
                    <a:lnB>
                      <a:noFill/>
                    </a:lnB>
                    <a:solidFill>
                      <a:srgbClr val="0F3557"/>
                    </a:solidFill>
                  </a:tcPr>
                </a:tc>
                <a:tc>
                  <a:txBody>
                    <a:bodyPr/>
                    <a:lstStyle/>
                    <a:p>
                      <a:pPr algn="ctr" fontAlgn="ctr"/>
                      <a:r>
                        <a:rPr lang="en-CA" sz="900" b="1" i="0" u="none" strike="noStrike">
                          <a:solidFill>
                            <a:srgbClr val="FFFFFF"/>
                          </a:solidFill>
                          <a:effectLst/>
                          <a:latin typeface="Arial" panose="020B0604020202020204" pitchFamily="34" charset="0"/>
                        </a:rPr>
                        <a:t>LTM Revenue</a:t>
                      </a:r>
                    </a:p>
                  </a:txBody>
                  <a:tcPr marL="0" marR="0" marT="0" marB="0" anchor="ctr">
                    <a:lnL>
                      <a:noFill/>
                    </a:lnL>
                    <a:lnR>
                      <a:noFill/>
                    </a:lnR>
                    <a:lnT w="12700" cap="flat" cmpd="sng" algn="ctr">
                      <a:noFill/>
                      <a:prstDash val="solid"/>
                      <a:round/>
                      <a:headEnd type="none" w="med" len="med"/>
                      <a:tailEnd type="none" w="med" len="med"/>
                    </a:lnT>
                    <a:lnB>
                      <a:noFill/>
                    </a:lnB>
                    <a:solidFill>
                      <a:srgbClr val="0F3557"/>
                    </a:solidFill>
                  </a:tcPr>
                </a:tc>
                <a:tc>
                  <a:txBody>
                    <a:bodyPr/>
                    <a:lstStyle/>
                    <a:p>
                      <a:pPr algn="ctr" fontAlgn="ctr"/>
                      <a:r>
                        <a:rPr lang="en-CA" sz="900" b="1" i="0" u="none" strike="noStrike">
                          <a:solidFill>
                            <a:srgbClr val="FFFFFF"/>
                          </a:solidFill>
                          <a:effectLst/>
                          <a:latin typeface="Arial" panose="020B0604020202020204" pitchFamily="34" charset="0"/>
                        </a:rPr>
                        <a:t>Gross Profit</a:t>
                      </a:r>
                    </a:p>
                  </a:txBody>
                  <a:tcPr marL="0" marR="0" marT="0" marB="0" anchor="ctr">
                    <a:lnL>
                      <a:noFill/>
                    </a:lnL>
                    <a:lnR>
                      <a:noFill/>
                    </a:lnR>
                    <a:lnT w="12700" cap="flat" cmpd="sng" algn="ctr">
                      <a:noFill/>
                      <a:prstDash val="solid"/>
                      <a:round/>
                      <a:headEnd type="none" w="med" len="med"/>
                      <a:tailEnd type="none" w="med" len="med"/>
                    </a:lnT>
                    <a:lnB>
                      <a:noFill/>
                    </a:lnB>
                    <a:solidFill>
                      <a:srgbClr val="0F3557"/>
                    </a:solidFill>
                  </a:tcPr>
                </a:tc>
                <a:tc>
                  <a:txBody>
                    <a:bodyPr/>
                    <a:lstStyle/>
                    <a:p>
                      <a:pPr algn="ctr" fontAlgn="ctr"/>
                      <a:r>
                        <a:rPr lang="en-CA" sz="900" b="1" i="0" u="none" strike="noStrike">
                          <a:solidFill>
                            <a:srgbClr val="FFFFFF"/>
                          </a:solidFill>
                          <a:effectLst/>
                          <a:latin typeface="Arial" panose="020B0604020202020204" pitchFamily="34" charset="0"/>
                        </a:rPr>
                        <a:t>LTM EPS</a:t>
                      </a:r>
                    </a:p>
                  </a:txBody>
                  <a:tcPr marL="0" marR="0" marT="0" marB="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solidFill>
                      <a:srgbClr val="0F3557"/>
                    </a:solidFill>
                  </a:tcPr>
                </a:tc>
                <a:extLst>
                  <a:ext uri="{0D108BD9-81ED-4DB2-BD59-A6C34878D82A}">
                    <a16:rowId xmlns:a16="http://schemas.microsoft.com/office/drawing/2014/main" val="3736644962"/>
                  </a:ext>
                </a:extLst>
              </a:tr>
              <a:tr h="293718">
                <a:tc>
                  <a:txBody>
                    <a:bodyPr/>
                    <a:lstStyle/>
                    <a:p>
                      <a:pPr algn="ctr" fontAlgn="b"/>
                      <a:r>
                        <a:rPr lang="en-CA" sz="900" b="0" i="0" u="none" strike="noStrike">
                          <a:solidFill>
                            <a:srgbClr val="000000"/>
                          </a:solidFill>
                          <a:effectLst/>
                          <a:latin typeface="Arial" panose="020B0604020202020204" pitchFamily="34" charset="0"/>
                        </a:rPr>
                        <a:t>PayPal, Inc. (NASDAQ: PYPL)</a:t>
                      </a:r>
                    </a:p>
                  </a:txBody>
                  <a:tcPr marL="0" marR="0" marT="0"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78.62</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989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77,771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0,822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1,857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78,806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31,797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2,890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 $         3.99 </a:t>
                      </a:r>
                    </a:p>
                  </a:txBody>
                  <a:tcPr marL="0" marR="0" marT="0" marB="0" anchor="ctr">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4211595123"/>
                  </a:ext>
                </a:extLst>
              </a:tr>
              <a:tr h="293718">
                <a:tc>
                  <a:txBody>
                    <a:bodyPr/>
                    <a:lstStyle/>
                    <a:p>
                      <a:pPr algn="ctr" fontAlgn="b"/>
                      <a:r>
                        <a:rPr lang="en-CA" sz="900" b="0" i="0" u="none" strike="noStrike">
                          <a:solidFill>
                            <a:srgbClr val="000000"/>
                          </a:solidFill>
                          <a:effectLst/>
                          <a:latin typeface="Arial" panose="020B0604020202020204" pitchFamily="34" charset="0"/>
                        </a:rPr>
                        <a:t>Shopify (NYSE: SHOP)</a:t>
                      </a:r>
                    </a:p>
                  </a:txBody>
                  <a:tcPr marL="0" marR="0" marT="0"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29.31</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295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67,431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5,514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126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63,043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880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4,472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 $         1.55 </a:t>
                      </a:r>
                    </a:p>
                  </a:txBody>
                  <a:tcPr marL="0" marR="0" marT="0" marB="0" anchor="ctr">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226256945"/>
                  </a:ext>
                </a:extLst>
              </a:tr>
              <a:tr h="293718">
                <a:tc>
                  <a:txBody>
                    <a:bodyPr/>
                    <a:lstStyle/>
                    <a:p>
                      <a:pPr algn="ctr" fontAlgn="b"/>
                      <a:r>
                        <a:rPr lang="en-CA" sz="900" b="0" i="0" u="none" strike="noStrike">
                          <a:solidFill>
                            <a:srgbClr val="000000"/>
                          </a:solidFill>
                          <a:effectLst/>
                          <a:latin typeface="Arial" panose="020B0604020202020204" pitchFamily="34" charset="0"/>
                        </a:rPr>
                        <a:t>Block, Inc. (NYSE: XYZ)</a:t>
                      </a:r>
                    </a:p>
                  </a:txBody>
                  <a:tcPr marL="0" marR="0" marT="0"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4.18</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569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47,873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862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7,409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46,420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23,862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674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 $         1.66 </a:t>
                      </a:r>
                    </a:p>
                  </a:txBody>
                  <a:tcPr marL="0" marR="0" marT="0" marB="0" anchor="ctr">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342189524"/>
                  </a:ext>
                </a:extLst>
              </a:tr>
              <a:tr h="293718">
                <a:tc>
                  <a:txBody>
                    <a:bodyPr/>
                    <a:lstStyle/>
                    <a:p>
                      <a:pPr algn="ctr" fontAlgn="b"/>
                      <a:r>
                        <a:rPr lang="en-CA" sz="900" b="0" i="0" u="none" strike="noStrike">
                          <a:solidFill>
                            <a:srgbClr val="000000"/>
                          </a:solidFill>
                          <a:effectLst/>
                          <a:latin typeface="Arial" panose="020B0604020202020204" pitchFamily="34" charset="0"/>
                        </a:rPr>
                        <a:t>Toast, Inc. (NYSE: TOST)</a:t>
                      </a:r>
                    </a:p>
                  </a:txBody>
                  <a:tcPr marL="0" marR="0" marT="0"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40.49</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568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22,998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272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38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21,764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4,658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088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 $       (0.09)</a:t>
                      </a:r>
                    </a:p>
                  </a:txBody>
                  <a:tcPr marL="0" marR="0" marT="0" marB="0" anchor="ctr">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739098690"/>
                  </a:ext>
                </a:extLst>
              </a:tr>
              <a:tr h="293718">
                <a:tc>
                  <a:txBody>
                    <a:bodyPr/>
                    <a:lstStyle/>
                    <a:p>
                      <a:pPr algn="ctr" fontAlgn="b"/>
                      <a:r>
                        <a:rPr lang="en-CA" sz="900" b="0" i="0" u="none" strike="noStrike">
                          <a:solidFill>
                            <a:srgbClr val="000000"/>
                          </a:solidFill>
                          <a:effectLst/>
                          <a:latin typeface="Arial" panose="020B0604020202020204" pitchFamily="34" charset="0"/>
                        </a:rPr>
                        <a:t>Affirm Holdings, Inc. (NASDAQ: AFRM)</a:t>
                      </a:r>
                    </a:p>
                  </a:txBody>
                  <a:tcPr marL="0" marR="0" marT="0"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80.69</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318 </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25,667 </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240 </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7,496 </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31,924 </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2,800 </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245 </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 $       (0.63)</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81988790"/>
                  </a:ext>
                </a:extLst>
              </a:tr>
            </a:tbl>
          </a:graphicData>
        </a:graphic>
      </p:graphicFrame>
      <p:graphicFrame>
        <p:nvGraphicFramePr>
          <p:cNvPr id="15" name="Table 14">
            <a:extLst>
              <a:ext uri="{FF2B5EF4-FFF2-40B4-BE49-F238E27FC236}">
                <a16:creationId xmlns:a16="http://schemas.microsoft.com/office/drawing/2014/main" id="{8C0CA367-0A37-EC20-3338-02F1528718D9}"/>
              </a:ext>
            </a:extLst>
          </p:cNvPr>
          <p:cNvGraphicFramePr>
            <a:graphicFrameLocks noGrp="1"/>
          </p:cNvGraphicFramePr>
          <p:nvPr>
            <p:extLst>
              <p:ext uri="{D42A27DB-BD31-4B8C-83A1-F6EECF244321}">
                <p14:modId xmlns:p14="http://schemas.microsoft.com/office/powerpoint/2010/main" val="4175729967"/>
              </p:ext>
            </p:extLst>
          </p:nvPr>
        </p:nvGraphicFramePr>
        <p:xfrm>
          <a:off x="250770" y="3593941"/>
          <a:ext cx="8642350" cy="2596576"/>
        </p:xfrm>
        <a:graphic>
          <a:graphicData uri="http://schemas.openxmlformats.org/drawingml/2006/table">
            <a:tbl>
              <a:tblPr/>
              <a:tblGrid>
                <a:gridCol w="2076141">
                  <a:extLst>
                    <a:ext uri="{9D8B030D-6E8A-4147-A177-3AD203B41FA5}">
                      <a16:colId xmlns:a16="http://schemas.microsoft.com/office/drawing/2014/main" val="847877560"/>
                    </a:ext>
                  </a:extLst>
                </a:gridCol>
                <a:gridCol w="757957">
                  <a:extLst>
                    <a:ext uri="{9D8B030D-6E8A-4147-A177-3AD203B41FA5}">
                      <a16:colId xmlns:a16="http://schemas.microsoft.com/office/drawing/2014/main" val="338006121"/>
                    </a:ext>
                  </a:extLst>
                </a:gridCol>
                <a:gridCol w="1359378">
                  <a:extLst>
                    <a:ext uri="{9D8B030D-6E8A-4147-A177-3AD203B41FA5}">
                      <a16:colId xmlns:a16="http://schemas.microsoft.com/office/drawing/2014/main" val="358149195"/>
                    </a:ext>
                  </a:extLst>
                </a:gridCol>
                <a:gridCol w="716763">
                  <a:extLst>
                    <a:ext uri="{9D8B030D-6E8A-4147-A177-3AD203B41FA5}">
                      <a16:colId xmlns:a16="http://schemas.microsoft.com/office/drawing/2014/main" val="1339082013"/>
                    </a:ext>
                  </a:extLst>
                </a:gridCol>
                <a:gridCol w="865059">
                  <a:extLst>
                    <a:ext uri="{9D8B030D-6E8A-4147-A177-3AD203B41FA5}">
                      <a16:colId xmlns:a16="http://schemas.microsoft.com/office/drawing/2014/main" val="4065014617"/>
                    </a:ext>
                  </a:extLst>
                </a:gridCol>
                <a:gridCol w="716763">
                  <a:extLst>
                    <a:ext uri="{9D8B030D-6E8A-4147-A177-3AD203B41FA5}">
                      <a16:colId xmlns:a16="http://schemas.microsoft.com/office/drawing/2014/main" val="3888616190"/>
                    </a:ext>
                  </a:extLst>
                </a:gridCol>
                <a:gridCol w="716763">
                  <a:extLst>
                    <a:ext uri="{9D8B030D-6E8A-4147-A177-3AD203B41FA5}">
                      <a16:colId xmlns:a16="http://schemas.microsoft.com/office/drawing/2014/main" val="2194056720"/>
                    </a:ext>
                  </a:extLst>
                </a:gridCol>
                <a:gridCol w="716763">
                  <a:extLst>
                    <a:ext uri="{9D8B030D-6E8A-4147-A177-3AD203B41FA5}">
                      <a16:colId xmlns:a16="http://schemas.microsoft.com/office/drawing/2014/main" val="241023021"/>
                    </a:ext>
                  </a:extLst>
                </a:gridCol>
                <a:gridCol w="716763">
                  <a:extLst>
                    <a:ext uri="{9D8B030D-6E8A-4147-A177-3AD203B41FA5}">
                      <a16:colId xmlns:a16="http://schemas.microsoft.com/office/drawing/2014/main" val="2548465107"/>
                    </a:ext>
                  </a:extLst>
                </a:gridCol>
              </a:tblGrid>
              <a:tr h="367200">
                <a:tc>
                  <a:txBody>
                    <a:bodyPr/>
                    <a:lstStyle/>
                    <a:p>
                      <a:pPr algn="ctr" fontAlgn="ctr"/>
                      <a:endParaRPr lang="en-CA" sz="900" b="1" i="0" u="none" strike="noStrike">
                        <a:solidFill>
                          <a:srgbClr val="FFFFFF"/>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0F3557"/>
                    </a:solidFill>
                  </a:tcPr>
                </a:tc>
                <a:tc gridSpan="8">
                  <a:txBody>
                    <a:bodyPr/>
                    <a:lstStyle/>
                    <a:p>
                      <a:pPr algn="ctr" fontAlgn="b"/>
                      <a:r>
                        <a:rPr lang="en-CA" sz="900" b="1" i="0" u="none" strike="noStrike">
                          <a:solidFill>
                            <a:srgbClr val="FFFFFF"/>
                          </a:solidFill>
                          <a:effectLst/>
                          <a:latin typeface="Arial" panose="020B0604020202020204" pitchFamily="34" charset="0"/>
                          <a:cs typeface="Arial" panose="020B0604020202020204" pitchFamily="34" charset="0"/>
                        </a:rPr>
                        <a:t>Forward and Estimates</a:t>
                      </a:r>
                    </a:p>
                  </a:txBody>
                  <a:tcPr marL="0" marR="0" marT="0" marB="0" anchor="ctr">
                    <a:lnL>
                      <a:noFill/>
                    </a:lnL>
                    <a:lnR w="12700" cap="flat" cmpd="sng" algn="ctr">
                      <a:solidFill>
                        <a:schemeClr val="tx1"/>
                      </a:solidFill>
                      <a:prstDash val="solid"/>
                      <a:round/>
                      <a:headEnd type="none" w="med" len="med"/>
                      <a:tailEnd type="none" w="med" len="med"/>
                    </a:lnR>
                    <a:lnT>
                      <a:noFill/>
                    </a:lnT>
                    <a:lnB>
                      <a:noFill/>
                    </a:lnB>
                    <a:solidFill>
                      <a:srgbClr val="0F3557"/>
                    </a:solidFill>
                  </a:tcPr>
                </a:tc>
                <a:tc hMerge="1">
                  <a:txBody>
                    <a:bodyPr/>
                    <a:lstStyle/>
                    <a:p>
                      <a:pPr algn="ctr" fontAlgn="b"/>
                      <a:endParaRPr lang="en-CA" sz="900" b="1" i="0" u="none" strike="noStrike">
                        <a:solidFill>
                          <a:srgbClr val="FFFFFF"/>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0F3557"/>
                    </a:solidFill>
                  </a:tcPr>
                </a:tc>
                <a:tc hMerge="1">
                  <a:txBody>
                    <a:bodyPr/>
                    <a:lstStyle/>
                    <a:p>
                      <a:pPr algn="ctr" fontAlgn="b"/>
                      <a:endParaRPr lang="en-CA" sz="900" b="1" i="0" u="none" strike="noStrike">
                        <a:solidFill>
                          <a:srgbClr val="FFFFFF"/>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0F3557"/>
                    </a:solidFill>
                  </a:tcPr>
                </a:tc>
                <a:tc hMerge="1">
                  <a:txBody>
                    <a:bodyPr/>
                    <a:lstStyle/>
                    <a:p>
                      <a:pPr algn="ctr" fontAlgn="b"/>
                      <a:endParaRPr lang="en-CA" sz="900" b="1" i="0" u="none" strike="noStrike">
                        <a:solidFill>
                          <a:srgbClr val="FFFFFF"/>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0F3557"/>
                    </a:solidFill>
                  </a:tcPr>
                </a:tc>
                <a:tc hMerge="1">
                  <a:txBody>
                    <a:bodyPr/>
                    <a:lstStyle/>
                    <a:p>
                      <a:pPr algn="ctr" fontAlgn="b"/>
                      <a:endParaRPr lang="en-CA" sz="900" b="1" i="0" u="none" strike="noStrike">
                        <a:solidFill>
                          <a:srgbClr val="FFFFFF"/>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0F3557"/>
                    </a:solidFill>
                  </a:tcPr>
                </a:tc>
                <a:tc hMerge="1">
                  <a:txBody>
                    <a:bodyPr/>
                    <a:lstStyle/>
                    <a:p>
                      <a:pPr algn="ctr" fontAlgn="b"/>
                      <a:endParaRPr lang="en-CA" sz="900" b="1" i="0" u="none" strike="noStrike">
                        <a:solidFill>
                          <a:srgbClr val="FFFFFF"/>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0F3557"/>
                    </a:solidFill>
                  </a:tcPr>
                </a:tc>
                <a:tc hMerge="1">
                  <a:txBody>
                    <a:bodyPr/>
                    <a:lstStyle/>
                    <a:p>
                      <a:pPr algn="ctr" fontAlgn="b"/>
                      <a:endParaRPr lang="en-CA" sz="900" b="1" i="0" u="none" strike="noStrike">
                        <a:solidFill>
                          <a:srgbClr val="FFFFFF"/>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0F3557"/>
                    </a:solidFill>
                  </a:tcPr>
                </a:tc>
                <a:tc hMerge="1">
                  <a:txBody>
                    <a:bodyPr/>
                    <a:lstStyle/>
                    <a:p>
                      <a:pPr algn="ctr" fontAlgn="b"/>
                      <a:endParaRPr lang="en-CA" sz="900" b="1" i="0" u="none" strike="noStrike">
                        <a:solidFill>
                          <a:srgbClr val="FFFFFF"/>
                        </a:solidFill>
                        <a:effectLst/>
                        <a:latin typeface="Arial" panose="020B0604020202020204" pitchFamily="34" charset="0"/>
                        <a:cs typeface="Arial" panose="020B0604020202020204" pitchFamily="34" charset="0"/>
                      </a:endParaRPr>
                    </a:p>
                  </a:txBody>
                  <a:tcPr marL="0" marR="0" marT="0" marB="0" anchor="b">
                    <a:lnL>
                      <a:noFill/>
                    </a:lnL>
                    <a:lnR w="12700" cap="flat" cmpd="sng" algn="ctr">
                      <a:solidFill>
                        <a:schemeClr val="tx1"/>
                      </a:solidFill>
                      <a:prstDash val="solid"/>
                      <a:round/>
                      <a:headEnd type="none" w="med" len="med"/>
                      <a:tailEnd type="none" w="med" len="med"/>
                    </a:lnR>
                    <a:lnT>
                      <a:noFill/>
                    </a:lnT>
                    <a:lnB>
                      <a:noFill/>
                    </a:lnB>
                    <a:solidFill>
                      <a:srgbClr val="0F3557"/>
                    </a:solidFill>
                  </a:tcPr>
                </a:tc>
                <a:extLst>
                  <a:ext uri="{0D108BD9-81ED-4DB2-BD59-A6C34878D82A}">
                    <a16:rowId xmlns:a16="http://schemas.microsoft.com/office/drawing/2014/main" val="2424977800"/>
                  </a:ext>
                </a:extLst>
              </a:tr>
              <a:tr h="367200">
                <a:tc>
                  <a:txBody>
                    <a:bodyPr/>
                    <a:lstStyle/>
                    <a:p>
                      <a:pPr algn="ctr" fontAlgn="ctr"/>
                      <a:r>
                        <a:rPr lang="en-CA" sz="900" b="1" i="0" u="none" strike="noStrike">
                          <a:solidFill>
                            <a:srgbClr val="FFFFFF"/>
                          </a:solidFill>
                          <a:effectLst/>
                          <a:latin typeface="Arial" panose="020B0604020202020204" pitchFamily="34" charset="0"/>
                          <a:cs typeface="Arial" panose="020B0604020202020204" pitchFamily="34" charset="0"/>
                        </a:rPr>
                        <a:t>Company</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cs typeface="Arial" panose="020B0604020202020204" pitchFamily="34" charset="0"/>
                        </a:rPr>
                        <a:t>2026 GP</a:t>
                      </a:r>
                    </a:p>
                  </a:txBody>
                  <a:tcPr marL="0" marR="0" marT="0" marB="0" anchor="ctr">
                    <a:lnL>
                      <a:noFill/>
                    </a:lnL>
                    <a:lnR>
                      <a:noFill/>
                    </a:lnR>
                    <a:lnT>
                      <a:noFill/>
                    </a:lnT>
                    <a:lnB>
                      <a:noFill/>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cs typeface="Arial" panose="020B0604020202020204" pitchFamily="34" charset="0"/>
                        </a:rPr>
                        <a:t>2026 Sales</a:t>
                      </a:r>
                    </a:p>
                  </a:txBody>
                  <a:tcPr marL="0" marR="0" marT="0" marB="0" anchor="ctr">
                    <a:lnL>
                      <a:noFill/>
                    </a:lnL>
                    <a:lnR>
                      <a:noFill/>
                    </a:lnR>
                    <a:lnT>
                      <a:noFill/>
                    </a:lnT>
                    <a:lnB>
                      <a:noFill/>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cs typeface="Arial" panose="020B0604020202020204" pitchFamily="34" charset="0"/>
                        </a:rPr>
                        <a:t>2026 FCF</a:t>
                      </a:r>
                    </a:p>
                  </a:txBody>
                  <a:tcPr marL="0" marR="0" marT="0" marB="0" anchor="ctr">
                    <a:lnL>
                      <a:noFill/>
                    </a:lnL>
                    <a:lnR>
                      <a:noFill/>
                    </a:lnR>
                    <a:lnT>
                      <a:noFill/>
                    </a:lnT>
                    <a:lnB>
                      <a:noFill/>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cs typeface="Arial" panose="020B0604020202020204" pitchFamily="34" charset="0"/>
                        </a:rPr>
                        <a:t>EV/ '26 Sales</a:t>
                      </a:r>
                    </a:p>
                  </a:txBody>
                  <a:tcPr marL="0" marR="0" marT="0" marB="0" anchor="ctr">
                    <a:lnL>
                      <a:noFill/>
                    </a:lnL>
                    <a:lnR>
                      <a:noFill/>
                    </a:lnR>
                    <a:lnT>
                      <a:noFill/>
                    </a:lnT>
                    <a:lnB>
                      <a:noFill/>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cs typeface="Arial" panose="020B0604020202020204" pitchFamily="34" charset="0"/>
                        </a:rPr>
                        <a:t>P/'26 Sales</a:t>
                      </a:r>
                    </a:p>
                  </a:txBody>
                  <a:tcPr marL="0" marR="0" marT="0" marB="0" anchor="ctr">
                    <a:lnL>
                      <a:noFill/>
                    </a:lnL>
                    <a:lnR>
                      <a:noFill/>
                    </a:lnR>
                    <a:lnT>
                      <a:noFill/>
                    </a:lnT>
                    <a:lnB>
                      <a:noFill/>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cs typeface="Arial" panose="020B0604020202020204" pitchFamily="34" charset="0"/>
                        </a:rPr>
                        <a:t>EV/ '26 FCF</a:t>
                      </a:r>
                    </a:p>
                  </a:txBody>
                  <a:tcPr marL="0" marR="0" marT="0" marB="0" anchor="ctr">
                    <a:lnL>
                      <a:noFill/>
                    </a:lnL>
                    <a:lnR>
                      <a:noFill/>
                    </a:lnR>
                    <a:lnT>
                      <a:noFill/>
                    </a:lnT>
                    <a:lnB>
                      <a:noFill/>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cs typeface="Arial" panose="020B0604020202020204" pitchFamily="34" charset="0"/>
                        </a:rPr>
                        <a:t>EV/'26 GP</a:t>
                      </a:r>
                    </a:p>
                  </a:txBody>
                  <a:tcPr marL="0" marR="0" marT="0" marB="0" anchor="ctr">
                    <a:lnL>
                      <a:noFill/>
                    </a:lnL>
                    <a:lnR>
                      <a:noFill/>
                    </a:lnR>
                    <a:lnT>
                      <a:noFill/>
                    </a:lnT>
                    <a:lnB>
                      <a:noFill/>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cs typeface="Arial" panose="020B0604020202020204" pitchFamily="34" charset="0"/>
                        </a:rPr>
                        <a:t>Weight</a:t>
                      </a:r>
                    </a:p>
                  </a:txBody>
                  <a:tcPr marL="0" marR="0" marT="0" marB="0" anchor="ctr">
                    <a:lnL>
                      <a:noFill/>
                    </a:lnL>
                    <a:lnR w="12700" cap="flat" cmpd="sng" algn="ctr">
                      <a:solidFill>
                        <a:schemeClr val="tx1"/>
                      </a:solidFill>
                      <a:prstDash val="solid"/>
                      <a:round/>
                      <a:headEnd type="none" w="med" len="med"/>
                      <a:tailEnd type="none" w="med" len="med"/>
                    </a:lnR>
                    <a:lnT>
                      <a:noFill/>
                    </a:lnT>
                    <a:lnB>
                      <a:noFill/>
                    </a:lnB>
                    <a:solidFill>
                      <a:srgbClr val="0F3557"/>
                    </a:solidFill>
                  </a:tcPr>
                </a:tc>
                <a:extLst>
                  <a:ext uri="{0D108BD9-81ED-4DB2-BD59-A6C34878D82A}">
                    <a16:rowId xmlns:a16="http://schemas.microsoft.com/office/drawing/2014/main" val="1225433880"/>
                  </a:ext>
                </a:extLst>
              </a:tr>
              <a:tr h="232772">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PayPal, Inc. (NASDAQ: PYPL)</a:t>
                      </a:r>
                    </a:p>
                  </a:txBody>
                  <a:tcPr marL="0" marR="0" marT="0"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5,824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35,621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7,405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2.21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2.18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0.64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4.98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480894688"/>
                  </a:ext>
                </a:extLst>
              </a:tr>
              <a:tr h="232772">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Shopify (NYSE: SHOP)</a:t>
                      </a:r>
                    </a:p>
                  </a:txBody>
                  <a:tcPr marL="0" marR="0" marT="0"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6,548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3,054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2,499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2.49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2.83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65.26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24.90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20%</a:t>
                      </a:r>
                    </a:p>
                  </a:txBody>
                  <a:tcPr marL="0" marR="0" marT="0" marB="0" anchor="ctr">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675201078"/>
                  </a:ext>
                </a:extLst>
              </a:tr>
              <a:tr h="232772">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Block, Inc. (NYSE: XYZ)</a:t>
                      </a:r>
                    </a:p>
                  </a:txBody>
                  <a:tcPr marL="0" marR="0" marT="0"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1,617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30,149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3,450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54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59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3.46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4.00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2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95288231"/>
                  </a:ext>
                </a:extLst>
              </a:tr>
              <a:tr h="232772">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Toast, Inc. (NYSE: TOST)</a:t>
                      </a:r>
                    </a:p>
                  </a:txBody>
                  <a:tcPr marL="0" marR="0" marT="0"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2,012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7,304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619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2.98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3.15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35.16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0.82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30%</a:t>
                      </a:r>
                    </a:p>
                  </a:txBody>
                  <a:tcPr marL="0" marR="0" marT="0" marB="0" anchor="ctr">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47524141"/>
                  </a:ext>
                </a:extLst>
              </a:tr>
              <a:tr h="232772">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Affirm Holdings, Inc. (NASDAQ: AFRM)</a:t>
                      </a:r>
                    </a:p>
                  </a:txBody>
                  <a:tcPr marL="0" marR="0" marT="0"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743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3,788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283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8.43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6.78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24.89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8.31x</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0%</a:t>
                      </a:r>
                    </a:p>
                  </a:txBody>
                  <a:tcPr marL="0" marR="0" marT="0" marB="0" anchor="ctr">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777802139"/>
                  </a:ext>
                </a:extLst>
              </a:tr>
              <a:tr h="232772">
                <a:tc>
                  <a:txBody>
                    <a:bodyPr/>
                    <a:lstStyle/>
                    <a:p>
                      <a:pPr algn="ctr" fontAlgn="b"/>
                      <a:r>
                        <a:rPr lang="en-CA" sz="900" b="1" i="0" u="none" strike="noStrike">
                          <a:solidFill>
                            <a:srgbClr val="000000"/>
                          </a:solidFill>
                          <a:effectLst/>
                          <a:latin typeface="Arial" panose="020B0604020202020204" pitchFamily="34" charset="0"/>
                          <a:cs typeface="Arial" panose="020B0604020202020204" pitchFamily="34" charset="0"/>
                        </a:rPr>
                        <a:t>Lightspeed Commerce (NYSE: LSPD)</a:t>
                      </a:r>
                    </a:p>
                  </a:txBody>
                  <a:tcPr marL="0" marR="0" marT="0" marB="0" anchor="ctr">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b"/>
                      <a:r>
                        <a:rPr lang="en-CA" sz="900" b="1" i="0" u="none" strike="noStrike">
                          <a:solidFill>
                            <a:srgbClr val="000000"/>
                          </a:solidFill>
                          <a:effectLst/>
                          <a:latin typeface="Arial" panose="020B0604020202020204" pitchFamily="34" charset="0"/>
                          <a:cs typeface="Arial" panose="020B0604020202020204" pitchFamily="34" charset="0"/>
                        </a:rPr>
                        <a:t>56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b"/>
                      <a:r>
                        <a:rPr lang="en-CA" sz="900" b="1" i="0" u="none" strike="noStrike">
                          <a:solidFill>
                            <a:srgbClr val="000000"/>
                          </a:solidFill>
                          <a:effectLst/>
                          <a:latin typeface="Arial" panose="020B0604020202020204" pitchFamily="34" charset="0"/>
                          <a:cs typeface="Arial" panose="020B0604020202020204" pitchFamily="34" charset="0"/>
                        </a:rPr>
                        <a:t>1,294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b"/>
                      <a:r>
                        <a:rPr lang="en-CA" sz="900" b="1" i="0" u="none" strike="noStrike">
                          <a:solidFill>
                            <a:srgbClr val="000000"/>
                          </a:solidFill>
                          <a:effectLst/>
                          <a:latin typeface="Arial" panose="020B0604020202020204" pitchFamily="34" charset="0"/>
                          <a:cs typeface="Arial" panose="020B0604020202020204" pitchFamily="34" charset="0"/>
                        </a:rPr>
                        <a:t>64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b"/>
                      <a:r>
                        <a:rPr lang="en-CA" sz="900" b="1" i="0" u="none" strike="noStrike">
                          <a:solidFill>
                            <a:srgbClr val="000000"/>
                          </a:solidFill>
                          <a:effectLst/>
                          <a:latin typeface="Arial" panose="020B0604020202020204" pitchFamily="34" charset="0"/>
                          <a:cs typeface="Arial" panose="020B0604020202020204" pitchFamily="34" charset="0"/>
                        </a:rPr>
                        <a:t>1.26x</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b"/>
                      <a:r>
                        <a:rPr lang="en-CA" sz="900" b="1" i="0" u="none" strike="noStrike">
                          <a:solidFill>
                            <a:srgbClr val="000000"/>
                          </a:solidFill>
                          <a:effectLst/>
                          <a:latin typeface="Arial" panose="020B0604020202020204" pitchFamily="34" charset="0"/>
                          <a:cs typeface="Arial" panose="020B0604020202020204" pitchFamily="34" charset="0"/>
                        </a:rPr>
                        <a:t>1.76x</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b"/>
                      <a:r>
                        <a:rPr lang="en-CA" sz="900" b="1" i="0" u="none" strike="noStrike">
                          <a:solidFill>
                            <a:srgbClr val="000000"/>
                          </a:solidFill>
                          <a:effectLst/>
                          <a:latin typeface="Arial" panose="020B0604020202020204" pitchFamily="34" charset="0"/>
                          <a:cs typeface="Arial" panose="020B0604020202020204" pitchFamily="34" charset="0"/>
                        </a:rPr>
                        <a:t>24.78x</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b"/>
                      <a:r>
                        <a:rPr lang="en-CA" sz="900" b="1" i="0" u="none" strike="noStrike">
                          <a:solidFill>
                            <a:srgbClr val="000000"/>
                          </a:solidFill>
                          <a:effectLst/>
                          <a:latin typeface="Arial" panose="020B0604020202020204" pitchFamily="34" charset="0"/>
                          <a:cs typeface="Arial" panose="020B0604020202020204" pitchFamily="34" charset="0"/>
                        </a:rPr>
                        <a:t>2.79x</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b"/>
                      <a:endParaRPr lang="en-CA" sz="900" b="1" i="0" u="none" strike="noStrike">
                        <a:solidFill>
                          <a:srgbClr val="FFFFFF"/>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675107171"/>
                  </a:ext>
                </a:extLst>
              </a:tr>
              <a:tr h="232772">
                <a:tc>
                  <a:txBody>
                    <a:bodyPr/>
                    <a:lstStyle/>
                    <a:p>
                      <a:pPr algn="l" fontAlgn="b"/>
                      <a:r>
                        <a:rPr lang="en-CA" sz="900" b="0" i="0" u="none" strike="noStrike">
                          <a:solidFill>
                            <a:srgbClr val="000000"/>
                          </a:solidFill>
                          <a:effectLst/>
                          <a:latin typeface="Arial" panose="020B0604020202020204" pitchFamily="34" charset="0"/>
                          <a:cs typeface="Arial" panose="020B0604020202020204" pitchFamily="34" charset="0"/>
                        </a:rPr>
                        <a:t>Median (excluding LSPD)</a:t>
                      </a:r>
                    </a:p>
                  </a:txBody>
                  <a:tcPr marL="0" marR="0" marT="0"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6,548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3,054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2,499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2.98x</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3.15x</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24.89x</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0.82x</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 </a:t>
                      </a:r>
                    </a:p>
                  </a:txBody>
                  <a:tcPr marL="0" marR="0" marT="0"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230429653"/>
                  </a:ext>
                </a:extLst>
              </a:tr>
              <a:tr h="232772">
                <a:tc>
                  <a:txBody>
                    <a:bodyPr/>
                    <a:lstStyle/>
                    <a:p>
                      <a:pPr algn="l" fontAlgn="b"/>
                      <a:r>
                        <a:rPr lang="en-CA" sz="900" b="0" i="0" u="none" strike="noStrike">
                          <a:solidFill>
                            <a:srgbClr val="000000"/>
                          </a:solidFill>
                          <a:effectLst/>
                          <a:latin typeface="Arial" panose="020B0604020202020204" pitchFamily="34" charset="0"/>
                          <a:cs typeface="Arial" panose="020B0604020202020204" pitchFamily="34" charset="0"/>
                        </a:rPr>
                        <a:t>Average (excluding LSPD)</a:t>
                      </a:r>
                    </a:p>
                  </a:txBody>
                  <a:tcPr marL="0" marR="0" marT="0"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7,549 </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7,983 </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3,051 </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5.90x</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5.88x</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34.06x</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13.21x</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cs typeface="Arial" panose="020B0604020202020204" pitchFamily="34" charset="0"/>
                        </a:rPr>
                        <a:t> </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3624415"/>
                  </a:ext>
                </a:extLst>
              </a:tr>
            </a:tbl>
          </a:graphicData>
        </a:graphic>
      </p:graphicFrame>
    </p:spTree>
    <p:extLst>
      <p:ext uri="{BB962C8B-B14F-4D97-AF65-F5344CB8AC3E}">
        <p14:creationId xmlns:p14="http://schemas.microsoft.com/office/powerpoint/2010/main" val="31729266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407475-B10B-6775-D3C5-183480FD1052}"/>
              </a:ext>
            </a:extLst>
          </p:cNvPr>
          <p:cNvSpPr>
            <a:spLocks noGrp="1"/>
          </p:cNvSpPr>
          <p:nvPr>
            <p:ph type="body" sz="quarter" idx="13"/>
          </p:nvPr>
        </p:nvSpPr>
        <p:spPr/>
        <p:txBody>
          <a:bodyPr/>
          <a:lstStyle/>
          <a:p>
            <a:endParaRPr lang="en-US"/>
          </a:p>
        </p:txBody>
      </p:sp>
      <p:sp>
        <p:nvSpPr>
          <p:cNvPr id="3" name="Text Placeholder 2">
            <a:extLst>
              <a:ext uri="{FF2B5EF4-FFF2-40B4-BE49-F238E27FC236}">
                <a16:creationId xmlns:a16="http://schemas.microsoft.com/office/drawing/2014/main" id="{E458138F-D60D-D54C-01DA-E8762FCB35AB}"/>
              </a:ext>
            </a:extLst>
          </p:cNvPr>
          <p:cNvSpPr>
            <a:spLocks noGrp="1"/>
          </p:cNvSpPr>
          <p:nvPr>
            <p:ph type="body" sz="quarter" idx="21"/>
          </p:nvPr>
        </p:nvSpPr>
        <p:spPr/>
        <p:txBody>
          <a:bodyPr/>
          <a:lstStyle/>
          <a:p>
            <a:r>
              <a:rPr lang="en-US"/>
              <a:t>1</a:t>
            </a:r>
            <a:r>
              <a:rPr lang="en-CA"/>
              <a:t>90</a:t>
            </a:r>
            <a:r>
              <a:rPr lang="en-US"/>
              <a:t>% Implied Upside</a:t>
            </a:r>
          </a:p>
        </p:txBody>
      </p:sp>
      <p:sp>
        <p:nvSpPr>
          <p:cNvPr id="4" name="Title 3">
            <a:extLst>
              <a:ext uri="{FF2B5EF4-FFF2-40B4-BE49-F238E27FC236}">
                <a16:creationId xmlns:a16="http://schemas.microsoft.com/office/drawing/2014/main" id="{90634E79-41B8-56E4-87E1-7FB775545442}"/>
              </a:ext>
            </a:extLst>
          </p:cNvPr>
          <p:cNvSpPr>
            <a:spLocks noGrp="1"/>
          </p:cNvSpPr>
          <p:nvPr>
            <p:ph type="title"/>
          </p:nvPr>
        </p:nvSpPr>
        <p:spPr/>
        <p:txBody>
          <a:bodyPr/>
          <a:lstStyle/>
          <a:p>
            <a:r>
              <a:rPr lang="en-US"/>
              <a:t>Relative Valuation Summary</a:t>
            </a:r>
          </a:p>
        </p:txBody>
      </p:sp>
      <p:sp>
        <p:nvSpPr>
          <p:cNvPr id="6" name="Text Placeholder 5">
            <a:extLst>
              <a:ext uri="{FF2B5EF4-FFF2-40B4-BE49-F238E27FC236}">
                <a16:creationId xmlns:a16="http://schemas.microsoft.com/office/drawing/2014/main" id="{6424F181-9E3D-0516-BD74-056DB75977B6}"/>
              </a:ext>
            </a:extLst>
          </p:cNvPr>
          <p:cNvSpPr>
            <a:spLocks noGrp="1"/>
          </p:cNvSpPr>
          <p:nvPr>
            <p:ph type="body" idx="26"/>
          </p:nvPr>
        </p:nvSpPr>
        <p:spPr/>
        <p:txBody>
          <a:bodyPr/>
          <a:lstStyle/>
          <a:p>
            <a:r>
              <a:rPr lang="en-US"/>
              <a:t>Implied Price per Forward Multiple</a:t>
            </a:r>
          </a:p>
        </p:txBody>
      </p:sp>
      <p:sp>
        <p:nvSpPr>
          <p:cNvPr id="7" name="Text Placeholder 6">
            <a:extLst>
              <a:ext uri="{FF2B5EF4-FFF2-40B4-BE49-F238E27FC236}">
                <a16:creationId xmlns:a16="http://schemas.microsoft.com/office/drawing/2014/main" id="{E1AB1FD3-3A07-F337-8D81-7277BC51BEC7}"/>
              </a:ext>
            </a:extLst>
          </p:cNvPr>
          <p:cNvSpPr>
            <a:spLocks noGrp="1"/>
          </p:cNvSpPr>
          <p:nvPr>
            <p:ph type="body" idx="27"/>
          </p:nvPr>
        </p:nvSpPr>
        <p:spPr/>
        <p:txBody>
          <a:bodyPr/>
          <a:lstStyle/>
          <a:p>
            <a:r>
              <a:rPr lang="en-US"/>
              <a:t>Increased Weights for EV Multiples</a:t>
            </a:r>
          </a:p>
        </p:txBody>
      </p:sp>
      <p:graphicFrame>
        <p:nvGraphicFramePr>
          <p:cNvPr id="27" name="Content Placeholder 26">
            <a:extLst>
              <a:ext uri="{FF2B5EF4-FFF2-40B4-BE49-F238E27FC236}">
                <a16:creationId xmlns:a16="http://schemas.microsoft.com/office/drawing/2014/main" id="{EE13433F-6084-2E7A-78B8-CD59DF00E9D3}"/>
              </a:ext>
            </a:extLst>
          </p:cNvPr>
          <p:cNvGraphicFramePr>
            <a:graphicFrameLocks noGrp="1"/>
          </p:cNvGraphicFramePr>
          <p:nvPr>
            <p:ph sz="quarter" idx="29"/>
            <p:extLst>
              <p:ext uri="{D42A27DB-BD31-4B8C-83A1-F6EECF244321}">
                <p14:modId xmlns:p14="http://schemas.microsoft.com/office/powerpoint/2010/main" val="244951018"/>
              </p:ext>
            </p:extLst>
          </p:nvPr>
        </p:nvGraphicFramePr>
        <p:xfrm>
          <a:off x="250825" y="4060284"/>
          <a:ext cx="8642345" cy="2055506"/>
        </p:xfrm>
        <a:graphic>
          <a:graphicData uri="http://schemas.openxmlformats.org/drawingml/2006/table">
            <a:tbl>
              <a:tblPr/>
              <a:tblGrid>
                <a:gridCol w="1935821">
                  <a:extLst>
                    <a:ext uri="{9D8B030D-6E8A-4147-A177-3AD203B41FA5}">
                      <a16:colId xmlns:a16="http://schemas.microsoft.com/office/drawing/2014/main" val="1887123"/>
                    </a:ext>
                  </a:extLst>
                </a:gridCol>
                <a:gridCol w="1306746">
                  <a:extLst>
                    <a:ext uri="{9D8B030D-6E8A-4147-A177-3AD203B41FA5}">
                      <a16:colId xmlns:a16="http://schemas.microsoft.com/office/drawing/2014/main" val="2419417519"/>
                    </a:ext>
                  </a:extLst>
                </a:gridCol>
                <a:gridCol w="2084314">
                  <a:extLst>
                    <a:ext uri="{9D8B030D-6E8A-4147-A177-3AD203B41FA5}">
                      <a16:colId xmlns:a16="http://schemas.microsoft.com/office/drawing/2014/main" val="3443138424"/>
                    </a:ext>
                  </a:extLst>
                </a:gridCol>
                <a:gridCol w="2332705">
                  <a:extLst>
                    <a:ext uri="{9D8B030D-6E8A-4147-A177-3AD203B41FA5}">
                      <a16:colId xmlns:a16="http://schemas.microsoft.com/office/drawing/2014/main" val="3411729622"/>
                    </a:ext>
                  </a:extLst>
                </a:gridCol>
                <a:gridCol w="982759">
                  <a:extLst>
                    <a:ext uri="{9D8B030D-6E8A-4147-A177-3AD203B41FA5}">
                      <a16:colId xmlns:a16="http://schemas.microsoft.com/office/drawing/2014/main" val="1866904418"/>
                    </a:ext>
                  </a:extLst>
                </a:gridCol>
              </a:tblGrid>
              <a:tr h="372374">
                <a:tc>
                  <a:txBody>
                    <a:bodyPr/>
                    <a:lstStyle/>
                    <a:p>
                      <a:pPr algn="ctr" fontAlgn="ctr"/>
                      <a:r>
                        <a:rPr lang="en-CA" sz="900" b="1" i="0" u="none" strike="noStrike">
                          <a:solidFill>
                            <a:srgbClr val="FFFFFF"/>
                          </a:solidFill>
                          <a:effectLst/>
                          <a:latin typeface="Arial" panose="020B0604020202020204" pitchFamily="34" charset="0"/>
                        </a:rPr>
                        <a:t>Reconciled Relative Valuation Price</a:t>
                      </a:r>
                    </a:p>
                  </a:txBody>
                  <a:tcPr marL="0" marR="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ctr" fontAlgn="ctr"/>
                      <a:r>
                        <a:rPr lang="en-CA" sz="900" b="1" i="0" u="none" strike="noStrike">
                          <a:solidFill>
                            <a:srgbClr val="FFFFFF"/>
                          </a:solidFill>
                          <a:effectLst/>
                          <a:latin typeface="Arial" panose="020B0604020202020204" pitchFamily="34" charset="0"/>
                        </a:rPr>
                        <a:t>Implied Price</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ctr" fontAlgn="ctr"/>
                      <a:r>
                        <a:rPr lang="en-CA" sz="900" b="1" i="0" u="none" strike="noStrike">
                          <a:solidFill>
                            <a:srgbClr val="FFFFFF"/>
                          </a:solidFill>
                          <a:effectLst/>
                          <a:latin typeface="Arial" panose="020B0604020202020204" pitchFamily="34" charset="0"/>
                        </a:rPr>
                        <a:t>Weight</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ctr" fontAlgn="ctr"/>
                      <a:r>
                        <a:rPr lang="en-CA" sz="900" b="1" i="0" u="none" strike="noStrike">
                          <a:solidFill>
                            <a:srgbClr val="FFFFFF"/>
                          </a:solidFill>
                          <a:effectLst/>
                          <a:latin typeface="Arial" panose="020B0604020202020204" pitchFamily="34" charset="0"/>
                        </a:rPr>
                        <a:t>Rationale</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900" b="1" i="0" u="none" strike="noStrike">
                          <a:solidFill>
                            <a:srgbClr val="FFFFFF"/>
                          </a:solidFill>
                          <a:effectLst/>
                          <a:latin typeface="Arial" panose="020B0604020202020204" pitchFamily="34" charset="0"/>
                        </a:rPr>
                        <a:t>Reconciled Price</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F3557"/>
                    </a:solidFill>
                  </a:tcPr>
                </a:tc>
                <a:extLst>
                  <a:ext uri="{0D108BD9-81ED-4DB2-BD59-A6C34878D82A}">
                    <a16:rowId xmlns:a16="http://schemas.microsoft.com/office/drawing/2014/main" val="2275436599"/>
                  </a:ext>
                </a:extLst>
              </a:tr>
              <a:tr h="655379">
                <a:tc>
                  <a:txBody>
                    <a:bodyPr/>
                    <a:lstStyle/>
                    <a:p>
                      <a:pPr algn="ctr" fontAlgn="ctr"/>
                      <a:r>
                        <a:rPr lang="en-CA" sz="900" b="0" i="0" u="none" strike="noStrike">
                          <a:solidFill>
                            <a:srgbClr val="000000"/>
                          </a:solidFill>
                          <a:effectLst/>
                          <a:latin typeface="Arial" panose="020B0604020202020204" pitchFamily="34" charset="0"/>
                        </a:rPr>
                        <a:t>EV/'26 Sales</a:t>
                      </a:r>
                    </a:p>
                  </a:txBody>
                  <a:tcPr marL="0" marR="0" marT="0"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38.74</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37.50%</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Reflects scale and revenue growth forecasts</a:t>
                      </a:r>
                    </a:p>
                  </a:txBody>
                  <a:tcPr marL="0" marR="0" marT="0" marB="0" anchor="ctr">
                    <a:lnL>
                      <a:noFill/>
                    </a:lnL>
                    <a:lnR>
                      <a:noFill/>
                    </a:lnR>
                    <a:lnT>
                      <a:noFill/>
                    </a:lnT>
                    <a:lnB>
                      <a:noFill/>
                    </a:lnB>
                    <a:noFill/>
                  </a:tcPr>
                </a:tc>
                <a:tc rowSpan="3">
                  <a:txBody>
                    <a:bodyPr/>
                    <a:lstStyle/>
                    <a:p>
                      <a:pPr algn="ctr" fontAlgn="ctr"/>
                      <a:r>
                        <a:rPr lang="en-CA" sz="900" b="1" i="0" u="none" strike="noStrike">
                          <a:solidFill>
                            <a:srgbClr val="000000"/>
                          </a:solidFill>
                          <a:effectLst/>
                          <a:latin typeface="Arial" panose="020B0604020202020204" pitchFamily="34" charset="0"/>
                        </a:rPr>
                        <a:t>$38.19</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0033130"/>
                  </a:ext>
                </a:extLst>
              </a:tr>
              <a:tr h="655379">
                <a:tc>
                  <a:txBody>
                    <a:bodyPr/>
                    <a:lstStyle/>
                    <a:p>
                      <a:pPr algn="ctr" fontAlgn="ctr"/>
                      <a:r>
                        <a:rPr lang="en-CA" sz="900" b="0" i="0" u="none" strike="noStrike">
                          <a:solidFill>
                            <a:srgbClr val="000000"/>
                          </a:solidFill>
                          <a:effectLst/>
                          <a:latin typeface="Arial" panose="020B0604020202020204" pitchFamily="34" charset="0"/>
                        </a:rPr>
                        <a:t>Price/'26 Sales</a:t>
                      </a:r>
                    </a:p>
                  </a:txBody>
                  <a:tcPr marL="0" marR="0" marT="0"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34.27</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5.00%</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Reflects equity pricing and investor sentiment</a:t>
                      </a:r>
                    </a:p>
                  </a:txBody>
                  <a:tcPr marL="0" marR="0" marT="0" marB="0" anchor="ctr">
                    <a:lnL>
                      <a:noFill/>
                    </a:lnL>
                    <a:lnR>
                      <a:noFill/>
                    </a:lnR>
                    <a:lnT>
                      <a:noFill/>
                    </a:lnT>
                    <a:lnB>
                      <a:noFill/>
                    </a:lnB>
                    <a:noFill/>
                  </a:tcPr>
                </a:tc>
                <a:tc vMerge="1">
                  <a:txBody>
                    <a:bodyPr/>
                    <a:lstStyle/>
                    <a:p>
                      <a:endParaRPr lang="en-US"/>
                    </a:p>
                  </a:txBody>
                  <a:tcPr/>
                </a:tc>
                <a:extLst>
                  <a:ext uri="{0D108BD9-81ED-4DB2-BD59-A6C34878D82A}">
                    <a16:rowId xmlns:a16="http://schemas.microsoft.com/office/drawing/2014/main" val="1301647678"/>
                  </a:ext>
                </a:extLst>
              </a:tr>
              <a:tr h="372374">
                <a:tc>
                  <a:txBody>
                    <a:bodyPr/>
                    <a:lstStyle/>
                    <a:p>
                      <a:pPr algn="ctr" fontAlgn="ctr"/>
                      <a:r>
                        <a:rPr lang="en-CA" sz="900" b="0" i="0" u="none" strike="noStrike">
                          <a:solidFill>
                            <a:srgbClr val="000000"/>
                          </a:solidFill>
                          <a:effectLst/>
                          <a:latin typeface="Arial" panose="020B0604020202020204" pitchFamily="34" charset="0"/>
                        </a:rPr>
                        <a:t>EV/'26 Gross Profit</a:t>
                      </a:r>
                    </a:p>
                  </a:txBody>
                  <a:tcPr marL="0" marR="0" marT="0"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40.26</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37.5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Reflects progress towards profitability</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3632610354"/>
                  </a:ext>
                </a:extLst>
              </a:tr>
            </a:tbl>
          </a:graphicData>
        </a:graphic>
      </p:graphicFrame>
      <p:graphicFrame>
        <p:nvGraphicFramePr>
          <p:cNvPr id="31" name="Content Placeholder 30">
            <a:extLst>
              <a:ext uri="{FF2B5EF4-FFF2-40B4-BE49-F238E27FC236}">
                <a16:creationId xmlns:a16="http://schemas.microsoft.com/office/drawing/2014/main" id="{61836F71-F1AB-E69D-1ED1-CEBF563BB49B}"/>
              </a:ext>
            </a:extLst>
          </p:cNvPr>
          <p:cNvGraphicFramePr>
            <a:graphicFrameLocks noGrp="1"/>
          </p:cNvGraphicFramePr>
          <p:nvPr>
            <p:ph sz="quarter" idx="23"/>
            <p:extLst>
              <p:ext uri="{D42A27DB-BD31-4B8C-83A1-F6EECF244321}">
                <p14:modId xmlns:p14="http://schemas.microsoft.com/office/powerpoint/2010/main" val="2048984365"/>
              </p:ext>
            </p:extLst>
          </p:nvPr>
        </p:nvGraphicFramePr>
        <p:xfrm>
          <a:off x="1003296" y="1425577"/>
          <a:ext cx="7137401" cy="2095500"/>
        </p:xfrm>
        <a:graphic>
          <a:graphicData uri="http://schemas.openxmlformats.org/drawingml/2006/table">
            <a:tbl>
              <a:tblPr/>
              <a:tblGrid>
                <a:gridCol w="1417334">
                  <a:extLst>
                    <a:ext uri="{9D8B030D-6E8A-4147-A177-3AD203B41FA5}">
                      <a16:colId xmlns:a16="http://schemas.microsoft.com/office/drawing/2014/main" val="1196836043"/>
                    </a:ext>
                  </a:extLst>
                </a:gridCol>
                <a:gridCol w="827571">
                  <a:extLst>
                    <a:ext uri="{9D8B030D-6E8A-4147-A177-3AD203B41FA5}">
                      <a16:colId xmlns:a16="http://schemas.microsoft.com/office/drawing/2014/main" val="1114010755"/>
                    </a:ext>
                  </a:extLst>
                </a:gridCol>
                <a:gridCol w="218783">
                  <a:extLst>
                    <a:ext uri="{9D8B030D-6E8A-4147-A177-3AD203B41FA5}">
                      <a16:colId xmlns:a16="http://schemas.microsoft.com/office/drawing/2014/main" val="2571988233"/>
                    </a:ext>
                  </a:extLst>
                </a:gridCol>
                <a:gridCol w="1341235">
                  <a:extLst>
                    <a:ext uri="{9D8B030D-6E8A-4147-A177-3AD203B41FA5}">
                      <a16:colId xmlns:a16="http://schemas.microsoft.com/office/drawing/2014/main" val="3288187398"/>
                    </a:ext>
                  </a:extLst>
                </a:gridCol>
                <a:gridCol w="827571">
                  <a:extLst>
                    <a:ext uri="{9D8B030D-6E8A-4147-A177-3AD203B41FA5}">
                      <a16:colId xmlns:a16="http://schemas.microsoft.com/office/drawing/2014/main" val="936573956"/>
                    </a:ext>
                  </a:extLst>
                </a:gridCol>
                <a:gridCol w="240978">
                  <a:extLst>
                    <a:ext uri="{9D8B030D-6E8A-4147-A177-3AD203B41FA5}">
                      <a16:colId xmlns:a16="http://schemas.microsoft.com/office/drawing/2014/main" val="2193578780"/>
                    </a:ext>
                  </a:extLst>
                </a:gridCol>
                <a:gridCol w="1436358">
                  <a:extLst>
                    <a:ext uri="{9D8B030D-6E8A-4147-A177-3AD203B41FA5}">
                      <a16:colId xmlns:a16="http://schemas.microsoft.com/office/drawing/2014/main" val="3651402277"/>
                    </a:ext>
                  </a:extLst>
                </a:gridCol>
                <a:gridCol w="827571">
                  <a:extLst>
                    <a:ext uri="{9D8B030D-6E8A-4147-A177-3AD203B41FA5}">
                      <a16:colId xmlns:a16="http://schemas.microsoft.com/office/drawing/2014/main" val="4057265126"/>
                    </a:ext>
                  </a:extLst>
                </a:gridCol>
              </a:tblGrid>
              <a:tr h="190500">
                <a:tc gridSpan="2">
                  <a:txBody>
                    <a:bodyPr/>
                    <a:lstStyle/>
                    <a:p>
                      <a:pPr algn="ctr" fontAlgn="ctr"/>
                      <a:r>
                        <a:rPr lang="en-CA" sz="900" b="1" i="0" u="none" strike="noStrike">
                          <a:solidFill>
                            <a:srgbClr val="FFFFFF"/>
                          </a:solidFill>
                          <a:effectLst/>
                          <a:latin typeface="Arial" panose="020B0604020202020204" pitchFamily="34" charset="0"/>
                        </a:rPr>
                        <a:t>EV/'26 Sales</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0F3557"/>
                    </a:solidFill>
                  </a:tcPr>
                </a:tc>
                <a:tc hMerge="1">
                  <a:txBody>
                    <a:bodyPr/>
                    <a:lstStyle/>
                    <a:p>
                      <a:endParaRPr lang="en-US"/>
                    </a:p>
                  </a:txBody>
                  <a:tcPr/>
                </a:tc>
                <a:tc>
                  <a:txBody>
                    <a:bodyPr/>
                    <a:lstStyle/>
                    <a:p>
                      <a:pPr algn="l" fontAlgn="ctr"/>
                      <a:endParaRPr lang="en-CA" sz="900" b="1" i="0" u="none" strike="noStrike">
                        <a:solidFill>
                          <a:srgbClr val="000000"/>
                        </a:solidFill>
                        <a:effectLst/>
                        <a:latin typeface="Arial" panose="020B0604020202020204" pitchFamily="34" charset="0"/>
                      </a:endParaRPr>
                    </a:p>
                  </a:txBody>
                  <a:tcPr marL="0" marR="0" marT="0" marB="0" anchor="ctr">
                    <a:lnL>
                      <a:noFill/>
                    </a:lnL>
                    <a:lnR>
                      <a:noFill/>
                    </a:lnR>
                    <a:lnT>
                      <a:noFill/>
                    </a:lnT>
                    <a:lnB>
                      <a:noFill/>
                    </a:lnB>
                    <a:noFill/>
                  </a:tcPr>
                </a:tc>
                <a:tc gridSpan="2">
                  <a:txBody>
                    <a:bodyPr/>
                    <a:lstStyle/>
                    <a:p>
                      <a:pPr algn="ctr" fontAlgn="ctr"/>
                      <a:r>
                        <a:rPr lang="en-CA" sz="900" b="1" i="0" u="none" strike="noStrike">
                          <a:solidFill>
                            <a:srgbClr val="FFFFFF"/>
                          </a:solidFill>
                          <a:effectLst/>
                          <a:latin typeface="Arial" panose="020B0604020202020204" pitchFamily="34" charset="0"/>
                        </a:rPr>
                        <a:t>Price/'26 Sales</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0F3557"/>
                    </a:solidFill>
                  </a:tcPr>
                </a:tc>
                <a:tc hMerge="1">
                  <a:txBody>
                    <a:bodyPr/>
                    <a:lstStyle/>
                    <a:p>
                      <a:endParaRPr lang="en-US"/>
                    </a:p>
                  </a:txBody>
                  <a:tcPr/>
                </a:tc>
                <a:tc>
                  <a:txBody>
                    <a:bodyPr/>
                    <a:lstStyle/>
                    <a:p>
                      <a:pPr algn="l" fontAlgn="ctr"/>
                      <a:endParaRPr lang="en-CA" sz="900" b="1" i="0" u="none" strike="noStrike">
                        <a:solidFill>
                          <a:srgbClr val="000000"/>
                        </a:solidFill>
                        <a:effectLst/>
                        <a:latin typeface="Arial" panose="020B0604020202020204" pitchFamily="34" charset="0"/>
                      </a:endParaRPr>
                    </a:p>
                  </a:txBody>
                  <a:tcPr marL="0" marR="0" marT="0" marB="0" anchor="ctr">
                    <a:lnL>
                      <a:noFill/>
                    </a:lnL>
                    <a:lnR>
                      <a:noFill/>
                    </a:lnR>
                    <a:lnT>
                      <a:noFill/>
                    </a:lnT>
                    <a:lnB>
                      <a:noFill/>
                    </a:lnB>
                    <a:noFill/>
                  </a:tcPr>
                </a:tc>
                <a:tc gridSpan="2">
                  <a:txBody>
                    <a:bodyPr/>
                    <a:lstStyle/>
                    <a:p>
                      <a:pPr algn="ctr" fontAlgn="ctr"/>
                      <a:r>
                        <a:rPr lang="en-CA" sz="900" b="1" i="0" u="none" strike="noStrike">
                          <a:solidFill>
                            <a:srgbClr val="FFFFFF"/>
                          </a:solidFill>
                          <a:effectLst/>
                          <a:latin typeface="Arial" panose="020B0604020202020204" pitchFamily="34" charset="0"/>
                        </a:rPr>
                        <a:t>EV/'26 Gross Profit (GP)</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0F3557"/>
                    </a:solidFill>
                  </a:tcPr>
                </a:tc>
                <a:tc hMerge="1">
                  <a:txBody>
                    <a:bodyPr/>
                    <a:lstStyle/>
                    <a:p>
                      <a:endParaRPr lang="en-US"/>
                    </a:p>
                  </a:txBody>
                  <a:tcPr/>
                </a:tc>
                <a:extLst>
                  <a:ext uri="{0D108BD9-81ED-4DB2-BD59-A6C34878D82A}">
                    <a16:rowId xmlns:a16="http://schemas.microsoft.com/office/drawing/2014/main" val="619145929"/>
                  </a:ext>
                </a:extLst>
              </a:tr>
              <a:tr h="190500">
                <a:tc>
                  <a:txBody>
                    <a:bodyPr/>
                    <a:lstStyle/>
                    <a:p>
                      <a:pPr algn="l" fontAlgn="ctr"/>
                      <a:r>
                        <a:rPr lang="en-CA" sz="900" b="0" i="0" u="none" strike="noStrike">
                          <a:solidFill>
                            <a:srgbClr val="000000"/>
                          </a:solidFill>
                          <a:effectLst/>
                          <a:latin typeface="Arial" panose="020B0604020202020204" pitchFamily="34" charset="0"/>
                        </a:rPr>
                        <a:t>2026 Sales</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r" fontAlgn="ctr"/>
                      <a:r>
                        <a:rPr lang="en-CA" sz="900" b="0" i="0" u="none" strike="noStrike">
                          <a:solidFill>
                            <a:srgbClr val="000000"/>
                          </a:solidFill>
                          <a:effectLst/>
                          <a:latin typeface="Arial" panose="020B0604020202020204" pitchFamily="34" charset="0"/>
                        </a:rPr>
                        <a:t>1,294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2026 Sales</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r" fontAlgn="ctr"/>
                      <a:r>
                        <a:rPr lang="en-CA" sz="900" b="0" i="0" u="none" strike="noStrike">
                          <a:solidFill>
                            <a:srgbClr val="000000"/>
                          </a:solidFill>
                          <a:effectLst/>
                          <a:latin typeface="Arial" panose="020B0604020202020204" pitchFamily="34" charset="0"/>
                        </a:rPr>
                        <a:t>1,294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2026 Gross Profit</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r" fontAlgn="ctr"/>
                      <a:r>
                        <a:rPr lang="en-CA" sz="900" b="0" i="0" u="none" strike="noStrike">
                          <a:solidFill>
                            <a:srgbClr val="000000"/>
                          </a:solidFill>
                          <a:effectLst/>
                          <a:latin typeface="Arial" panose="020B0604020202020204" pitchFamily="34" charset="0"/>
                        </a:rPr>
                        <a:t>567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982630651"/>
                  </a:ext>
                </a:extLst>
              </a:tr>
              <a:tr h="190500">
                <a:tc>
                  <a:txBody>
                    <a:bodyPr/>
                    <a:lstStyle/>
                    <a:p>
                      <a:pPr algn="l" fontAlgn="ctr"/>
                      <a:r>
                        <a:rPr lang="en-CA" sz="900" b="0" i="0" u="none" strike="noStrike">
                          <a:solidFill>
                            <a:srgbClr val="000000"/>
                          </a:solidFill>
                          <a:effectLst/>
                          <a:latin typeface="Arial" panose="020B0604020202020204" pitchFamily="34" charset="0"/>
                        </a:rPr>
                        <a:t>WACC</a:t>
                      </a:r>
                    </a:p>
                  </a:txBody>
                  <a:tcPr marL="0" marR="0" marT="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ctr"/>
                      <a:r>
                        <a:rPr lang="en-CA" sz="900" b="0" i="0" u="none" strike="noStrike">
                          <a:solidFill>
                            <a:srgbClr val="000000"/>
                          </a:solidFill>
                          <a:effectLst/>
                          <a:latin typeface="Arial" panose="020B0604020202020204" pitchFamily="34" charset="0"/>
                        </a:rPr>
                        <a:t>10.10%</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WACC</a:t>
                      </a:r>
                    </a:p>
                  </a:txBody>
                  <a:tcPr marL="0" marR="0" marT="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ctr"/>
                      <a:r>
                        <a:rPr lang="en-CA" sz="900" b="0" i="0" u="none" strike="noStrike">
                          <a:solidFill>
                            <a:srgbClr val="000000"/>
                          </a:solidFill>
                          <a:effectLst/>
                          <a:latin typeface="Arial" panose="020B0604020202020204" pitchFamily="34" charset="0"/>
                        </a:rPr>
                        <a:t>10.10%</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WACC</a:t>
                      </a:r>
                    </a:p>
                  </a:txBody>
                  <a:tcPr marL="0" marR="0" marT="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ctr"/>
                      <a:r>
                        <a:rPr lang="en-CA" sz="900" b="0" i="0" u="none" strike="noStrike">
                          <a:solidFill>
                            <a:srgbClr val="000000"/>
                          </a:solidFill>
                          <a:effectLst/>
                          <a:latin typeface="Arial" panose="020B0604020202020204" pitchFamily="34" charset="0"/>
                        </a:rPr>
                        <a:t>10.10%</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826751309"/>
                  </a:ext>
                </a:extLst>
              </a:tr>
              <a:tr h="190500">
                <a:tc>
                  <a:txBody>
                    <a:bodyPr/>
                    <a:lstStyle/>
                    <a:p>
                      <a:pPr algn="l" fontAlgn="ctr"/>
                      <a:r>
                        <a:rPr lang="en-CA" sz="900" b="0" i="0" u="none" strike="noStrike">
                          <a:solidFill>
                            <a:srgbClr val="000000"/>
                          </a:solidFill>
                          <a:effectLst/>
                          <a:latin typeface="Arial" panose="020B0604020202020204" pitchFamily="34" charset="0"/>
                        </a:rPr>
                        <a:t>PV of '26 Sales</a:t>
                      </a:r>
                    </a:p>
                  </a:txBody>
                  <a:tcPr marL="0" marR="0" marT="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ctr"/>
                      <a:r>
                        <a:rPr lang="en-CA" sz="900" b="0" i="0" u="none" strike="noStrike">
                          <a:solidFill>
                            <a:srgbClr val="000000"/>
                          </a:solidFill>
                          <a:effectLst/>
                          <a:latin typeface="Arial" panose="020B0604020202020204" pitchFamily="34" charset="0"/>
                        </a:rPr>
                        <a:t>1,067 </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PV of '26 Sales</a:t>
                      </a:r>
                    </a:p>
                  </a:txBody>
                  <a:tcPr marL="0" marR="0" marT="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ctr"/>
                      <a:r>
                        <a:rPr lang="en-CA" sz="900" b="0" i="0" u="none" strike="noStrike">
                          <a:solidFill>
                            <a:srgbClr val="000000"/>
                          </a:solidFill>
                          <a:effectLst/>
                          <a:latin typeface="Arial" panose="020B0604020202020204" pitchFamily="34" charset="0"/>
                        </a:rPr>
                        <a:t>1,067 </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PV of '26 GP</a:t>
                      </a:r>
                    </a:p>
                  </a:txBody>
                  <a:tcPr marL="0" marR="0" marT="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ctr"/>
                      <a:r>
                        <a:rPr lang="en-CA" sz="900" b="0" i="0" u="none" strike="noStrike">
                          <a:solidFill>
                            <a:srgbClr val="000000"/>
                          </a:solidFill>
                          <a:effectLst/>
                          <a:latin typeface="Arial" panose="020B0604020202020204" pitchFamily="34" charset="0"/>
                        </a:rPr>
                        <a:t>467 </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611297166"/>
                  </a:ext>
                </a:extLst>
              </a:tr>
              <a:tr h="190500">
                <a:tc>
                  <a:txBody>
                    <a:bodyPr/>
                    <a:lstStyle/>
                    <a:p>
                      <a:pPr algn="l" fontAlgn="ctr"/>
                      <a:r>
                        <a:rPr lang="en-CA" sz="900" b="0" i="0" u="none" strike="noStrike">
                          <a:solidFill>
                            <a:srgbClr val="000000"/>
                          </a:solidFill>
                          <a:effectLst/>
                          <a:latin typeface="Arial" panose="020B0604020202020204" pitchFamily="34" charset="0"/>
                        </a:rPr>
                        <a:t>Comparable Ratio</a:t>
                      </a:r>
                    </a:p>
                  </a:txBody>
                  <a:tcPr marL="0" marR="0" marT="0"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CA" sz="900" b="0" i="0" u="none" strike="noStrike">
                          <a:solidFill>
                            <a:srgbClr val="000000"/>
                          </a:solidFill>
                          <a:effectLst/>
                          <a:latin typeface="Arial" panose="020B0604020202020204" pitchFamily="34" charset="0"/>
                        </a:rPr>
                        <a:t>4.95x</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Comparable Ratio</a:t>
                      </a:r>
                    </a:p>
                  </a:txBody>
                  <a:tcPr marL="0" marR="0" marT="0"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CA" sz="900" b="0" i="0" u="none" strike="noStrike">
                          <a:solidFill>
                            <a:srgbClr val="000000"/>
                          </a:solidFill>
                          <a:effectLst/>
                          <a:latin typeface="Arial" panose="020B0604020202020204" pitchFamily="34" charset="0"/>
                        </a:rPr>
                        <a:t>4.91x</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Comparable Ratio</a:t>
                      </a:r>
                    </a:p>
                  </a:txBody>
                  <a:tcPr marL="0" marR="0" marT="0"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CA" sz="900" b="0" i="0" u="none" strike="noStrike">
                          <a:solidFill>
                            <a:srgbClr val="000000"/>
                          </a:solidFill>
                          <a:effectLst/>
                          <a:latin typeface="Arial" panose="020B0604020202020204" pitchFamily="34" charset="0"/>
                        </a:rPr>
                        <a:t>11.80x</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0727570"/>
                  </a:ext>
                </a:extLst>
              </a:tr>
              <a:tr h="190500">
                <a:tc>
                  <a:txBody>
                    <a:bodyPr/>
                    <a:lstStyle/>
                    <a:p>
                      <a:pPr algn="l" fontAlgn="ctr"/>
                      <a:r>
                        <a:rPr lang="en-CA" sz="900" b="0" i="0" u="none" strike="noStrike">
                          <a:solidFill>
                            <a:srgbClr val="000000"/>
                          </a:solidFill>
                          <a:effectLst/>
                          <a:latin typeface="Arial" panose="020B0604020202020204" pitchFamily="34" charset="0"/>
                        </a:rPr>
                        <a:t>Enterprise Value</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r" fontAlgn="ctr"/>
                      <a:r>
                        <a:rPr lang="en-CA" sz="900" b="0" i="0" u="none" strike="noStrike">
                          <a:solidFill>
                            <a:srgbClr val="000000"/>
                          </a:solidFill>
                          <a:effectLst/>
                          <a:latin typeface="Arial" panose="020B0604020202020204" pitchFamily="34" charset="0"/>
                        </a:rPr>
                        <a:t>5,284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Implied Equity Value</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r" fontAlgn="ctr"/>
                      <a:r>
                        <a:rPr lang="en-CA" sz="900" b="0" i="0" u="none" strike="noStrike">
                          <a:solidFill>
                            <a:srgbClr val="000000"/>
                          </a:solidFill>
                          <a:effectLst/>
                          <a:latin typeface="Arial" panose="020B0604020202020204" pitchFamily="34" charset="0"/>
                        </a:rPr>
                        <a:t>5,242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Enterprise Value</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r" fontAlgn="ctr"/>
                      <a:r>
                        <a:rPr lang="en-CA" sz="900" b="0" i="0" u="none" strike="noStrike">
                          <a:solidFill>
                            <a:srgbClr val="000000"/>
                          </a:solidFill>
                          <a:effectLst/>
                          <a:latin typeface="Arial" panose="020B0604020202020204" pitchFamily="34" charset="0"/>
                        </a:rPr>
                        <a:t>5,516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033100650"/>
                  </a:ext>
                </a:extLst>
              </a:tr>
              <a:tr h="190500">
                <a:tc>
                  <a:txBody>
                    <a:bodyPr/>
                    <a:lstStyle/>
                    <a:p>
                      <a:pPr algn="l" fontAlgn="ctr"/>
                      <a:r>
                        <a:rPr lang="en-CA" sz="900" b="0" i="0" u="none" strike="noStrike">
                          <a:solidFill>
                            <a:srgbClr val="000000"/>
                          </a:solidFill>
                          <a:effectLst/>
                          <a:latin typeface="Arial" panose="020B0604020202020204" pitchFamily="34" charset="0"/>
                        </a:rPr>
                        <a:t>Net Debt</a:t>
                      </a:r>
                    </a:p>
                  </a:txBody>
                  <a:tcPr marL="0" marR="0" marT="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ctr"/>
                      <a:r>
                        <a:rPr lang="en-CA" sz="900" b="0" i="0" u="none" strike="noStrike">
                          <a:solidFill>
                            <a:srgbClr val="000000"/>
                          </a:solidFill>
                          <a:effectLst/>
                          <a:latin typeface="Arial" panose="020B0604020202020204" pitchFamily="34" charset="0"/>
                        </a:rPr>
                        <a:t>19 </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Shares Outstanding</a:t>
                      </a:r>
                    </a:p>
                  </a:txBody>
                  <a:tcPr marL="0" marR="0" marT="0"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CA" sz="900" b="0" i="0" u="none" strike="noStrike">
                          <a:solidFill>
                            <a:srgbClr val="000000"/>
                          </a:solidFill>
                          <a:effectLst/>
                          <a:latin typeface="Arial" panose="020B0604020202020204" pitchFamily="34" charset="0"/>
                        </a:rPr>
                        <a:t>153 </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Net Debt</a:t>
                      </a:r>
                    </a:p>
                  </a:txBody>
                  <a:tcPr marL="0" marR="0" marT="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ctr"/>
                      <a:r>
                        <a:rPr lang="en-CA" sz="900" b="0" i="0" u="none" strike="noStrike">
                          <a:solidFill>
                            <a:srgbClr val="000000"/>
                          </a:solidFill>
                          <a:effectLst/>
                          <a:latin typeface="Arial" panose="020B0604020202020204" pitchFamily="34" charset="0"/>
                        </a:rPr>
                        <a:t>19 </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839631354"/>
                  </a:ext>
                </a:extLst>
              </a:tr>
              <a:tr h="190500">
                <a:tc>
                  <a:txBody>
                    <a:bodyPr/>
                    <a:lstStyle/>
                    <a:p>
                      <a:pPr algn="l" fontAlgn="ctr"/>
                      <a:r>
                        <a:rPr lang="en-CA" sz="900" b="0" i="0" u="none" strike="noStrike">
                          <a:solidFill>
                            <a:srgbClr val="000000"/>
                          </a:solidFill>
                          <a:effectLst/>
                          <a:latin typeface="Arial" panose="020B0604020202020204" pitchFamily="34" charset="0"/>
                        </a:rPr>
                        <a:t>Cash &amp; Cash Equivalents</a:t>
                      </a:r>
                    </a:p>
                  </a:txBody>
                  <a:tcPr marL="0" marR="0" marT="0"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CA" sz="900" b="0" i="0" u="none" strike="noStrike">
                          <a:solidFill>
                            <a:srgbClr val="000000"/>
                          </a:solidFill>
                          <a:effectLst/>
                          <a:latin typeface="Arial" panose="020B0604020202020204" pitchFamily="34" charset="0"/>
                        </a:rPr>
                        <a:t>662 </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1" i="0" u="none" strike="noStrike">
                          <a:solidFill>
                            <a:srgbClr val="000000"/>
                          </a:solidFill>
                          <a:effectLst/>
                          <a:latin typeface="Arial" panose="020B0604020202020204" pitchFamily="34" charset="0"/>
                        </a:rPr>
                        <a:t>Estimated Share Price</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9F8"/>
                    </a:solidFill>
                  </a:tcPr>
                </a:tc>
                <a:tc>
                  <a:txBody>
                    <a:bodyPr/>
                    <a:lstStyle/>
                    <a:p>
                      <a:pPr algn="r" fontAlgn="ctr"/>
                      <a:r>
                        <a:rPr lang="en-CA" sz="900" b="1" i="0" u="none" strike="noStrike">
                          <a:solidFill>
                            <a:srgbClr val="000000"/>
                          </a:solidFill>
                          <a:effectLst/>
                          <a:latin typeface="Arial" panose="020B0604020202020204" pitchFamily="34" charset="0"/>
                        </a:rPr>
                        <a:t>$34.27</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9F8"/>
                    </a:solid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Cash &amp; Cash Equivalents</a:t>
                      </a:r>
                    </a:p>
                  </a:txBody>
                  <a:tcPr marL="0" marR="0" marT="0"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CA" sz="900" b="0" i="0" u="none" strike="noStrike">
                          <a:solidFill>
                            <a:srgbClr val="000000"/>
                          </a:solidFill>
                          <a:effectLst/>
                          <a:latin typeface="Arial" panose="020B0604020202020204" pitchFamily="34" charset="0"/>
                        </a:rPr>
                        <a:t>662 </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45787907"/>
                  </a:ext>
                </a:extLst>
              </a:tr>
              <a:tr h="190500">
                <a:tc>
                  <a:txBody>
                    <a:bodyPr/>
                    <a:lstStyle/>
                    <a:p>
                      <a:pPr algn="l" fontAlgn="ctr"/>
                      <a:r>
                        <a:rPr lang="en-CA" sz="900" b="0" i="0" u="none" strike="noStrike">
                          <a:solidFill>
                            <a:srgbClr val="000000"/>
                          </a:solidFill>
                          <a:effectLst/>
                          <a:latin typeface="Arial" panose="020B0604020202020204" pitchFamily="34" charset="0"/>
                        </a:rPr>
                        <a:t>Implied Equity Value</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r" fontAlgn="ctr"/>
                      <a:r>
                        <a:rPr lang="en-CA" sz="900" b="0" i="0" u="none" strike="noStrike">
                          <a:solidFill>
                            <a:srgbClr val="000000"/>
                          </a:solidFill>
                          <a:effectLst/>
                          <a:latin typeface="Arial" panose="020B0604020202020204" pitchFamily="34" charset="0"/>
                        </a:rPr>
                        <a:t>5,926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ctr"/>
                      <a:endParaRPr lang="en-CA" sz="900" b="1" i="0" u="none" strike="noStrike">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ctr"/>
                      <a:endParaRPr lang="en-CA" sz="900" b="1" i="0" u="none" strike="noStrike">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Implied Equity Value</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r" fontAlgn="ctr"/>
                      <a:r>
                        <a:rPr lang="en-CA" sz="900" b="0" i="0" u="none" strike="noStrike">
                          <a:solidFill>
                            <a:srgbClr val="000000"/>
                          </a:solidFill>
                          <a:effectLst/>
                          <a:latin typeface="Arial" panose="020B0604020202020204" pitchFamily="34" charset="0"/>
                        </a:rPr>
                        <a:t>6,159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049461780"/>
                  </a:ext>
                </a:extLst>
              </a:tr>
              <a:tr h="190500">
                <a:tc>
                  <a:txBody>
                    <a:bodyPr/>
                    <a:lstStyle/>
                    <a:p>
                      <a:pPr algn="l" fontAlgn="ctr"/>
                      <a:r>
                        <a:rPr lang="en-CA" sz="900" b="0" i="0" u="none" strike="noStrike">
                          <a:solidFill>
                            <a:srgbClr val="000000"/>
                          </a:solidFill>
                          <a:effectLst/>
                          <a:latin typeface="Arial" panose="020B0604020202020204" pitchFamily="34" charset="0"/>
                        </a:rPr>
                        <a:t>Shares Outstanding</a:t>
                      </a:r>
                    </a:p>
                  </a:txBody>
                  <a:tcPr marL="0" marR="0" marT="0"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CA" sz="900" b="0" i="0" u="none" strike="noStrike">
                          <a:solidFill>
                            <a:srgbClr val="000000"/>
                          </a:solidFill>
                          <a:effectLst/>
                          <a:latin typeface="Arial" panose="020B0604020202020204" pitchFamily="34" charset="0"/>
                        </a:rPr>
                        <a:t>153 </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a:noFill/>
                    </a:lnL>
                    <a:lnR>
                      <a:noFill/>
                    </a:lnR>
                    <a:lnT>
                      <a:noFill/>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a:noFill/>
                    </a:lnL>
                    <a:lnR>
                      <a:noFill/>
                    </a:lnR>
                    <a:lnT>
                      <a:noFill/>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0" i="0" u="none" strike="noStrike">
                          <a:solidFill>
                            <a:srgbClr val="000000"/>
                          </a:solidFill>
                          <a:effectLst/>
                          <a:latin typeface="Arial" panose="020B0604020202020204" pitchFamily="34" charset="0"/>
                        </a:rPr>
                        <a:t>Shares Outstanding</a:t>
                      </a:r>
                    </a:p>
                  </a:txBody>
                  <a:tcPr marL="0" marR="0" marT="0"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CA" sz="900" b="0" i="0" u="none" strike="noStrike">
                          <a:solidFill>
                            <a:srgbClr val="000000"/>
                          </a:solidFill>
                          <a:effectLst/>
                          <a:latin typeface="Arial" panose="020B0604020202020204" pitchFamily="34" charset="0"/>
                        </a:rPr>
                        <a:t>153 </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4045698"/>
                  </a:ext>
                </a:extLst>
              </a:tr>
              <a:tr h="190500">
                <a:tc>
                  <a:txBody>
                    <a:bodyPr/>
                    <a:lstStyle/>
                    <a:p>
                      <a:pPr algn="l" fontAlgn="ctr"/>
                      <a:r>
                        <a:rPr lang="en-CA" sz="900" b="1" i="0" u="none" strike="noStrike">
                          <a:solidFill>
                            <a:srgbClr val="000000"/>
                          </a:solidFill>
                          <a:effectLst/>
                          <a:latin typeface="Arial" panose="020B0604020202020204" pitchFamily="34" charset="0"/>
                        </a:rPr>
                        <a:t>Estimated Share Price</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9F8"/>
                    </a:solidFill>
                  </a:tcPr>
                </a:tc>
                <a:tc>
                  <a:txBody>
                    <a:bodyPr/>
                    <a:lstStyle/>
                    <a:p>
                      <a:pPr algn="r" fontAlgn="ctr"/>
                      <a:r>
                        <a:rPr lang="en-CA" sz="900" b="1" i="0" u="none" strike="noStrike">
                          <a:solidFill>
                            <a:srgbClr val="000000"/>
                          </a:solidFill>
                          <a:effectLst/>
                          <a:latin typeface="Arial" panose="020B0604020202020204" pitchFamily="34" charset="0"/>
                        </a:rPr>
                        <a:t>$38.74</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9F8"/>
                    </a:solid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a:noFill/>
                    </a:lnL>
                    <a:lnR>
                      <a:noFill/>
                    </a:lnR>
                    <a:lnT>
                      <a:noFill/>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a:noFill/>
                    </a:lnL>
                    <a:lnR>
                      <a:noFill/>
                    </a:lnR>
                    <a:lnT>
                      <a:noFill/>
                    </a:lnT>
                    <a:lnB>
                      <a:noFill/>
                    </a:lnB>
                    <a:noFill/>
                  </a:tcPr>
                </a:tc>
                <a:tc>
                  <a:txBody>
                    <a:bodyPr/>
                    <a:lstStyle/>
                    <a:p>
                      <a:pPr algn="l" fontAlgn="ctr"/>
                      <a:endParaRPr lang="en-CA" sz="900" b="0" i="0" u="none" strike="noStrike">
                        <a:solidFill>
                          <a:srgbClr val="000000"/>
                        </a:solidFill>
                        <a:effectLst/>
                        <a:latin typeface="Arial" panose="020B0604020202020204" pitchFamily="34" charset="0"/>
                      </a:endParaRP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CA" sz="900" b="1" i="0" u="none" strike="noStrike">
                          <a:solidFill>
                            <a:srgbClr val="000000"/>
                          </a:solidFill>
                          <a:effectLst/>
                          <a:latin typeface="Arial" panose="020B0604020202020204" pitchFamily="34" charset="0"/>
                        </a:rPr>
                        <a:t>Estimated Share Price</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9F8"/>
                    </a:solidFill>
                  </a:tcPr>
                </a:tc>
                <a:tc>
                  <a:txBody>
                    <a:bodyPr/>
                    <a:lstStyle/>
                    <a:p>
                      <a:pPr algn="r" fontAlgn="ctr"/>
                      <a:r>
                        <a:rPr lang="en-CA" sz="900" b="1" i="0" u="none" strike="noStrike">
                          <a:solidFill>
                            <a:srgbClr val="000000"/>
                          </a:solidFill>
                          <a:effectLst/>
                          <a:latin typeface="Arial" panose="020B0604020202020204" pitchFamily="34" charset="0"/>
                        </a:rPr>
                        <a:t>$40.26</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9F8"/>
                    </a:solidFill>
                  </a:tcPr>
                </a:tc>
                <a:extLst>
                  <a:ext uri="{0D108BD9-81ED-4DB2-BD59-A6C34878D82A}">
                    <a16:rowId xmlns:a16="http://schemas.microsoft.com/office/drawing/2014/main" val="3966530844"/>
                  </a:ext>
                </a:extLst>
              </a:tr>
            </a:tbl>
          </a:graphicData>
        </a:graphic>
      </p:graphicFrame>
    </p:spTree>
    <p:extLst>
      <p:ext uri="{BB962C8B-B14F-4D97-AF65-F5344CB8AC3E}">
        <p14:creationId xmlns:p14="http://schemas.microsoft.com/office/powerpoint/2010/main" val="33058175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085B78DD-0CBA-BA14-FF31-3DE1972E4CD1}"/>
              </a:ext>
            </a:extLst>
          </p:cNvPr>
          <p:cNvGraphicFramePr>
            <a:graphicFrameLocks/>
          </p:cNvGraphicFramePr>
          <p:nvPr>
            <p:extLst>
              <p:ext uri="{D42A27DB-BD31-4B8C-83A1-F6EECF244321}">
                <p14:modId xmlns:p14="http://schemas.microsoft.com/office/powerpoint/2010/main" val="1402621487"/>
              </p:ext>
            </p:extLst>
          </p:nvPr>
        </p:nvGraphicFramePr>
        <p:xfrm>
          <a:off x="4751389" y="3961944"/>
          <a:ext cx="4053590" cy="2245569"/>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a:extLst>
              <a:ext uri="{FF2B5EF4-FFF2-40B4-BE49-F238E27FC236}">
                <a16:creationId xmlns:a16="http://schemas.microsoft.com/office/drawing/2014/main" id="{4F1FFDC7-44AA-5023-64B2-ACBF82A5AED0}"/>
              </a:ext>
            </a:extLst>
          </p:cNvPr>
          <p:cNvSpPr>
            <a:spLocks noGrp="1"/>
          </p:cNvSpPr>
          <p:nvPr>
            <p:ph type="body" sz="quarter" idx="13"/>
          </p:nvPr>
        </p:nvSpPr>
        <p:spPr/>
        <p:txBody>
          <a:bodyPr/>
          <a:lstStyle/>
          <a:p>
            <a:r>
              <a:rPr lang="en-CA"/>
              <a:t>Source(s): Lightspeed 40-F, Factiva, FactSet, Statista</a:t>
            </a:r>
          </a:p>
        </p:txBody>
      </p:sp>
      <p:sp>
        <p:nvSpPr>
          <p:cNvPr id="3" name="Text Placeholder 2">
            <a:extLst>
              <a:ext uri="{FF2B5EF4-FFF2-40B4-BE49-F238E27FC236}">
                <a16:creationId xmlns:a16="http://schemas.microsoft.com/office/drawing/2014/main" id="{F6684B09-7EAF-47FE-A393-F243C0C45BB9}"/>
              </a:ext>
            </a:extLst>
          </p:cNvPr>
          <p:cNvSpPr>
            <a:spLocks noGrp="1"/>
          </p:cNvSpPr>
          <p:nvPr>
            <p:ph type="body" sz="quarter" idx="21"/>
          </p:nvPr>
        </p:nvSpPr>
        <p:spPr/>
        <p:txBody>
          <a:bodyPr vert="horz" lIns="91440" tIns="45720" rIns="91440" bIns="45720" rtlCol="0" anchor="t">
            <a:normAutofit/>
          </a:bodyPr>
          <a:lstStyle/>
          <a:p>
            <a:r>
              <a:rPr lang="en-CA"/>
              <a:t>Buy NYSE: LSPD (Projected Implied Upside of ~ 76.53%)</a:t>
            </a:r>
          </a:p>
        </p:txBody>
      </p:sp>
      <p:sp>
        <p:nvSpPr>
          <p:cNvPr id="4" name="Title 3">
            <a:extLst>
              <a:ext uri="{FF2B5EF4-FFF2-40B4-BE49-F238E27FC236}">
                <a16:creationId xmlns:a16="http://schemas.microsoft.com/office/drawing/2014/main" id="{28BC397D-0936-089D-41CC-BA18C57F6C8B}"/>
              </a:ext>
            </a:extLst>
          </p:cNvPr>
          <p:cNvSpPr>
            <a:spLocks noGrp="1"/>
          </p:cNvSpPr>
          <p:nvPr>
            <p:ph type="title"/>
          </p:nvPr>
        </p:nvSpPr>
        <p:spPr/>
        <p:txBody>
          <a:bodyPr/>
          <a:lstStyle/>
          <a:p>
            <a:r>
              <a:rPr lang="en-CA"/>
              <a:t>Recommendation Summary</a:t>
            </a:r>
          </a:p>
        </p:txBody>
      </p:sp>
      <p:sp>
        <p:nvSpPr>
          <p:cNvPr id="5" name="Text Placeholder 4">
            <a:extLst>
              <a:ext uri="{FF2B5EF4-FFF2-40B4-BE49-F238E27FC236}">
                <a16:creationId xmlns:a16="http://schemas.microsoft.com/office/drawing/2014/main" id="{EB4B1F99-2F2F-238F-7157-FDC1D0DD7F6A}"/>
              </a:ext>
            </a:extLst>
          </p:cNvPr>
          <p:cNvSpPr>
            <a:spLocks noGrp="1"/>
          </p:cNvSpPr>
          <p:nvPr>
            <p:ph type="body" idx="26"/>
          </p:nvPr>
        </p:nvSpPr>
        <p:spPr/>
        <p:txBody>
          <a:bodyPr/>
          <a:lstStyle/>
          <a:p>
            <a:r>
              <a:rPr lang="en-CA"/>
              <a:t>Valuation Summary</a:t>
            </a:r>
          </a:p>
        </p:txBody>
      </p:sp>
      <p:sp>
        <p:nvSpPr>
          <p:cNvPr id="7" name="Text Placeholder 6">
            <a:extLst>
              <a:ext uri="{FF2B5EF4-FFF2-40B4-BE49-F238E27FC236}">
                <a16:creationId xmlns:a16="http://schemas.microsoft.com/office/drawing/2014/main" id="{1AFE339A-FBA9-9C62-32A3-ECCB74A18502}"/>
              </a:ext>
            </a:extLst>
          </p:cNvPr>
          <p:cNvSpPr>
            <a:spLocks noGrp="1"/>
          </p:cNvSpPr>
          <p:nvPr>
            <p:ph type="body" idx="27"/>
          </p:nvPr>
        </p:nvSpPr>
        <p:spPr>
          <a:xfrm>
            <a:off x="220347" y="3530394"/>
            <a:ext cx="4172266" cy="532765"/>
          </a:xfrm>
        </p:spPr>
        <p:txBody>
          <a:bodyPr>
            <a:normAutofit/>
          </a:bodyPr>
          <a:lstStyle/>
          <a:p>
            <a:endParaRPr lang="en-CA">
              <a:cs typeface="Arial"/>
            </a:endParaRPr>
          </a:p>
          <a:p>
            <a:r>
              <a:rPr lang="en-CA">
                <a:cs typeface="Arial"/>
              </a:rPr>
              <a:t>Investment Theses Summary</a:t>
            </a:r>
            <a:endParaRPr lang="en-CA">
              <a:solidFill>
                <a:srgbClr val="000000"/>
              </a:solidFill>
              <a:cs typeface="Arial"/>
            </a:endParaRPr>
          </a:p>
          <a:p>
            <a:endParaRPr lang="en-CA"/>
          </a:p>
        </p:txBody>
      </p:sp>
      <p:sp>
        <p:nvSpPr>
          <p:cNvPr id="10" name="Content Placeholder 9">
            <a:extLst>
              <a:ext uri="{FF2B5EF4-FFF2-40B4-BE49-F238E27FC236}">
                <a16:creationId xmlns:a16="http://schemas.microsoft.com/office/drawing/2014/main" id="{8D4B55FA-D1C6-DB5E-BE73-5116BB9151AD}"/>
              </a:ext>
            </a:extLst>
          </p:cNvPr>
          <p:cNvSpPr>
            <a:spLocks noGrp="1"/>
          </p:cNvSpPr>
          <p:nvPr>
            <p:ph sz="quarter" idx="29"/>
          </p:nvPr>
        </p:nvSpPr>
        <p:spPr/>
        <p:txBody>
          <a:bodyPr vert="horz" lIns="91440" tIns="45720" rIns="91440" bIns="45720" rtlCol="0" anchor="t">
            <a:normAutofit/>
          </a:bodyPr>
          <a:lstStyle/>
          <a:p>
            <a:pPr marL="227965" indent="-227965" algn="just">
              <a:spcBef>
                <a:spcPts val="400"/>
              </a:spcBef>
              <a:spcAft>
                <a:spcPts val="400"/>
              </a:spcAft>
            </a:pPr>
            <a:r>
              <a:rPr lang="en-US"/>
              <a:t>Thesis I</a:t>
            </a:r>
          </a:p>
          <a:p>
            <a:pPr marL="448622" lvl="1" indent="-227965" algn="just">
              <a:spcBef>
                <a:spcPts val="400"/>
              </a:spcBef>
              <a:spcAft>
                <a:spcPts val="400"/>
              </a:spcAft>
            </a:pPr>
            <a:r>
              <a:rPr lang="en-US"/>
              <a:t>LSPD is well positioned to profit from thriving NA retail + EMEA hospitality markets</a:t>
            </a:r>
          </a:p>
          <a:p>
            <a:pPr marL="448622" lvl="1" indent="-227965" algn="just">
              <a:spcBef>
                <a:spcPts val="400"/>
              </a:spcBef>
              <a:spcAft>
                <a:spcPts val="400"/>
              </a:spcAft>
            </a:pPr>
            <a:r>
              <a:rPr lang="en-US"/>
              <a:t>Hospitality is facing 100% POS adoption, ~$80bn TAM for LSPD</a:t>
            </a:r>
          </a:p>
          <a:p>
            <a:pPr marL="227965" indent="-227965" algn="just">
              <a:spcBef>
                <a:spcPts val="400"/>
              </a:spcBef>
              <a:spcAft>
                <a:spcPts val="400"/>
              </a:spcAft>
            </a:pPr>
            <a:r>
              <a:rPr lang="en-US"/>
              <a:t>Thesis II</a:t>
            </a:r>
          </a:p>
          <a:p>
            <a:pPr marL="448622" lvl="1" indent="-227965" algn="just">
              <a:spcBef>
                <a:spcPts val="400"/>
              </a:spcBef>
              <a:spcAft>
                <a:spcPts val="400"/>
              </a:spcAft>
            </a:pPr>
            <a:r>
              <a:rPr lang="en-US"/>
              <a:t>LSPD’s reorganization will concentrate efforts towards monetization of thesis I, while reducing headcount</a:t>
            </a:r>
          </a:p>
          <a:p>
            <a:pPr marL="448622" lvl="1" indent="-227965" algn="just">
              <a:spcBef>
                <a:spcPts val="400"/>
              </a:spcBef>
              <a:spcAft>
                <a:spcPts val="400"/>
              </a:spcAft>
            </a:pPr>
            <a:r>
              <a:rPr lang="en-US"/>
              <a:t>The reorganization will aim to upsell payments clientele towards higher margin services</a:t>
            </a:r>
          </a:p>
          <a:p>
            <a:pPr marL="448622" lvl="1" indent="-227965" algn="just">
              <a:spcBef>
                <a:spcPts val="400"/>
              </a:spcBef>
              <a:spcAft>
                <a:spcPts val="400"/>
              </a:spcAft>
            </a:pPr>
            <a:r>
              <a:rPr lang="en-US"/>
              <a:t>According to our NLP analysis, management has 79% probability of success for the reorganization</a:t>
            </a:r>
          </a:p>
          <a:p>
            <a:pPr marL="448622" lvl="1" indent="-227965" algn="just">
              <a:spcBef>
                <a:spcPts val="400"/>
              </a:spcBef>
              <a:spcAft>
                <a:spcPts val="400"/>
              </a:spcAft>
            </a:pPr>
            <a:endParaRPr lang="en-US"/>
          </a:p>
          <a:p>
            <a:pPr marL="227965" indent="-227965" algn="just">
              <a:spcBef>
                <a:spcPts val="400"/>
              </a:spcBef>
              <a:spcAft>
                <a:spcPts val="400"/>
              </a:spcAft>
            </a:pPr>
            <a:endParaRPr lang="en-US"/>
          </a:p>
          <a:p>
            <a:pPr marL="0" indent="0" algn="just">
              <a:spcBef>
                <a:spcPts val="400"/>
              </a:spcBef>
              <a:spcAft>
                <a:spcPts val="400"/>
              </a:spcAft>
              <a:buNone/>
            </a:pPr>
            <a:endParaRPr lang="en-US"/>
          </a:p>
          <a:p>
            <a:pPr marL="227965" indent="-227965" algn="just">
              <a:spcBef>
                <a:spcPts val="400"/>
              </a:spcBef>
              <a:spcAft>
                <a:spcPts val="400"/>
              </a:spcAft>
            </a:pPr>
            <a:endParaRPr lang="en-US"/>
          </a:p>
        </p:txBody>
      </p:sp>
      <p:sp>
        <p:nvSpPr>
          <p:cNvPr id="8" name="Text Placeholder 7">
            <a:extLst>
              <a:ext uri="{FF2B5EF4-FFF2-40B4-BE49-F238E27FC236}">
                <a16:creationId xmlns:a16="http://schemas.microsoft.com/office/drawing/2014/main" id="{F24B5A0C-3085-34CA-4512-4DC0DC60059B}"/>
              </a:ext>
            </a:extLst>
          </p:cNvPr>
          <p:cNvSpPr>
            <a:spLocks noGrp="1"/>
          </p:cNvSpPr>
          <p:nvPr>
            <p:ph type="body" idx="31"/>
          </p:nvPr>
        </p:nvSpPr>
        <p:spPr/>
        <p:txBody>
          <a:bodyPr/>
          <a:lstStyle/>
          <a:p>
            <a:r>
              <a:rPr lang="en-CA"/>
              <a:t>TFSIG vs Street Estimates</a:t>
            </a:r>
          </a:p>
        </p:txBody>
      </p:sp>
      <p:sp>
        <p:nvSpPr>
          <p:cNvPr id="15" name="Rectangle 14">
            <a:extLst>
              <a:ext uri="{FF2B5EF4-FFF2-40B4-BE49-F238E27FC236}">
                <a16:creationId xmlns:a16="http://schemas.microsoft.com/office/drawing/2014/main" id="{19C409CD-C6D8-C370-0884-53895D49B131}"/>
              </a:ext>
            </a:extLst>
          </p:cNvPr>
          <p:cNvSpPr/>
          <p:nvPr/>
        </p:nvSpPr>
        <p:spPr>
          <a:xfrm>
            <a:off x="234747" y="2814717"/>
            <a:ext cx="8653070" cy="7279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2000" b="1"/>
              <a:t>Rating: BUY</a:t>
            </a:r>
          </a:p>
        </p:txBody>
      </p:sp>
      <p:sp>
        <p:nvSpPr>
          <p:cNvPr id="27" name="Rectangle 26">
            <a:extLst>
              <a:ext uri="{FF2B5EF4-FFF2-40B4-BE49-F238E27FC236}">
                <a16:creationId xmlns:a16="http://schemas.microsoft.com/office/drawing/2014/main" id="{ECE4BD84-0521-CEEE-455C-7FCC9EF67434}"/>
              </a:ext>
            </a:extLst>
          </p:cNvPr>
          <p:cNvSpPr/>
          <p:nvPr/>
        </p:nvSpPr>
        <p:spPr>
          <a:xfrm>
            <a:off x="5129419" y="4020122"/>
            <a:ext cx="1452844" cy="156373"/>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b="1">
                <a:solidFill>
                  <a:schemeClr val="tx1"/>
                </a:solidFill>
              </a:rPr>
              <a:t>Current Price</a:t>
            </a:r>
          </a:p>
        </p:txBody>
      </p:sp>
      <p:graphicFrame>
        <p:nvGraphicFramePr>
          <p:cNvPr id="6" name="Content Placeholder 11">
            <a:extLst>
              <a:ext uri="{FF2B5EF4-FFF2-40B4-BE49-F238E27FC236}">
                <a16:creationId xmlns:a16="http://schemas.microsoft.com/office/drawing/2014/main" id="{1E67A446-4B29-969E-B87E-3F3F7B241D63}"/>
              </a:ext>
            </a:extLst>
          </p:cNvPr>
          <p:cNvGraphicFramePr>
            <a:graphicFrameLocks/>
          </p:cNvGraphicFramePr>
          <p:nvPr>
            <p:extLst>
              <p:ext uri="{D42A27DB-BD31-4B8C-83A1-F6EECF244321}">
                <p14:modId xmlns:p14="http://schemas.microsoft.com/office/powerpoint/2010/main" val="1303558672"/>
              </p:ext>
            </p:extLst>
          </p:nvPr>
        </p:nvGraphicFramePr>
        <p:xfrm>
          <a:off x="237744" y="1383792"/>
          <a:ext cx="8653070" cy="1327352"/>
        </p:xfrm>
        <a:graphic>
          <a:graphicData uri="http://schemas.openxmlformats.org/drawingml/2006/table">
            <a:tbl>
              <a:tblPr/>
              <a:tblGrid>
                <a:gridCol w="3312503">
                  <a:extLst>
                    <a:ext uri="{9D8B030D-6E8A-4147-A177-3AD203B41FA5}">
                      <a16:colId xmlns:a16="http://schemas.microsoft.com/office/drawing/2014/main" val="219397736"/>
                    </a:ext>
                  </a:extLst>
                </a:gridCol>
                <a:gridCol w="1509781">
                  <a:extLst>
                    <a:ext uri="{9D8B030D-6E8A-4147-A177-3AD203B41FA5}">
                      <a16:colId xmlns:a16="http://schemas.microsoft.com/office/drawing/2014/main" val="3560839499"/>
                    </a:ext>
                  </a:extLst>
                </a:gridCol>
                <a:gridCol w="2208336">
                  <a:extLst>
                    <a:ext uri="{9D8B030D-6E8A-4147-A177-3AD203B41FA5}">
                      <a16:colId xmlns:a16="http://schemas.microsoft.com/office/drawing/2014/main" val="2746174291"/>
                    </a:ext>
                  </a:extLst>
                </a:gridCol>
                <a:gridCol w="1622450">
                  <a:extLst>
                    <a:ext uri="{9D8B030D-6E8A-4147-A177-3AD203B41FA5}">
                      <a16:colId xmlns:a16="http://schemas.microsoft.com/office/drawing/2014/main" val="4030962729"/>
                    </a:ext>
                  </a:extLst>
                </a:gridCol>
              </a:tblGrid>
              <a:tr h="374382">
                <a:tc>
                  <a:txBody>
                    <a:bodyPr/>
                    <a:lstStyle/>
                    <a:p>
                      <a:pPr algn="l" fontAlgn="ctr"/>
                      <a:r>
                        <a:rPr lang="en-CA" sz="900" b="1" i="0" u="none" strike="noStrike">
                          <a:solidFill>
                            <a:srgbClr val="FFFFFF"/>
                          </a:solidFill>
                          <a:effectLst/>
                          <a:latin typeface="Arial"/>
                        </a:rPr>
                        <a:t>Valuation</a:t>
                      </a:r>
                    </a:p>
                  </a:txBody>
                  <a:tcPr marL="6472" marR="6472" marT="6472"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CA" sz="900" b="1" i="0" u="none" strike="noStrike">
                          <a:solidFill>
                            <a:srgbClr val="FFFFFF"/>
                          </a:solidFill>
                          <a:effectLst/>
                          <a:latin typeface="Arial"/>
                        </a:rPr>
                        <a:t>Implied Change</a:t>
                      </a:r>
                    </a:p>
                  </a:txBody>
                  <a:tcPr marL="6472" marR="6472" marT="6472"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CA" sz="900" b="1" i="0" u="none" strike="noStrike">
                          <a:solidFill>
                            <a:srgbClr val="FFFFFF"/>
                          </a:solidFill>
                          <a:effectLst/>
                          <a:latin typeface="Arial"/>
                        </a:rPr>
                        <a:t>Implied Price</a:t>
                      </a:r>
                    </a:p>
                  </a:txBody>
                  <a:tcPr marL="6472" marR="6472" marT="6472"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CA" sz="900" b="1" i="0" u="none" strike="noStrike">
                          <a:solidFill>
                            <a:srgbClr val="FFFFFF"/>
                          </a:solidFill>
                          <a:effectLst/>
                          <a:latin typeface="Arial"/>
                        </a:rPr>
                        <a:t>Weight</a:t>
                      </a:r>
                    </a:p>
                  </a:txBody>
                  <a:tcPr marL="6472" marR="6472" marT="6472"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3456355607"/>
                  </a:ext>
                </a:extLst>
              </a:tr>
              <a:tr h="306312">
                <a:tc>
                  <a:txBody>
                    <a:bodyPr/>
                    <a:lstStyle/>
                    <a:p>
                      <a:pPr algn="l" fontAlgn="b"/>
                      <a:r>
                        <a:rPr lang="en-CA" sz="900" b="0" i="0" u="none" strike="noStrike">
                          <a:solidFill>
                            <a:srgbClr val="000000"/>
                          </a:solidFill>
                          <a:effectLst/>
                          <a:latin typeface="Arial"/>
                        </a:rPr>
                        <a:t>DCF TGR (10 Year)</a:t>
                      </a:r>
                    </a:p>
                  </a:txBody>
                  <a:tcPr marL="6472" marR="6472" marT="6472"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chemeClr val="tx1"/>
                          </a:solidFill>
                          <a:effectLst/>
                          <a:latin typeface="Arial"/>
                        </a:rPr>
                        <a:t>57.30%</a:t>
                      </a:r>
                    </a:p>
                  </a:txBody>
                  <a:tcPr marL="6472" marR="6472" marT="6472"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a:rPr>
                        <a:t>$20.68</a:t>
                      </a:r>
                    </a:p>
                  </a:txBody>
                  <a:tcPr marL="6472" marR="6472" marT="6472"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a:rPr>
                        <a:t>85%</a:t>
                      </a:r>
                    </a:p>
                  </a:txBody>
                  <a:tcPr marL="6472" marR="6472" marT="6472"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277195800"/>
                  </a:ext>
                </a:extLst>
              </a:tr>
              <a:tr h="323329">
                <a:tc>
                  <a:txBody>
                    <a:bodyPr/>
                    <a:lstStyle/>
                    <a:p>
                      <a:pPr algn="l" fontAlgn="b"/>
                      <a:r>
                        <a:rPr lang="en-CA" sz="900" b="0" i="0" u="none" strike="noStrike">
                          <a:solidFill>
                            <a:srgbClr val="000000"/>
                          </a:solidFill>
                          <a:effectLst/>
                          <a:latin typeface="Arial"/>
                        </a:rPr>
                        <a:t>Relative Valuation</a:t>
                      </a:r>
                    </a:p>
                  </a:txBody>
                  <a:tcPr marL="6472" marR="6472" marT="6472"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chemeClr val="tx1"/>
                          </a:solidFill>
                          <a:effectLst/>
                          <a:latin typeface="Arial"/>
                        </a:rPr>
                        <a:t>190.41%</a:t>
                      </a:r>
                    </a:p>
                  </a:txBody>
                  <a:tcPr marL="6472" marR="6472" marT="6472"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a:rPr>
                        <a:t>$38.19</a:t>
                      </a:r>
                    </a:p>
                  </a:txBody>
                  <a:tcPr marL="6472" marR="6472" marT="6472"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a:rPr>
                        <a:t>15%</a:t>
                      </a:r>
                    </a:p>
                  </a:txBody>
                  <a:tcPr marL="6472" marR="6472" marT="6472"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14954601"/>
                  </a:ext>
                </a:extLst>
              </a:tr>
              <a:tr h="323329">
                <a:tc>
                  <a:txBody>
                    <a:bodyPr/>
                    <a:lstStyle/>
                    <a:p>
                      <a:pPr algn="l" fontAlgn="b"/>
                      <a:r>
                        <a:rPr lang="en-CA" sz="900" b="1" i="0" u="none" strike="noStrike">
                          <a:solidFill>
                            <a:srgbClr val="000000"/>
                          </a:solidFill>
                          <a:effectLst/>
                          <a:latin typeface="Arial"/>
                        </a:rPr>
                        <a:t>Total</a:t>
                      </a:r>
                    </a:p>
                  </a:txBody>
                  <a:tcPr marL="6472" marR="6472" marT="6472"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chemeClr val="tx1"/>
                          </a:solidFill>
                          <a:effectLst/>
                          <a:latin typeface="Arial"/>
                        </a:rPr>
                        <a:t>77.27%</a:t>
                      </a:r>
                    </a:p>
                  </a:txBody>
                  <a:tcPr marL="6472" marR="6472" marT="647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en-CA" sz="900" b="1" i="0" u="none" strike="noStrike">
                          <a:solidFill>
                            <a:srgbClr val="000000"/>
                          </a:solidFill>
                          <a:effectLst/>
                          <a:latin typeface="Arial"/>
                        </a:rPr>
                        <a:t>$23.</a:t>
                      </a:r>
                    </a:p>
                  </a:txBody>
                  <a:tcPr marL="6472" marR="6472" marT="647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en-CA" sz="900" b="0" i="0" u="none" strike="noStrike">
                        <a:solidFill>
                          <a:srgbClr val="000000"/>
                        </a:solidFill>
                        <a:effectLst/>
                        <a:latin typeface="Arial"/>
                      </a:endParaRPr>
                    </a:p>
                  </a:txBody>
                  <a:tcPr marL="6472" marR="6472" marT="6472"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682083"/>
                  </a:ext>
                </a:extLst>
              </a:tr>
            </a:tbl>
          </a:graphicData>
        </a:graphic>
      </p:graphicFrame>
      <p:cxnSp>
        <p:nvCxnSpPr>
          <p:cNvPr id="20" name="Straight Connector 19">
            <a:extLst>
              <a:ext uri="{FF2B5EF4-FFF2-40B4-BE49-F238E27FC236}">
                <a16:creationId xmlns:a16="http://schemas.microsoft.com/office/drawing/2014/main" id="{32A7D996-B330-A9EC-50AE-0DD77FBEE96D}"/>
              </a:ext>
            </a:extLst>
          </p:cNvPr>
          <p:cNvCxnSpPr>
            <a:cxnSpLocks/>
          </p:cNvCxnSpPr>
          <p:nvPr/>
        </p:nvCxnSpPr>
        <p:spPr>
          <a:xfrm>
            <a:off x="5855841" y="4227103"/>
            <a:ext cx="0" cy="172131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3525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BCA3B-DA2D-FA92-ECDC-CA492003E4FD}"/>
            </a:ext>
          </a:extLst>
        </p:cNvPr>
        <p:cNvGrpSpPr/>
        <p:nvPr/>
      </p:nvGrpSpPr>
      <p:grpSpPr>
        <a:xfrm>
          <a:off x="0" y="0"/>
          <a:ext cx="0" cy="0"/>
          <a:chOff x="0" y="0"/>
          <a:chExt cx="0" cy="0"/>
        </a:xfrm>
      </p:grpSpPr>
    </p:spTree>
    <p:extLst>
      <p:ext uri="{BB962C8B-B14F-4D97-AF65-F5344CB8AC3E}">
        <p14:creationId xmlns:p14="http://schemas.microsoft.com/office/powerpoint/2010/main" val="12436013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92B634C-77AB-A6C5-93B7-61C24400C705}"/>
              </a:ext>
            </a:extLst>
          </p:cNvPr>
          <p:cNvSpPr>
            <a:spLocks noGrp="1"/>
          </p:cNvSpPr>
          <p:nvPr>
            <p:ph type="title"/>
          </p:nvPr>
        </p:nvSpPr>
        <p:spPr/>
        <p:txBody>
          <a:bodyPr/>
          <a:lstStyle/>
          <a:p>
            <a:r>
              <a:rPr lang="en-US"/>
              <a:t>VII. Appendix </a:t>
            </a:r>
          </a:p>
        </p:txBody>
      </p:sp>
      <p:sp>
        <p:nvSpPr>
          <p:cNvPr id="7" name="Text Placeholder 6">
            <a:extLst>
              <a:ext uri="{FF2B5EF4-FFF2-40B4-BE49-F238E27FC236}">
                <a16:creationId xmlns:a16="http://schemas.microsoft.com/office/drawing/2014/main" id="{81E55B4E-4BDE-A3FC-0BBB-04D1D273454E}"/>
              </a:ext>
            </a:extLst>
          </p:cNvPr>
          <p:cNvSpPr>
            <a:spLocks noGrp="1"/>
          </p:cNvSpPr>
          <p:nvPr>
            <p:ph type="body" sz="quarter" idx="18"/>
          </p:nvPr>
        </p:nvSpPr>
        <p:spPr/>
        <p:txBody>
          <a:bodyPr/>
          <a:lstStyle/>
          <a:p>
            <a:endParaRPr lang="en-US"/>
          </a:p>
        </p:txBody>
      </p:sp>
      <p:sp>
        <p:nvSpPr>
          <p:cNvPr id="8" name="Text Placeholder 7">
            <a:extLst>
              <a:ext uri="{FF2B5EF4-FFF2-40B4-BE49-F238E27FC236}">
                <a16:creationId xmlns:a16="http://schemas.microsoft.com/office/drawing/2014/main" id="{D99B3323-6AB2-4F27-2897-0EE0E9DB57A4}"/>
              </a:ext>
            </a:extLst>
          </p:cNvPr>
          <p:cNvSpPr>
            <a:spLocks noGrp="1"/>
          </p:cNvSpPr>
          <p:nvPr>
            <p:ph type="body" sz="quarter" idx="19"/>
          </p:nvPr>
        </p:nvSpPr>
        <p:spPr/>
        <p:txBody>
          <a:bodyPr/>
          <a:lstStyle/>
          <a:p>
            <a:endParaRPr lang="en-US"/>
          </a:p>
        </p:txBody>
      </p:sp>
    </p:spTree>
    <p:extLst>
      <p:ext uri="{BB962C8B-B14F-4D97-AF65-F5344CB8AC3E}">
        <p14:creationId xmlns:p14="http://schemas.microsoft.com/office/powerpoint/2010/main" val="6431453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BFD42FC-E9D6-018D-364F-481155DB4EF2}"/>
              </a:ext>
            </a:extLst>
          </p:cNvPr>
          <p:cNvSpPr>
            <a:spLocks noGrp="1"/>
          </p:cNvSpPr>
          <p:nvPr>
            <p:ph type="body" sz="quarter" idx="13"/>
          </p:nvPr>
        </p:nvSpPr>
        <p:spPr/>
        <p:txBody>
          <a:bodyPr/>
          <a:lstStyle/>
          <a:p>
            <a:r>
              <a:rPr lang="en-US"/>
              <a:t>Source: </a:t>
            </a:r>
            <a:r>
              <a:rPr lang="en-US" err="1"/>
              <a:t>PitchBook</a:t>
            </a:r>
            <a:r>
              <a:rPr lang="en-US"/>
              <a:t>, proprietary NLP model</a:t>
            </a:r>
          </a:p>
          <a:p>
            <a:endParaRPr lang="en-US"/>
          </a:p>
        </p:txBody>
      </p:sp>
      <p:sp>
        <p:nvSpPr>
          <p:cNvPr id="3" name="Text Placeholder 2">
            <a:extLst>
              <a:ext uri="{FF2B5EF4-FFF2-40B4-BE49-F238E27FC236}">
                <a16:creationId xmlns:a16="http://schemas.microsoft.com/office/drawing/2014/main" id="{9616C30B-CB12-1591-7622-EBCDA382D536}"/>
              </a:ext>
            </a:extLst>
          </p:cNvPr>
          <p:cNvSpPr>
            <a:spLocks noGrp="1"/>
          </p:cNvSpPr>
          <p:nvPr>
            <p:ph type="body" sz="quarter" idx="21"/>
          </p:nvPr>
        </p:nvSpPr>
        <p:spPr/>
        <p:txBody>
          <a:bodyPr/>
          <a:lstStyle/>
          <a:p>
            <a:endParaRPr lang="en-US"/>
          </a:p>
        </p:txBody>
      </p:sp>
      <p:sp>
        <p:nvSpPr>
          <p:cNvPr id="4" name="Title 3">
            <a:extLst>
              <a:ext uri="{FF2B5EF4-FFF2-40B4-BE49-F238E27FC236}">
                <a16:creationId xmlns:a16="http://schemas.microsoft.com/office/drawing/2014/main" id="{158A7BA3-660D-6795-46C4-590C35EB2765}"/>
              </a:ext>
            </a:extLst>
          </p:cNvPr>
          <p:cNvSpPr>
            <a:spLocks noGrp="1"/>
          </p:cNvSpPr>
          <p:nvPr>
            <p:ph type="title"/>
          </p:nvPr>
        </p:nvSpPr>
        <p:spPr/>
        <p:txBody>
          <a:bodyPr/>
          <a:lstStyle/>
          <a:p>
            <a:r>
              <a:rPr lang="en-US"/>
              <a:t>Appendix I</a:t>
            </a:r>
          </a:p>
        </p:txBody>
      </p:sp>
      <p:sp>
        <p:nvSpPr>
          <p:cNvPr id="6" name="Text Placeholder 5">
            <a:extLst>
              <a:ext uri="{FF2B5EF4-FFF2-40B4-BE49-F238E27FC236}">
                <a16:creationId xmlns:a16="http://schemas.microsoft.com/office/drawing/2014/main" id="{B163221E-4D78-14A1-209B-18CD671C3AD8}"/>
              </a:ext>
            </a:extLst>
          </p:cNvPr>
          <p:cNvSpPr>
            <a:spLocks noGrp="1"/>
          </p:cNvSpPr>
          <p:nvPr>
            <p:ph type="body" idx="26"/>
          </p:nvPr>
        </p:nvSpPr>
        <p:spPr/>
        <p:txBody>
          <a:bodyPr/>
          <a:lstStyle/>
          <a:p>
            <a:r>
              <a:rPr lang="en-US"/>
              <a:t>JP Chauvet (Old CEO) Efficiency Score (Q3 ‘23 – Q3 ‘24)</a:t>
            </a:r>
          </a:p>
        </p:txBody>
      </p:sp>
      <p:sp>
        <p:nvSpPr>
          <p:cNvPr id="7" name="Text Placeholder 6">
            <a:extLst>
              <a:ext uri="{FF2B5EF4-FFF2-40B4-BE49-F238E27FC236}">
                <a16:creationId xmlns:a16="http://schemas.microsoft.com/office/drawing/2014/main" id="{C696CE23-1090-B401-7F15-3C0399764227}"/>
              </a:ext>
            </a:extLst>
          </p:cNvPr>
          <p:cNvSpPr>
            <a:spLocks noGrp="1"/>
          </p:cNvSpPr>
          <p:nvPr>
            <p:ph type="body" idx="27"/>
          </p:nvPr>
        </p:nvSpPr>
        <p:spPr/>
        <p:txBody>
          <a:bodyPr/>
          <a:lstStyle/>
          <a:p>
            <a:r>
              <a:rPr lang="en-US"/>
              <a:t>Dax Dasilva Efficiency Score (Q4 ‘24 – Q3 ‘25)</a:t>
            </a:r>
          </a:p>
        </p:txBody>
      </p:sp>
      <p:graphicFrame>
        <p:nvGraphicFramePr>
          <p:cNvPr id="13" name="Content Placeholder 12">
            <a:extLst>
              <a:ext uri="{FF2B5EF4-FFF2-40B4-BE49-F238E27FC236}">
                <a16:creationId xmlns:a16="http://schemas.microsoft.com/office/drawing/2014/main" id="{9A482C56-FC75-95E4-5BB6-D4E0B437A47E}"/>
              </a:ext>
            </a:extLst>
          </p:cNvPr>
          <p:cNvGraphicFramePr>
            <a:graphicFrameLocks noGrp="1"/>
          </p:cNvGraphicFramePr>
          <p:nvPr>
            <p:ph sz="quarter" idx="23"/>
            <p:extLst>
              <p:ext uri="{D42A27DB-BD31-4B8C-83A1-F6EECF244321}">
                <p14:modId xmlns:p14="http://schemas.microsoft.com/office/powerpoint/2010/main" val="3580607324"/>
              </p:ext>
            </p:extLst>
          </p:nvPr>
        </p:nvGraphicFramePr>
        <p:xfrm>
          <a:off x="250825" y="1611605"/>
          <a:ext cx="8642350" cy="1723440"/>
        </p:xfrm>
        <a:graphic>
          <a:graphicData uri="http://schemas.openxmlformats.org/drawingml/2006/table">
            <a:tbl>
              <a:tblPr/>
              <a:tblGrid>
                <a:gridCol w="1913192">
                  <a:extLst>
                    <a:ext uri="{9D8B030D-6E8A-4147-A177-3AD203B41FA5}">
                      <a16:colId xmlns:a16="http://schemas.microsoft.com/office/drawing/2014/main" val="736353138"/>
                    </a:ext>
                  </a:extLst>
                </a:gridCol>
                <a:gridCol w="1658728">
                  <a:extLst>
                    <a:ext uri="{9D8B030D-6E8A-4147-A177-3AD203B41FA5}">
                      <a16:colId xmlns:a16="http://schemas.microsoft.com/office/drawing/2014/main" val="686926391"/>
                    </a:ext>
                  </a:extLst>
                </a:gridCol>
                <a:gridCol w="4250491">
                  <a:extLst>
                    <a:ext uri="{9D8B030D-6E8A-4147-A177-3AD203B41FA5}">
                      <a16:colId xmlns:a16="http://schemas.microsoft.com/office/drawing/2014/main" val="532292590"/>
                    </a:ext>
                  </a:extLst>
                </a:gridCol>
                <a:gridCol w="819939">
                  <a:extLst>
                    <a:ext uri="{9D8B030D-6E8A-4147-A177-3AD203B41FA5}">
                      <a16:colId xmlns:a16="http://schemas.microsoft.com/office/drawing/2014/main" val="4122459056"/>
                    </a:ext>
                  </a:extLst>
                </a:gridCol>
              </a:tblGrid>
              <a:tr h="188698">
                <a:tc>
                  <a:txBody>
                    <a:bodyPr/>
                    <a:lstStyle/>
                    <a:p>
                      <a:pPr algn="ctr" fontAlgn="t"/>
                      <a:r>
                        <a:rPr lang="en-CA" sz="900" b="1" i="0" u="none" strike="noStrike">
                          <a:solidFill>
                            <a:srgbClr val="FFFFFF"/>
                          </a:solidFill>
                          <a:effectLst/>
                          <a:latin typeface="+mn-lt"/>
                        </a:rPr>
                        <a:t>Key Objectiv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ctr" fontAlgn="t"/>
                      <a:r>
                        <a:rPr lang="en-CA" sz="900" b="1" i="0" u="none" strike="noStrike">
                          <a:solidFill>
                            <a:srgbClr val="FFFFFF"/>
                          </a:solidFill>
                          <a:effectLst/>
                          <a:latin typeface="+mn-lt"/>
                        </a:rPr>
                        <a:t>Guidan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ctr" fontAlgn="t"/>
                      <a:r>
                        <a:rPr lang="en-CA" sz="900" b="1" i="0" u="none" strike="noStrike">
                          <a:solidFill>
                            <a:srgbClr val="FFFFFF"/>
                          </a:solidFill>
                          <a:effectLst/>
                          <a:latin typeface="+mn-lt"/>
                        </a:rPr>
                        <a:t>Outco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ctr" fontAlgn="t"/>
                      <a:r>
                        <a:rPr lang="en-CA" sz="900" b="1" i="0" u="none" strike="noStrike">
                          <a:solidFill>
                            <a:srgbClr val="FFFFFF"/>
                          </a:solidFill>
                          <a:effectLst/>
                          <a:latin typeface="+mn-lt"/>
                        </a:rPr>
                        <a:t>Score (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extLst>
                  <a:ext uri="{0D108BD9-81ED-4DB2-BD59-A6C34878D82A}">
                    <a16:rowId xmlns:a16="http://schemas.microsoft.com/office/drawing/2014/main" val="283532740"/>
                  </a:ext>
                </a:extLst>
              </a:tr>
              <a:tr h="188698">
                <a:tc>
                  <a:txBody>
                    <a:bodyPr/>
                    <a:lstStyle/>
                    <a:p>
                      <a:pPr algn="ctr" fontAlgn="b"/>
                      <a:r>
                        <a:rPr lang="en-CA" sz="900" b="0" i="0" u="none" strike="noStrike">
                          <a:solidFill>
                            <a:srgbClr val="000000"/>
                          </a:solidFill>
                          <a:effectLst/>
                          <a:latin typeface="+mn-lt"/>
                        </a:rPr>
                        <a:t>Revenue Growth</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20-25% YoY</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24% YoY growth, aligned with guidance</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9</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8ACE9C"/>
                    </a:solidFill>
                  </a:tcPr>
                </a:tc>
                <a:extLst>
                  <a:ext uri="{0D108BD9-81ED-4DB2-BD59-A6C34878D82A}">
                    <a16:rowId xmlns:a16="http://schemas.microsoft.com/office/drawing/2014/main" val="3789435968"/>
                  </a:ext>
                </a:extLst>
              </a:tr>
              <a:tr h="188698">
                <a:tc>
                  <a:txBody>
                    <a:bodyPr/>
                    <a:lstStyle/>
                    <a:p>
                      <a:pPr algn="ctr" fontAlgn="b"/>
                      <a:r>
                        <a:rPr lang="en-CA" sz="900" b="0" i="0" u="none" strike="noStrike">
                          <a:solidFill>
                            <a:srgbClr val="000000"/>
                          </a:solidFill>
                          <a:effectLst/>
                          <a:latin typeface="+mn-lt"/>
                        </a:rPr>
                        <a:t>EBITDA Break-even</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Achieve positive EBITDA</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EBITDA improved significantly but remained negative</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7</a:t>
                      </a:r>
                    </a:p>
                  </a:txBody>
                  <a:tcPr marL="0" marR="0" marT="0" marB="0" anchor="ctr">
                    <a:lnL>
                      <a:noFill/>
                    </a:lnL>
                    <a:lnR>
                      <a:noFill/>
                    </a:lnR>
                    <a:lnT>
                      <a:noFill/>
                    </a:lnT>
                    <a:lnB>
                      <a:noFill/>
                    </a:lnB>
                    <a:solidFill>
                      <a:srgbClr val="D6EDDE"/>
                    </a:solidFill>
                  </a:tcPr>
                </a:tc>
                <a:extLst>
                  <a:ext uri="{0D108BD9-81ED-4DB2-BD59-A6C34878D82A}">
                    <a16:rowId xmlns:a16="http://schemas.microsoft.com/office/drawing/2014/main" val="1216149985"/>
                  </a:ext>
                </a:extLst>
              </a:tr>
              <a:tr h="188698">
                <a:tc>
                  <a:txBody>
                    <a:bodyPr/>
                    <a:lstStyle/>
                    <a:p>
                      <a:pPr algn="ctr" fontAlgn="b"/>
                      <a:r>
                        <a:rPr lang="en-CA" sz="900" b="0" i="0" u="none" strike="noStrike">
                          <a:solidFill>
                            <a:srgbClr val="000000"/>
                          </a:solidFill>
                          <a:effectLst/>
                          <a:latin typeface="+mn-lt"/>
                        </a:rPr>
                        <a:t>Payments Penetration</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30-35% GPV Target</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Payments GPV at 32%, met expectations</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10</a:t>
                      </a:r>
                    </a:p>
                  </a:txBody>
                  <a:tcPr marL="0" marR="0" marT="0" marB="0" anchor="ctr">
                    <a:lnL>
                      <a:noFill/>
                    </a:lnL>
                    <a:lnR>
                      <a:noFill/>
                    </a:lnR>
                    <a:lnT>
                      <a:noFill/>
                    </a:lnT>
                    <a:lnB>
                      <a:noFill/>
                    </a:lnB>
                    <a:solidFill>
                      <a:srgbClr val="63BE7B"/>
                    </a:solidFill>
                  </a:tcPr>
                </a:tc>
                <a:extLst>
                  <a:ext uri="{0D108BD9-81ED-4DB2-BD59-A6C34878D82A}">
                    <a16:rowId xmlns:a16="http://schemas.microsoft.com/office/drawing/2014/main" val="1425778636"/>
                  </a:ext>
                </a:extLst>
              </a:tr>
              <a:tr h="188698">
                <a:tc>
                  <a:txBody>
                    <a:bodyPr/>
                    <a:lstStyle/>
                    <a:p>
                      <a:pPr algn="ctr" fontAlgn="b"/>
                      <a:r>
                        <a:rPr lang="en-CA" sz="900" b="0" i="0" u="none" strike="noStrike">
                          <a:solidFill>
                            <a:srgbClr val="000000"/>
                          </a:solidFill>
                          <a:effectLst/>
                          <a:latin typeface="+mn-lt"/>
                        </a:rPr>
                        <a:t>Cost Efficiency</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SG&amp;A &amp; R&amp;D Optimization</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SG&amp;A &amp; R&amp;D reduced, but restructuring costs remained</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7</a:t>
                      </a:r>
                    </a:p>
                  </a:txBody>
                  <a:tcPr marL="0" marR="0" marT="0" marB="0" anchor="ctr">
                    <a:lnL>
                      <a:noFill/>
                    </a:lnL>
                    <a:lnR>
                      <a:noFill/>
                    </a:lnR>
                    <a:lnT>
                      <a:noFill/>
                    </a:lnT>
                    <a:lnB>
                      <a:noFill/>
                    </a:lnB>
                    <a:solidFill>
                      <a:srgbClr val="D6EDDE"/>
                    </a:solidFill>
                  </a:tcPr>
                </a:tc>
                <a:extLst>
                  <a:ext uri="{0D108BD9-81ED-4DB2-BD59-A6C34878D82A}">
                    <a16:rowId xmlns:a16="http://schemas.microsoft.com/office/drawing/2014/main" val="3745005843"/>
                  </a:ext>
                </a:extLst>
              </a:tr>
              <a:tr h="188698">
                <a:tc>
                  <a:txBody>
                    <a:bodyPr/>
                    <a:lstStyle/>
                    <a:p>
                      <a:pPr algn="ctr" fontAlgn="b"/>
                      <a:r>
                        <a:rPr lang="en-CA" sz="900" b="0" i="0" u="none" strike="noStrike">
                          <a:solidFill>
                            <a:srgbClr val="000000"/>
                          </a:solidFill>
                          <a:effectLst/>
                          <a:latin typeface="+mn-lt"/>
                        </a:rPr>
                        <a:t>Net Income Path to Profitability</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Reduce losses</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Losses narrowed but not yet profitable</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6</a:t>
                      </a:r>
                    </a:p>
                  </a:txBody>
                  <a:tcPr marL="0" marR="0" marT="0" marB="0" anchor="ctr">
                    <a:lnL>
                      <a:noFill/>
                    </a:lnL>
                    <a:lnR>
                      <a:noFill/>
                    </a:lnR>
                    <a:lnT>
                      <a:noFill/>
                    </a:lnT>
                    <a:lnB>
                      <a:noFill/>
                    </a:lnB>
                    <a:solidFill>
                      <a:srgbClr val="FCFCFF"/>
                    </a:solidFill>
                  </a:tcPr>
                </a:tc>
                <a:extLst>
                  <a:ext uri="{0D108BD9-81ED-4DB2-BD59-A6C34878D82A}">
                    <a16:rowId xmlns:a16="http://schemas.microsoft.com/office/drawing/2014/main" val="3651716018"/>
                  </a:ext>
                </a:extLst>
              </a:tr>
              <a:tr h="188698">
                <a:tc>
                  <a:txBody>
                    <a:bodyPr/>
                    <a:lstStyle/>
                    <a:p>
                      <a:pPr algn="ctr" fontAlgn="b"/>
                      <a:r>
                        <a:rPr lang="en-CA" sz="900" b="0" i="0" u="none" strike="noStrike">
                          <a:solidFill>
                            <a:srgbClr val="000000"/>
                          </a:solidFill>
                          <a:effectLst/>
                          <a:latin typeface="+mn-lt"/>
                        </a:rPr>
                        <a:t>Cash Flow Improvement</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Move towards positive FCF</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FCF still negative but improving</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6</a:t>
                      </a:r>
                    </a:p>
                  </a:txBody>
                  <a:tcPr marL="0" marR="0" marT="0" marB="0" anchor="ctr">
                    <a:lnL>
                      <a:noFill/>
                    </a:lnL>
                    <a:lnR>
                      <a:noFill/>
                    </a:lnR>
                    <a:lnT>
                      <a:noFill/>
                    </a:lnT>
                    <a:lnB>
                      <a:noFill/>
                    </a:lnB>
                    <a:solidFill>
                      <a:srgbClr val="FCFCFF"/>
                    </a:solidFill>
                  </a:tcPr>
                </a:tc>
                <a:extLst>
                  <a:ext uri="{0D108BD9-81ED-4DB2-BD59-A6C34878D82A}">
                    <a16:rowId xmlns:a16="http://schemas.microsoft.com/office/drawing/2014/main" val="2061192081"/>
                  </a:ext>
                </a:extLst>
              </a:tr>
              <a:tr h="201277">
                <a:tc>
                  <a:txBody>
                    <a:bodyPr/>
                    <a:lstStyle/>
                    <a:p>
                      <a:pPr algn="ctr" fontAlgn="b"/>
                      <a:r>
                        <a:rPr lang="en-CA" sz="900" b="0" i="0" u="none" strike="noStrike">
                          <a:solidFill>
                            <a:srgbClr val="000000"/>
                          </a:solidFill>
                          <a:effectLst/>
                          <a:latin typeface="+mn-lt"/>
                        </a:rPr>
                        <a:t>Stock Performance &amp; Buybacks</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Enhance shareholder returns</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Stock repurchases occurred, but share price remained under pressure</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6</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733261472"/>
                  </a:ext>
                </a:extLst>
              </a:tr>
              <a:tr h="201277">
                <a:tc>
                  <a:txBody>
                    <a:bodyPr/>
                    <a:lstStyle/>
                    <a:p>
                      <a:pPr algn="l" fontAlgn="b"/>
                      <a:endParaRPr lang="en-CA" sz="900" b="0" i="0" u="none" strike="noStrike">
                        <a:solidFill>
                          <a:srgbClr val="000000"/>
                        </a:solidFill>
                        <a:effectLst/>
                        <a:latin typeface="+mn-lt"/>
                      </a:endParaRPr>
                    </a:p>
                  </a:txBody>
                  <a:tcPr marL="0" marR="0" marT="0"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mn-lt"/>
                      </a:endParaRPr>
                    </a:p>
                  </a:txBody>
                  <a:tcPr marL="0" marR="0" marT="0"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ctr" fontAlgn="b"/>
                      <a:r>
                        <a:rPr lang="en-CA" sz="900" b="1" i="0" u="none" strike="noStrike">
                          <a:solidFill>
                            <a:srgbClr val="000000"/>
                          </a:solidFill>
                          <a:effectLst/>
                          <a:latin typeface="+mn-lt"/>
                        </a:rPr>
                        <a:t>Average Efficiency Score</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ctr" fontAlgn="b"/>
                      <a:r>
                        <a:rPr lang="en-CA" sz="900" b="1" i="0" u="none" strike="noStrike">
                          <a:solidFill>
                            <a:srgbClr val="000000"/>
                          </a:solidFill>
                          <a:effectLst/>
                          <a:latin typeface="+mn-lt"/>
                        </a:rPr>
                        <a:t>73%</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605024995"/>
                  </a:ext>
                </a:extLst>
              </a:tr>
            </a:tbl>
          </a:graphicData>
        </a:graphic>
      </p:graphicFrame>
      <p:graphicFrame>
        <p:nvGraphicFramePr>
          <p:cNvPr id="21" name="Content Placeholder 20">
            <a:extLst>
              <a:ext uri="{FF2B5EF4-FFF2-40B4-BE49-F238E27FC236}">
                <a16:creationId xmlns:a16="http://schemas.microsoft.com/office/drawing/2014/main" id="{4509AB78-A3A3-F19A-64BD-04738CD4528F}"/>
              </a:ext>
            </a:extLst>
          </p:cNvPr>
          <p:cNvGraphicFramePr>
            <a:graphicFrameLocks noGrp="1"/>
          </p:cNvGraphicFramePr>
          <p:nvPr>
            <p:ph sz="quarter" idx="29"/>
            <p:extLst>
              <p:ext uri="{D42A27DB-BD31-4B8C-83A1-F6EECF244321}">
                <p14:modId xmlns:p14="http://schemas.microsoft.com/office/powerpoint/2010/main" val="1352668969"/>
              </p:ext>
            </p:extLst>
          </p:nvPr>
        </p:nvGraphicFramePr>
        <p:xfrm>
          <a:off x="250825" y="4205291"/>
          <a:ext cx="8642350" cy="1797044"/>
        </p:xfrm>
        <a:graphic>
          <a:graphicData uri="http://schemas.openxmlformats.org/drawingml/2006/table">
            <a:tbl>
              <a:tblPr/>
              <a:tblGrid>
                <a:gridCol w="1798766">
                  <a:extLst>
                    <a:ext uri="{9D8B030D-6E8A-4147-A177-3AD203B41FA5}">
                      <a16:colId xmlns:a16="http://schemas.microsoft.com/office/drawing/2014/main" val="2809975863"/>
                    </a:ext>
                  </a:extLst>
                </a:gridCol>
                <a:gridCol w="2740978">
                  <a:extLst>
                    <a:ext uri="{9D8B030D-6E8A-4147-A177-3AD203B41FA5}">
                      <a16:colId xmlns:a16="http://schemas.microsoft.com/office/drawing/2014/main" val="956001979"/>
                    </a:ext>
                  </a:extLst>
                </a:gridCol>
                <a:gridCol w="3331706">
                  <a:extLst>
                    <a:ext uri="{9D8B030D-6E8A-4147-A177-3AD203B41FA5}">
                      <a16:colId xmlns:a16="http://schemas.microsoft.com/office/drawing/2014/main" val="479617051"/>
                    </a:ext>
                  </a:extLst>
                </a:gridCol>
                <a:gridCol w="770900">
                  <a:extLst>
                    <a:ext uri="{9D8B030D-6E8A-4147-A177-3AD203B41FA5}">
                      <a16:colId xmlns:a16="http://schemas.microsoft.com/office/drawing/2014/main" val="3605200794"/>
                    </a:ext>
                  </a:extLst>
                </a:gridCol>
              </a:tblGrid>
              <a:tr h="177340">
                <a:tc>
                  <a:txBody>
                    <a:bodyPr/>
                    <a:lstStyle/>
                    <a:p>
                      <a:pPr algn="ctr" fontAlgn="t"/>
                      <a:r>
                        <a:rPr lang="en-CA" sz="900" b="1" i="0" u="none" strike="noStrike">
                          <a:solidFill>
                            <a:srgbClr val="FFFFFF"/>
                          </a:solidFill>
                          <a:effectLst/>
                          <a:latin typeface="+mn-lt"/>
                        </a:rPr>
                        <a:t>Key Objectiv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ctr" fontAlgn="t"/>
                      <a:r>
                        <a:rPr lang="en-CA" sz="900" b="1" i="0" u="none" strike="noStrike">
                          <a:solidFill>
                            <a:srgbClr val="FFFFFF"/>
                          </a:solidFill>
                          <a:effectLst/>
                          <a:latin typeface="+mn-lt"/>
                        </a:rPr>
                        <a:t>Guidan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ctr" fontAlgn="t"/>
                      <a:r>
                        <a:rPr lang="en-CA" sz="900" b="1" i="0" u="none" strike="noStrike">
                          <a:solidFill>
                            <a:srgbClr val="FFFFFF"/>
                          </a:solidFill>
                          <a:effectLst/>
                          <a:latin typeface="+mn-lt"/>
                        </a:rPr>
                        <a:t>Outco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ctr" fontAlgn="t"/>
                      <a:r>
                        <a:rPr lang="en-CA" sz="900" b="1" i="0" u="none" strike="noStrike">
                          <a:solidFill>
                            <a:srgbClr val="FFFFFF"/>
                          </a:solidFill>
                          <a:effectLst/>
                          <a:latin typeface="+mn-lt"/>
                        </a:rPr>
                        <a:t>Score (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extLst>
                  <a:ext uri="{0D108BD9-81ED-4DB2-BD59-A6C34878D82A}">
                    <a16:rowId xmlns:a16="http://schemas.microsoft.com/office/drawing/2014/main" val="1382068254"/>
                  </a:ext>
                </a:extLst>
              </a:tr>
              <a:tr h="177340">
                <a:tc>
                  <a:txBody>
                    <a:bodyPr/>
                    <a:lstStyle/>
                    <a:p>
                      <a:pPr algn="ctr" fontAlgn="b"/>
                      <a:r>
                        <a:rPr lang="en-CA" sz="900" b="0" i="0" u="none" strike="noStrike">
                          <a:solidFill>
                            <a:srgbClr val="000000"/>
                          </a:solidFill>
                          <a:effectLst/>
                          <a:latin typeface="+mn-lt"/>
                        </a:rPr>
                        <a:t>Revenue Growth</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15-20% YoY</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16% YoY growth, within guidance</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9</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8ACE9C"/>
                    </a:solidFill>
                  </a:tcPr>
                </a:tc>
                <a:extLst>
                  <a:ext uri="{0D108BD9-81ED-4DB2-BD59-A6C34878D82A}">
                    <a16:rowId xmlns:a16="http://schemas.microsoft.com/office/drawing/2014/main" val="299240948"/>
                  </a:ext>
                </a:extLst>
              </a:tr>
              <a:tr h="177340">
                <a:tc>
                  <a:txBody>
                    <a:bodyPr/>
                    <a:lstStyle/>
                    <a:p>
                      <a:pPr algn="ctr" fontAlgn="b"/>
                      <a:r>
                        <a:rPr lang="en-CA" sz="900" b="0" i="0" u="none" strike="noStrike">
                          <a:solidFill>
                            <a:srgbClr val="000000"/>
                          </a:solidFill>
                          <a:effectLst/>
                          <a:latin typeface="+mn-lt"/>
                        </a:rPr>
                        <a:t>EBITDA Break-even</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Sustain positive EBITDA</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Achieved positive EBITDA but with some volatility</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8</a:t>
                      </a:r>
                    </a:p>
                  </a:txBody>
                  <a:tcPr marL="0" marR="0" marT="0" marB="0" anchor="ctr">
                    <a:lnL>
                      <a:noFill/>
                    </a:lnL>
                    <a:lnR>
                      <a:noFill/>
                    </a:lnR>
                    <a:lnT>
                      <a:noFill/>
                    </a:lnT>
                    <a:lnB>
                      <a:noFill/>
                    </a:lnB>
                    <a:solidFill>
                      <a:srgbClr val="B0DDBD"/>
                    </a:solidFill>
                  </a:tcPr>
                </a:tc>
                <a:extLst>
                  <a:ext uri="{0D108BD9-81ED-4DB2-BD59-A6C34878D82A}">
                    <a16:rowId xmlns:a16="http://schemas.microsoft.com/office/drawing/2014/main" val="458765591"/>
                  </a:ext>
                </a:extLst>
              </a:tr>
              <a:tr h="177340">
                <a:tc>
                  <a:txBody>
                    <a:bodyPr/>
                    <a:lstStyle/>
                    <a:p>
                      <a:pPr algn="ctr" fontAlgn="b"/>
                      <a:r>
                        <a:rPr lang="en-CA" sz="900" b="0" i="0" u="none" strike="noStrike">
                          <a:solidFill>
                            <a:srgbClr val="000000"/>
                          </a:solidFill>
                          <a:effectLst/>
                          <a:latin typeface="+mn-lt"/>
                        </a:rPr>
                        <a:t>Payments Penetration</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35-40% GPV Target</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Payments GPV reached 38%, exceeding target</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10</a:t>
                      </a:r>
                    </a:p>
                  </a:txBody>
                  <a:tcPr marL="0" marR="0" marT="0" marB="0" anchor="ctr">
                    <a:lnL>
                      <a:noFill/>
                    </a:lnL>
                    <a:lnR>
                      <a:noFill/>
                    </a:lnR>
                    <a:lnT>
                      <a:noFill/>
                    </a:lnT>
                    <a:lnB>
                      <a:noFill/>
                    </a:lnB>
                    <a:solidFill>
                      <a:srgbClr val="63BE7B"/>
                    </a:solidFill>
                  </a:tcPr>
                </a:tc>
                <a:extLst>
                  <a:ext uri="{0D108BD9-81ED-4DB2-BD59-A6C34878D82A}">
                    <a16:rowId xmlns:a16="http://schemas.microsoft.com/office/drawing/2014/main" val="2695892344"/>
                  </a:ext>
                </a:extLst>
              </a:tr>
              <a:tr h="177340">
                <a:tc>
                  <a:txBody>
                    <a:bodyPr/>
                    <a:lstStyle/>
                    <a:p>
                      <a:pPr algn="ctr" fontAlgn="b"/>
                      <a:r>
                        <a:rPr lang="en-CA" sz="900" b="0" i="0" u="none" strike="noStrike">
                          <a:solidFill>
                            <a:srgbClr val="000000"/>
                          </a:solidFill>
                          <a:effectLst/>
                          <a:latin typeface="+mn-lt"/>
                        </a:rPr>
                        <a:t>Cost Efficiency</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Enhance operational efficiency</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SG&amp;A cuts and operational efficiencies improved margins</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8</a:t>
                      </a:r>
                    </a:p>
                  </a:txBody>
                  <a:tcPr marL="0" marR="0" marT="0" marB="0" anchor="ctr">
                    <a:lnL>
                      <a:noFill/>
                    </a:lnL>
                    <a:lnR>
                      <a:noFill/>
                    </a:lnR>
                    <a:lnT>
                      <a:noFill/>
                    </a:lnT>
                    <a:lnB>
                      <a:noFill/>
                    </a:lnB>
                    <a:solidFill>
                      <a:srgbClr val="B0DDBD"/>
                    </a:solidFill>
                  </a:tcPr>
                </a:tc>
                <a:extLst>
                  <a:ext uri="{0D108BD9-81ED-4DB2-BD59-A6C34878D82A}">
                    <a16:rowId xmlns:a16="http://schemas.microsoft.com/office/drawing/2014/main" val="2691620535"/>
                  </a:ext>
                </a:extLst>
              </a:tr>
              <a:tr h="177340">
                <a:tc>
                  <a:txBody>
                    <a:bodyPr/>
                    <a:lstStyle/>
                    <a:p>
                      <a:pPr algn="ctr" fontAlgn="b"/>
                      <a:r>
                        <a:rPr lang="en-CA" sz="900" b="0" i="0" u="none" strike="noStrike">
                          <a:solidFill>
                            <a:srgbClr val="000000"/>
                          </a:solidFill>
                          <a:effectLst/>
                          <a:latin typeface="+mn-lt"/>
                        </a:rPr>
                        <a:t>Net Income Path to Profitability</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Further reduce losses</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Losses continued to narrow but profitability still elusive</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7</a:t>
                      </a:r>
                    </a:p>
                  </a:txBody>
                  <a:tcPr marL="0" marR="0" marT="0" marB="0" anchor="ctr">
                    <a:lnL>
                      <a:noFill/>
                    </a:lnL>
                    <a:lnR>
                      <a:noFill/>
                    </a:lnR>
                    <a:lnT>
                      <a:noFill/>
                    </a:lnT>
                    <a:lnB>
                      <a:noFill/>
                    </a:lnB>
                    <a:solidFill>
                      <a:srgbClr val="D6EDDE"/>
                    </a:solidFill>
                  </a:tcPr>
                </a:tc>
                <a:extLst>
                  <a:ext uri="{0D108BD9-81ED-4DB2-BD59-A6C34878D82A}">
                    <a16:rowId xmlns:a16="http://schemas.microsoft.com/office/drawing/2014/main" val="3732320006"/>
                  </a:ext>
                </a:extLst>
              </a:tr>
              <a:tr h="177340">
                <a:tc>
                  <a:txBody>
                    <a:bodyPr/>
                    <a:lstStyle/>
                    <a:p>
                      <a:pPr algn="ctr" fontAlgn="b"/>
                      <a:r>
                        <a:rPr lang="en-CA" sz="900" b="0" i="0" u="none" strike="noStrike">
                          <a:solidFill>
                            <a:srgbClr val="000000"/>
                          </a:solidFill>
                          <a:effectLst/>
                          <a:latin typeface="+mn-lt"/>
                        </a:rPr>
                        <a:t>Cash Flow Improvement</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Achieve positive FCF</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FCF improved but remained negative</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mn-lt"/>
                        </a:rPr>
                        <a:t>6</a:t>
                      </a:r>
                    </a:p>
                  </a:txBody>
                  <a:tcPr marL="0" marR="0" marT="0" marB="0" anchor="ctr">
                    <a:lnL>
                      <a:noFill/>
                    </a:lnL>
                    <a:lnR>
                      <a:noFill/>
                    </a:lnR>
                    <a:lnT>
                      <a:noFill/>
                    </a:lnT>
                    <a:lnB>
                      <a:noFill/>
                    </a:lnB>
                    <a:solidFill>
                      <a:srgbClr val="FCFCFF"/>
                    </a:solidFill>
                  </a:tcPr>
                </a:tc>
                <a:extLst>
                  <a:ext uri="{0D108BD9-81ED-4DB2-BD59-A6C34878D82A}">
                    <a16:rowId xmlns:a16="http://schemas.microsoft.com/office/drawing/2014/main" val="4195446137"/>
                  </a:ext>
                </a:extLst>
              </a:tr>
              <a:tr h="189162">
                <a:tc>
                  <a:txBody>
                    <a:bodyPr/>
                    <a:lstStyle/>
                    <a:p>
                      <a:pPr algn="ctr" fontAlgn="b"/>
                      <a:r>
                        <a:rPr lang="en-CA" sz="900" b="0" i="0" u="none" strike="noStrike">
                          <a:solidFill>
                            <a:srgbClr val="000000"/>
                          </a:solidFill>
                          <a:effectLst/>
                          <a:latin typeface="+mn-lt"/>
                        </a:rPr>
                        <a:t>Stock Performance &amp; Buybacks</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Enhance shareholder returns</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Share buybacks executed but stock performance mixed</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7</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D6EDDE"/>
                    </a:solidFill>
                  </a:tcPr>
                </a:tc>
                <a:extLst>
                  <a:ext uri="{0D108BD9-81ED-4DB2-BD59-A6C34878D82A}">
                    <a16:rowId xmlns:a16="http://schemas.microsoft.com/office/drawing/2014/main" val="3510882406"/>
                  </a:ext>
                </a:extLst>
              </a:tr>
              <a:tr h="189162">
                <a:tc>
                  <a:txBody>
                    <a:bodyPr/>
                    <a:lstStyle/>
                    <a:p>
                      <a:pPr algn="l" fontAlgn="b"/>
                      <a:endParaRPr lang="en-CA" sz="900" b="0" i="0" u="none" strike="noStrike">
                        <a:solidFill>
                          <a:srgbClr val="000000"/>
                        </a:solidFill>
                        <a:effectLst/>
                        <a:latin typeface="+mn-lt"/>
                      </a:endParaRPr>
                    </a:p>
                  </a:txBody>
                  <a:tcPr marL="0" marR="0" marT="0" marB="0" anchor="ctr">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mn-lt"/>
                      </a:endParaRPr>
                    </a:p>
                  </a:txBody>
                  <a:tcPr marL="0" marR="0" marT="0"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noFill/>
                  </a:tcPr>
                </a:tc>
                <a:tc>
                  <a:txBody>
                    <a:bodyPr/>
                    <a:lstStyle/>
                    <a:p>
                      <a:pPr algn="ctr" fontAlgn="b"/>
                      <a:r>
                        <a:rPr lang="en-CA" sz="900" b="1" i="0" u="none" strike="noStrike">
                          <a:solidFill>
                            <a:srgbClr val="000000"/>
                          </a:solidFill>
                          <a:effectLst/>
                          <a:latin typeface="+mn-lt"/>
                        </a:rPr>
                        <a:t>Average Efficiency Score</a:t>
                      </a:r>
                    </a:p>
                  </a:txBody>
                  <a:tcPr marL="0" marR="0" marT="0" marB="0" anchor="ctr">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a:noFill/>
                    </a:lnB>
                    <a:noFill/>
                  </a:tcPr>
                </a:tc>
                <a:tc>
                  <a:txBody>
                    <a:bodyPr/>
                    <a:lstStyle/>
                    <a:p>
                      <a:pPr algn="ctr" fontAlgn="b"/>
                      <a:r>
                        <a:rPr lang="en-CA" sz="900" b="1" i="0" u="none" strike="noStrike">
                          <a:solidFill>
                            <a:srgbClr val="000000"/>
                          </a:solidFill>
                          <a:effectLst/>
                          <a:latin typeface="+mn-lt"/>
                        </a:rPr>
                        <a:t>79%</a:t>
                      </a:r>
                    </a:p>
                  </a:txBody>
                  <a:tcPr marL="0" marR="0" marT="0"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910211810"/>
                  </a:ext>
                </a:extLst>
              </a:tr>
              <a:tr h="177340">
                <a:tc>
                  <a:txBody>
                    <a:bodyPr/>
                    <a:lstStyle/>
                    <a:p>
                      <a:pPr algn="l" fontAlgn="b"/>
                      <a:endParaRPr lang="en-CA" sz="900" b="0" i="0" u="none" strike="noStrike">
                        <a:solidFill>
                          <a:srgbClr val="000000"/>
                        </a:solidFill>
                        <a:effectLst/>
                        <a:latin typeface="+mn-lt"/>
                      </a:endParaRPr>
                    </a:p>
                  </a:txBody>
                  <a:tcPr marL="0" marR="0" marT="0" marB="0" anchor="b">
                    <a:lnL>
                      <a:noFill/>
                    </a:lnL>
                    <a:lnR>
                      <a:noFill/>
                    </a:lnR>
                    <a:lnT>
                      <a:noFill/>
                    </a:lnT>
                    <a:lnB>
                      <a:noFill/>
                    </a:lnB>
                    <a:noFill/>
                  </a:tcPr>
                </a:tc>
                <a:tc>
                  <a:txBody>
                    <a:bodyPr/>
                    <a:lstStyle/>
                    <a:p>
                      <a:pPr algn="l" fontAlgn="b"/>
                      <a:endParaRPr lang="en-CA" sz="900" b="0" i="0" u="none" strike="noStrike">
                        <a:solidFill>
                          <a:srgbClr val="000000"/>
                        </a:solidFill>
                        <a:effectLst/>
                        <a:latin typeface="+mn-lt"/>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CA" sz="900" b="0" i="0" u="none" strike="noStrike">
                          <a:solidFill>
                            <a:srgbClr val="000000"/>
                          </a:solidFill>
                          <a:effectLst/>
                          <a:latin typeface="+mn-lt"/>
                        </a:rPr>
                        <a:t>Upside Efficiency VS Prior CEO</a:t>
                      </a:r>
                    </a:p>
                  </a:txBody>
                  <a:tcPr marL="0" marR="0" marT="0"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6%</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202744"/>
                  </a:ext>
                </a:extLst>
              </a:tr>
            </a:tbl>
          </a:graphicData>
        </a:graphic>
      </p:graphicFrame>
    </p:spTree>
    <p:extLst>
      <p:ext uri="{BB962C8B-B14F-4D97-AF65-F5344CB8AC3E}">
        <p14:creationId xmlns:p14="http://schemas.microsoft.com/office/powerpoint/2010/main" val="423703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BCE57B3-664F-F6FA-E03B-7FF774621678}"/>
              </a:ext>
            </a:extLst>
          </p:cNvPr>
          <p:cNvSpPr>
            <a:spLocks noGrp="1"/>
          </p:cNvSpPr>
          <p:nvPr>
            <p:ph type="title"/>
          </p:nvPr>
        </p:nvSpPr>
        <p:spPr/>
        <p:txBody>
          <a:bodyPr/>
          <a:lstStyle/>
          <a:p>
            <a:r>
              <a:rPr lang="en-US"/>
              <a:t>I. Executive Summary</a:t>
            </a:r>
          </a:p>
        </p:txBody>
      </p:sp>
      <p:sp>
        <p:nvSpPr>
          <p:cNvPr id="7" name="Text Placeholder 6">
            <a:extLst>
              <a:ext uri="{FF2B5EF4-FFF2-40B4-BE49-F238E27FC236}">
                <a16:creationId xmlns:a16="http://schemas.microsoft.com/office/drawing/2014/main" id="{84360000-CF2A-F029-0BA2-FB51EB6DBA32}"/>
              </a:ext>
            </a:extLst>
          </p:cNvPr>
          <p:cNvSpPr>
            <a:spLocks noGrp="1"/>
          </p:cNvSpPr>
          <p:nvPr>
            <p:ph type="body" sz="quarter" idx="18"/>
          </p:nvPr>
        </p:nvSpPr>
        <p:spPr/>
        <p:txBody>
          <a:bodyPr/>
          <a:lstStyle/>
          <a:p>
            <a:endParaRPr lang="en-US"/>
          </a:p>
        </p:txBody>
      </p:sp>
      <p:sp>
        <p:nvSpPr>
          <p:cNvPr id="8" name="Text Placeholder 7">
            <a:extLst>
              <a:ext uri="{FF2B5EF4-FFF2-40B4-BE49-F238E27FC236}">
                <a16:creationId xmlns:a16="http://schemas.microsoft.com/office/drawing/2014/main" id="{9A8CF2FD-AB3F-E363-4DFD-CD1F7BD1E4A8}"/>
              </a:ext>
            </a:extLst>
          </p:cNvPr>
          <p:cNvSpPr>
            <a:spLocks noGrp="1"/>
          </p:cNvSpPr>
          <p:nvPr>
            <p:ph type="body" sz="quarter" idx="19"/>
          </p:nvPr>
        </p:nvSpPr>
        <p:spPr/>
        <p:txBody>
          <a:bodyPr/>
          <a:lstStyle/>
          <a:p>
            <a:endParaRPr lang="en-US"/>
          </a:p>
        </p:txBody>
      </p:sp>
    </p:spTree>
    <p:extLst>
      <p:ext uri="{BB962C8B-B14F-4D97-AF65-F5344CB8AC3E}">
        <p14:creationId xmlns:p14="http://schemas.microsoft.com/office/powerpoint/2010/main" val="3839672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9CF40F3D-1C4C-ECE9-309E-23F020E92389}"/>
              </a:ext>
            </a:extLst>
          </p:cNvPr>
          <p:cNvSpPr>
            <a:spLocks noGrp="1"/>
          </p:cNvSpPr>
          <p:nvPr>
            <p:ph type="body" sz="quarter" idx="21"/>
          </p:nvPr>
        </p:nvSpPr>
        <p:spPr>
          <a:xfrm>
            <a:off x="250825" y="615948"/>
            <a:ext cx="8642350" cy="422275"/>
          </a:xfrm>
        </p:spPr>
        <p:txBody>
          <a:bodyPr vert="horz" lIns="91440" tIns="45720" rIns="91440" bIns="45720" rtlCol="0" anchor="t">
            <a:normAutofit/>
          </a:bodyPr>
          <a:lstStyle/>
          <a:p>
            <a:r>
              <a:rPr lang="en-US"/>
              <a:t>Lightspeed Commerce</a:t>
            </a:r>
          </a:p>
        </p:txBody>
      </p:sp>
      <p:sp>
        <p:nvSpPr>
          <p:cNvPr id="5" name="Title 4">
            <a:extLst>
              <a:ext uri="{FF2B5EF4-FFF2-40B4-BE49-F238E27FC236}">
                <a16:creationId xmlns:a16="http://schemas.microsoft.com/office/drawing/2014/main" id="{435691C5-2D58-B304-6548-5E222AE0DE8A}"/>
              </a:ext>
            </a:extLst>
          </p:cNvPr>
          <p:cNvSpPr>
            <a:spLocks noGrp="1"/>
          </p:cNvSpPr>
          <p:nvPr>
            <p:ph type="title"/>
          </p:nvPr>
        </p:nvSpPr>
        <p:spPr/>
        <p:txBody>
          <a:bodyPr>
            <a:normAutofit/>
          </a:bodyPr>
          <a:lstStyle/>
          <a:p>
            <a:r>
              <a:rPr lang="en-US"/>
              <a:t>Appendix II - Executive Management Overview</a:t>
            </a:r>
          </a:p>
        </p:txBody>
      </p:sp>
      <p:sp>
        <p:nvSpPr>
          <p:cNvPr id="39" name="Text Placeholder 38">
            <a:extLst>
              <a:ext uri="{FF2B5EF4-FFF2-40B4-BE49-F238E27FC236}">
                <a16:creationId xmlns:a16="http://schemas.microsoft.com/office/drawing/2014/main" id="{FA146B6F-07FB-962A-6634-86E05AE1B0B8}"/>
              </a:ext>
            </a:extLst>
          </p:cNvPr>
          <p:cNvSpPr>
            <a:spLocks noGrp="1"/>
          </p:cNvSpPr>
          <p:nvPr>
            <p:ph type="body" sz="quarter" idx="13"/>
          </p:nvPr>
        </p:nvSpPr>
        <p:spPr/>
        <p:txBody>
          <a:bodyPr>
            <a:normAutofit/>
          </a:bodyPr>
          <a:lstStyle/>
          <a:p>
            <a:r>
              <a:rPr lang="en-CA"/>
              <a:t>Source(s): Company Website </a:t>
            </a:r>
          </a:p>
          <a:p>
            <a:endParaRPr lang="en-US" sz="1300"/>
          </a:p>
        </p:txBody>
      </p:sp>
      <p:sp>
        <p:nvSpPr>
          <p:cNvPr id="2" name="Slide Number Placeholder 1">
            <a:extLst>
              <a:ext uri="{FF2B5EF4-FFF2-40B4-BE49-F238E27FC236}">
                <a16:creationId xmlns:a16="http://schemas.microsoft.com/office/drawing/2014/main" id="{A3575C0E-ED1B-6A03-AE6E-F6EDA698D4C4}"/>
              </a:ext>
            </a:extLst>
          </p:cNvPr>
          <p:cNvSpPr>
            <a:spLocks noGrp="1"/>
          </p:cNvSpPr>
          <p:nvPr>
            <p:ph type="sldNum" sz="quarter" idx="4294967295"/>
          </p:nvPr>
        </p:nvSpPr>
        <p:spPr>
          <a:xfrm>
            <a:off x="7086600" y="6356350"/>
            <a:ext cx="2057400" cy="365125"/>
          </a:xfrm>
        </p:spPr>
        <p:txBody>
          <a:bodyPr/>
          <a:lstStyle/>
          <a:p>
            <a:pPr fontAlgn="base">
              <a:defRPr/>
            </a:pPr>
            <a:fld id="{019208B9-FB36-42BC-B109-D7D12325CF41}" type="slidenum">
              <a:rPr lang="en-AU" smtClean="0">
                <a:solidFill>
                  <a:srgbClr val="FFFFFF"/>
                </a:solidFill>
              </a:rPr>
              <a:pPr fontAlgn="base">
                <a:defRPr/>
              </a:pPr>
              <a:t>30</a:t>
            </a:fld>
            <a:endParaRPr lang="en-AU">
              <a:solidFill>
                <a:srgbClr val="FFFFFF"/>
              </a:solidFill>
            </a:endParaRPr>
          </a:p>
        </p:txBody>
      </p:sp>
      <p:sp>
        <p:nvSpPr>
          <p:cNvPr id="44" name="Text Placeholder 43">
            <a:extLst>
              <a:ext uri="{FF2B5EF4-FFF2-40B4-BE49-F238E27FC236}">
                <a16:creationId xmlns:a16="http://schemas.microsoft.com/office/drawing/2014/main" id="{92856B5B-9F27-945C-654B-EB69EDA36C28}"/>
              </a:ext>
            </a:extLst>
          </p:cNvPr>
          <p:cNvSpPr>
            <a:spLocks noGrp="1"/>
          </p:cNvSpPr>
          <p:nvPr>
            <p:ph type="body" idx="4294967295"/>
          </p:nvPr>
        </p:nvSpPr>
        <p:spPr>
          <a:xfrm>
            <a:off x="250825" y="2725481"/>
            <a:ext cx="2889451" cy="1028005"/>
          </a:xfrm>
          <a:ln>
            <a:noFill/>
          </a:ln>
        </p:spPr>
        <p:txBody>
          <a:bodyPr/>
          <a:lstStyle/>
          <a:p>
            <a:r>
              <a:rPr lang="en-US">
                <a:solidFill>
                  <a:schemeClr val="tx1"/>
                </a:solidFill>
              </a:rPr>
              <a:t>Founded in 2005, reappointed CEO in 2024 </a:t>
            </a:r>
          </a:p>
          <a:p>
            <a:r>
              <a:rPr lang="en-US">
                <a:solidFill>
                  <a:schemeClr val="tx1"/>
                </a:solidFill>
              </a:rPr>
              <a:t>Grew Lightspeed’s product suite for retailers, restaurants, &amp; e-commerce</a:t>
            </a:r>
          </a:p>
          <a:p>
            <a:r>
              <a:rPr lang="en-US">
                <a:solidFill>
                  <a:schemeClr val="tx1"/>
                </a:solidFill>
              </a:rPr>
              <a:t>Founded Age of Union, a non-profit focused on sustainability</a:t>
            </a:r>
          </a:p>
          <a:p>
            <a:endParaRPr lang="en-US">
              <a:solidFill>
                <a:schemeClr val="tx1"/>
              </a:solidFill>
            </a:endParaRPr>
          </a:p>
        </p:txBody>
      </p:sp>
      <p:sp>
        <p:nvSpPr>
          <p:cNvPr id="67" name="TextBox 66">
            <a:extLst>
              <a:ext uri="{FF2B5EF4-FFF2-40B4-BE49-F238E27FC236}">
                <a16:creationId xmlns:a16="http://schemas.microsoft.com/office/drawing/2014/main" id="{5E412236-1CD1-270D-C86C-6DF0970E1382}"/>
              </a:ext>
            </a:extLst>
          </p:cNvPr>
          <p:cNvSpPr txBox="1"/>
          <p:nvPr/>
        </p:nvSpPr>
        <p:spPr>
          <a:xfrm>
            <a:off x="0" y="6627278"/>
            <a:ext cx="1653017" cy="215444"/>
          </a:xfrm>
          <a:prstGeom prst="rect">
            <a:avLst/>
          </a:prstGeom>
          <a:noFill/>
        </p:spPr>
        <p:txBody>
          <a:bodyPr wrap="none" rtlCol="0">
            <a:spAutoFit/>
          </a:bodyPr>
          <a:lstStyle/>
          <a:p>
            <a:r>
              <a:rPr lang="en-US" sz="800">
                <a:solidFill>
                  <a:schemeClr val="bg1"/>
                </a:solidFill>
              </a:rPr>
              <a:t>Source: Barrick 2024 Q2 Report</a:t>
            </a:r>
          </a:p>
        </p:txBody>
      </p:sp>
      <p:sp>
        <p:nvSpPr>
          <p:cNvPr id="18" name="Text Placeholder 43">
            <a:extLst>
              <a:ext uri="{FF2B5EF4-FFF2-40B4-BE49-F238E27FC236}">
                <a16:creationId xmlns:a16="http://schemas.microsoft.com/office/drawing/2014/main" id="{F23A3387-3BB9-3A5E-AD43-5A5A0605D5FB}"/>
              </a:ext>
            </a:extLst>
          </p:cNvPr>
          <p:cNvSpPr txBox="1">
            <a:spLocks/>
          </p:cNvSpPr>
          <p:nvPr/>
        </p:nvSpPr>
        <p:spPr>
          <a:xfrm>
            <a:off x="250825" y="5474442"/>
            <a:ext cx="2891396" cy="786663"/>
          </a:xfrm>
          <a:prstGeom prst="rect">
            <a:avLst/>
          </a:prstGeom>
          <a:ln>
            <a:noFill/>
          </a:ln>
        </p:spPr>
        <p:txBody>
          <a:bodyPr vert="horz" lIns="91440" tIns="45720" rIns="91440" bIns="45720" rtlCol="0">
            <a:noAutofit/>
          </a:bodyPr>
          <a:lstStyle>
            <a:defPPr>
              <a:defRPr lang="en-US"/>
            </a:defPPr>
            <a:lvl1pPr marL="228594" indent="-228594" defTabSz="914377">
              <a:lnSpc>
                <a:spcPct val="90000"/>
              </a:lnSpc>
              <a:spcBef>
                <a:spcPts val="1000"/>
              </a:spcBef>
              <a:buClr>
                <a:schemeClr val="accent1"/>
              </a:buClr>
              <a:buFont typeface="Wingdings" panose="05000000000000000000" pitchFamily="2" charset="2"/>
              <a:buChar char="§"/>
              <a:defRPr sz="900">
                <a:latin typeface="+mj-lt"/>
                <a:cs typeface="Goldman Sans Regular" panose="020B0603020203020204" pitchFamily="34" charset="0"/>
              </a:defRPr>
            </a:lvl1pPr>
            <a:lvl2pPr marL="449251" indent="-228594" defTabSz="914377">
              <a:lnSpc>
                <a:spcPct val="90000"/>
              </a:lnSpc>
              <a:spcBef>
                <a:spcPts val="500"/>
              </a:spcBef>
              <a:buClr>
                <a:schemeClr val="accent1"/>
              </a:buClr>
              <a:buFont typeface="Wingdings" panose="05000000000000000000" pitchFamily="2" charset="2"/>
              <a:buChar char="§"/>
              <a:defRPr sz="900">
                <a:latin typeface="+mj-lt"/>
                <a:cs typeface="Goldman Sans Regular" panose="020B0603020203020204" pitchFamily="34" charset="0"/>
              </a:defRPr>
            </a:lvl2pPr>
            <a:lvl3pPr marL="715945" indent="-228594" defTabSz="914377">
              <a:lnSpc>
                <a:spcPct val="90000"/>
              </a:lnSpc>
              <a:spcBef>
                <a:spcPts val="500"/>
              </a:spcBef>
              <a:buClr>
                <a:schemeClr val="accent1"/>
              </a:buClr>
              <a:buFont typeface="Wingdings" panose="05000000000000000000" pitchFamily="2" charset="2"/>
              <a:buChar char="§"/>
              <a:defRPr sz="900">
                <a:latin typeface="+mj-lt"/>
                <a:cs typeface="Goldman Sans Regular" panose="020B0603020203020204" pitchFamily="34" charset="0"/>
              </a:defRPr>
            </a:lvl3pPr>
            <a:lvl4pPr marL="982638" indent="-228594" defTabSz="914377">
              <a:lnSpc>
                <a:spcPct val="90000"/>
              </a:lnSpc>
              <a:spcBef>
                <a:spcPts val="500"/>
              </a:spcBef>
              <a:buClr>
                <a:schemeClr val="accent1"/>
              </a:buClr>
              <a:buFont typeface="Wingdings" panose="05000000000000000000" pitchFamily="2" charset="2"/>
              <a:buChar char="§"/>
              <a:defRPr sz="900">
                <a:latin typeface="+mj-lt"/>
                <a:cs typeface="Goldman Sans Regular" panose="020B0603020203020204" pitchFamily="34" charset="0"/>
              </a:defRPr>
            </a:lvl4pPr>
            <a:lvl5pPr marL="1258857" indent="-228594" defTabSz="914377">
              <a:lnSpc>
                <a:spcPct val="90000"/>
              </a:lnSpc>
              <a:spcBef>
                <a:spcPts val="500"/>
              </a:spcBef>
              <a:buClr>
                <a:schemeClr val="accent1"/>
              </a:buClr>
              <a:buFont typeface="Wingdings" panose="05000000000000000000" pitchFamily="2" charset="2"/>
              <a:buChar char="§"/>
              <a:defRPr sz="900" i="1">
                <a:latin typeface="+mj-lt"/>
                <a:cs typeface="Goldman Sans Regular" panose="020B0603020203020204" pitchFamily="34" charset="0"/>
              </a:defRPr>
            </a:lvl5pPr>
            <a:lvl6pPr marL="2514537" indent="-228594" defTabSz="914377">
              <a:lnSpc>
                <a:spcPct val="90000"/>
              </a:lnSpc>
              <a:spcBef>
                <a:spcPts val="500"/>
              </a:spcBef>
              <a:buClr>
                <a:schemeClr val="accent1"/>
              </a:buClr>
              <a:buFont typeface="Wingdings" panose="05000000000000000000" pitchFamily="2" charset="2"/>
              <a:buChar char="§"/>
              <a:defRPr sz="1200">
                <a:latin typeface="Goldman Sans Regular" panose="020B0603020203020204" pitchFamily="34" charset="0"/>
                <a:cs typeface="Goldman Sans Regular" panose="020B0603020203020204" pitchFamily="34" charset="0"/>
              </a:defRPr>
            </a:lvl6pPr>
            <a:lvl7pPr marL="2971726" indent="-228594" defTabSz="914377">
              <a:lnSpc>
                <a:spcPct val="90000"/>
              </a:lnSpc>
              <a:spcBef>
                <a:spcPts val="500"/>
              </a:spcBef>
              <a:buClr>
                <a:schemeClr val="accent1"/>
              </a:buClr>
              <a:buFont typeface="Wingdings" panose="05000000000000000000" pitchFamily="2" charset="2"/>
              <a:buChar char="§"/>
              <a:defRPr sz="1200">
                <a:latin typeface="Goldman Sans Regular" panose="020B0603020203020204" pitchFamily="34" charset="0"/>
                <a:cs typeface="Goldman Sans Regular" panose="020B0603020203020204" pitchFamily="34" charset="0"/>
              </a:defRP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n-CA"/>
              <a:t>Appointed President in 2022 after joining via Chronogolf acquisition in 2019</a:t>
            </a:r>
          </a:p>
          <a:p>
            <a:r>
              <a:rPr lang="en-US"/>
              <a:t>Co-founder and former CEO of </a:t>
            </a:r>
            <a:r>
              <a:rPr lang="en-US" err="1"/>
              <a:t>Chronogolf</a:t>
            </a:r>
            <a:endParaRPr lang="en-US"/>
          </a:p>
        </p:txBody>
      </p:sp>
      <p:grpSp>
        <p:nvGrpSpPr>
          <p:cNvPr id="10" name="Group 9">
            <a:extLst>
              <a:ext uri="{FF2B5EF4-FFF2-40B4-BE49-F238E27FC236}">
                <a16:creationId xmlns:a16="http://schemas.microsoft.com/office/drawing/2014/main" id="{04748227-10F1-31AE-FD7B-BA720B3A0E8A}"/>
              </a:ext>
            </a:extLst>
          </p:cNvPr>
          <p:cNvGrpSpPr/>
          <p:nvPr/>
        </p:nvGrpSpPr>
        <p:grpSpPr>
          <a:xfrm>
            <a:off x="353195" y="987059"/>
            <a:ext cx="8397937" cy="277000"/>
            <a:chOff x="373031" y="1190959"/>
            <a:chExt cx="8397937" cy="277000"/>
          </a:xfrm>
        </p:grpSpPr>
        <p:sp>
          <p:nvSpPr>
            <p:cNvPr id="8" name="TextBox 7">
              <a:extLst>
                <a:ext uri="{FF2B5EF4-FFF2-40B4-BE49-F238E27FC236}">
                  <a16:creationId xmlns:a16="http://schemas.microsoft.com/office/drawing/2014/main" id="{7E4D4B2B-7045-4286-8D8E-C1E4D8A659E2}"/>
                </a:ext>
              </a:extLst>
            </p:cNvPr>
            <p:cNvSpPr txBox="1"/>
            <p:nvPr/>
          </p:nvSpPr>
          <p:spPr>
            <a:xfrm>
              <a:off x="373031" y="1190960"/>
              <a:ext cx="2699353" cy="276999"/>
            </a:xfrm>
            <a:prstGeom prst="rect">
              <a:avLst/>
            </a:prstGeom>
            <a:solidFill>
              <a:srgbClr val="0F3557"/>
            </a:solidFill>
          </p:spPr>
          <p:txBody>
            <a:bodyPr wrap="square" rtlCol="0">
              <a:spAutoFit/>
            </a:bodyPr>
            <a:lstStyle/>
            <a:p>
              <a:pPr algn="ctr"/>
              <a:r>
                <a:rPr lang="en-CA" sz="1200" b="1">
                  <a:solidFill>
                    <a:schemeClr val="bg1"/>
                  </a:solidFill>
                </a:rPr>
                <a:t>Dax </a:t>
              </a:r>
              <a:r>
                <a:rPr lang="en-CA" sz="1200" b="1" err="1">
                  <a:solidFill>
                    <a:schemeClr val="bg1"/>
                  </a:solidFill>
                </a:rPr>
                <a:t>Dasilva</a:t>
              </a:r>
              <a:r>
                <a:rPr lang="en-CA" sz="1200" b="1">
                  <a:solidFill>
                    <a:schemeClr val="bg1"/>
                  </a:solidFill>
                </a:rPr>
                <a:t>, Founder and CEO</a:t>
              </a:r>
            </a:p>
          </p:txBody>
        </p:sp>
        <p:sp>
          <p:nvSpPr>
            <p:cNvPr id="22" name="TextBox 21">
              <a:extLst>
                <a:ext uri="{FF2B5EF4-FFF2-40B4-BE49-F238E27FC236}">
                  <a16:creationId xmlns:a16="http://schemas.microsoft.com/office/drawing/2014/main" id="{379576BD-D94C-6BC7-1D7D-91D75CBB390C}"/>
                </a:ext>
              </a:extLst>
            </p:cNvPr>
            <p:cNvSpPr txBox="1"/>
            <p:nvPr/>
          </p:nvSpPr>
          <p:spPr>
            <a:xfrm>
              <a:off x="3222323" y="1190959"/>
              <a:ext cx="2699353" cy="276999"/>
            </a:xfrm>
            <a:prstGeom prst="rect">
              <a:avLst/>
            </a:prstGeom>
            <a:solidFill>
              <a:srgbClr val="0F3557"/>
            </a:solidFill>
          </p:spPr>
          <p:txBody>
            <a:bodyPr wrap="square" rtlCol="0">
              <a:spAutoFit/>
            </a:bodyPr>
            <a:lstStyle/>
            <a:p>
              <a:pPr algn="ctr"/>
              <a:r>
                <a:rPr lang="en-US" sz="1200" b="1">
                  <a:solidFill>
                    <a:schemeClr val="bg1"/>
                  </a:solidFill>
                </a:rPr>
                <a:t>Asha </a:t>
              </a:r>
              <a:r>
                <a:rPr lang="en-US" sz="1200" b="1" err="1">
                  <a:solidFill>
                    <a:schemeClr val="bg1"/>
                  </a:solidFill>
                </a:rPr>
                <a:t>Bakshani</a:t>
              </a:r>
              <a:r>
                <a:rPr lang="en-CA" sz="1200" b="1">
                  <a:solidFill>
                    <a:schemeClr val="bg1"/>
                  </a:solidFill>
                </a:rPr>
                <a:t>, CFO</a:t>
              </a:r>
            </a:p>
          </p:txBody>
        </p:sp>
        <p:sp>
          <p:nvSpPr>
            <p:cNvPr id="25" name="TextBox 24">
              <a:extLst>
                <a:ext uri="{FF2B5EF4-FFF2-40B4-BE49-F238E27FC236}">
                  <a16:creationId xmlns:a16="http://schemas.microsoft.com/office/drawing/2014/main" id="{F0B3C853-55DE-8707-535F-2159E626839E}"/>
                </a:ext>
              </a:extLst>
            </p:cNvPr>
            <p:cNvSpPr txBox="1"/>
            <p:nvPr/>
          </p:nvSpPr>
          <p:spPr>
            <a:xfrm>
              <a:off x="6071615" y="1190959"/>
              <a:ext cx="2699353" cy="276999"/>
            </a:xfrm>
            <a:prstGeom prst="rect">
              <a:avLst/>
            </a:prstGeom>
            <a:solidFill>
              <a:srgbClr val="0F3557"/>
            </a:solidFill>
          </p:spPr>
          <p:txBody>
            <a:bodyPr wrap="square" rtlCol="0">
              <a:spAutoFit/>
            </a:bodyPr>
            <a:lstStyle/>
            <a:p>
              <a:pPr algn="ctr"/>
              <a:r>
                <a:rPr lang="en-US" sz="1200" b="1">
                  <a:solidFill>
                    <a:schemeClr val="bg1"/>
                  </a:solidFill>
                </a:rPr>
                <a:t>Ana Wight</a:t>
              </a:r>
              <a:r>
                <a:rPr lang="en-CA" sz="1200" b="1">
                  <a:solidFill>
                    <a:schemeClr val="bg1"/>
                  </a:solidFill>
                </a:rPr>
                <a:t>, CSO</a:t>
              </a:r>
            </a:p>
          </p:txBody>
        </p:sp>
      </p:grpSp>
      <p:sp>
        <p:nvSpPr>
          <p:cNvPr id="27" name="Text Placeholder 43">
            <a:extLst>
              <a:ext uri="{FF2B5EF4-FFF2-40B4-BE49-F238E27FC236}">
                <a16:creationId xmlns:a16="http://schemas.microsoft.com/office/drawing/2014/main" id="{CE1CCAF3-A949-2584-3E8F-BDD3D3074523}"/>
              </a:ext>
            </a:extLst>
          </p:cNvPr>
          <p:cNvSpPr txBox="1">
            <a:spLocks/>
          </p:cNvSpPr>
          <p:nvPr/>
        </p:nvSpPr>
        <p:spPr>
          <a:xfrm>
            <a:off x="3140276" y="2722973"/>
            <a:ext cx="2861503" cy="1030513"/>
          </a:xfrm>
          <a:prstGeom prst="rect">
            <a:avLst/>
          </a:prstGeom>
          <a:ln>
            <a:noFill/>
          </a:ln>
        </p:spPr>
        <p:txBody>
          <a:bodyPr vert="horz" lIns="91440" tIns="45720" rIns="91440" bIns="45720" rtlCol="0">
            <a:normAutofit/>
          </a:bodyPr>
          <a:lstStyle>
            <a:lvl1pPr marL="228594" indent="-228594" algn="l" defTabSz="914377"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51"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45"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38"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57" indent="-228594" algn="l" defTabSz="914377"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537"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726"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Former EVP Finance, appointed CFO in 2022</a:t>
            </a:r>
          </a:p>
          <a:p>
            <a:r>
              <a:rPr lang="en-US"/>
              <a:t>CFA </a:t>
            </a:r>
            <a:r>
              <a:rPr lang="en-US" err="1"/>
              <a:t>charterholder</a:t>
            </a:r>
            <a:r>
              <a:rPr lang="en-US"/>
              <a:t> with 15+ years of financial leadership in tech &amp; media</a:t>
            </a:r>
          </a:p>
          <a:p>
            <a:r>
              <a:rPr lang="en-US"/>
              <a:t>Over 10 years of public accounting experience at Deloitte &amp; Arthur Andersen</a:t>
            </a:r>
          </a:p>
        </p:txBody>
      </p:sp>
      <p:sp>
        <p:nvSpPr>
          <p:cNvPr id="28" name="Text Placeholder 43">
            <a:extLst>
              <a:ext uri="{FF2B5EF4-FFF2-40B4-BE49-F238E27FC236}">
                <a16:creationId xmlns:a16="http://schemas.microsoft.com/office/drawing/2014/main" id="{F1D694DF-BA74-3ECD-AF2A-E9E0E48AF400}"/>
              </a:ext>
            </a:extLst>
          </p:cNvPr>
          <p:cNvSpPr txBox="1">
            <a:spLocks/>
          </p:cNvSpPr>
          <p:nvPr/>
        </p:nvSpPr>
        <p:spPr>
          <a:xfrm>
            <a:off x="6001780" y="2722973"/>
            <a:ext cx="2891396" cy="1030513"/>
          </a:xfrm>
          <a:prstGeom prst="rect">
            <a:avLst/>
          </a:prstGeom>
          <a:ln>
            <a:noFill/>
          </a:ln>
        </p:spPr>
        <p:txBody>
          <a:bodyPr vert="horz" lIns="91440" tIns="45720" rIns="91440" bIns="45720" rtlCol="0">
            <a:normAutofit lnSpcReduction="10000"/>
          </a:bodyPr>
          <a:lstStyle>
            <a:lvl1pPr marL="228594" indent="-228594" algn="l" defTabSz="914377"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51"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45"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38"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57" indent="-228594" algn="l" defTabSz="914377"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537"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726"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Joined in 2021 via Vend acquisition; former CEO of Vend with deep retail SaaS expertise</a:t>
            </a:r>
          </a:p>
          <a:p>
            <a:r>
              <a:rPr lang="en-US"/>
              <a:t>Leads corporate strategy, M&amp;A, &amp; global expansion, focusing on long-term growth</a:t>
            </a:r>
          </a:p>
          <a:p>
            <a:r>
              <a:rPr lang="en-US"/>
              <a:t>Over 15 years in strategy &amp; operations with experience scaling tech &amp; commerce platforms</a:t>
            </a:r>
          </a:p>
        </p:txBody>
      </p:sp>
      <p:sp>
        <p:nvSpPr>
          <p:cNvPr id="31" name="Text Placeholder 43">
            <a:extLst>
              <a:ext uri="{FF2B5EF4-FFF2-40B4-BE49-F238E27FC236}">
                <a16:creationId xmlns:a16="http://schemas.microsoft.com/office/drawing/2014/main" id="{229AB12C-701E-CD7E-A6E4-A3D5A9DE7789}"/>
              </a:ext>
            </a:extLst>
          </p:cNvPr>
          <p:cNvSpPr txBox="1">
            <a:spLocks/>
          </p:cNvSpPr>
          <p:nvPr/>
        </p:nvSpPr>
        <p:spPr>
          <a:xfrm>
            <a:off x="3156194" y="5514596"/>
            <a:ext cx="2861503" cy="746509"/>
          </a:xfrm>
          <a:prstGeom prst="rect">
            <a:avLst/>
          </a:prstGeom>
          <a:ln>
            <a:noFill/>
          </a:ln>
        </p:spPr>
        <p:txBody>
          <a:bodyPr vert="horz" lIns="91440" tIns="45720" rIns="91440" bIns="45720" rtlCol="0">
            <a:noAutofit/>
          </a:bodyPr>
          <a:lstStyle>
            <a:lvl1pPr marL="228594" indent="-228594" algn="l" defTabSz="914377"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51"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45"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38"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57" indent="-228594" algn="l" defTabSz="914377"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537"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726"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Appointed CPTO in 2024</a:t>
            </a:r>
          </a:p>
          <a:p>
            <a:r>
              <a:rPr lang="en-US"/>
              <a:t>Holds a BS in Computer Science from Stanford University &amp; an MBA from Harvard Business School</a:t>
            </a:r>
          </a:p>
        </p:txBody>
      </p:sp>
      <p:grpSp>
        <p:nvGrpSpPr>
          <p:cNvPr id="12" name="Group 11">
            <a:extLst>
              <a:ext uri="{FF2B5EF4-FFF2-40B4-BE49-F238E27FC236}">
                <a16:creationId xmlns:a16="http://schemas.microsoft.com/office/drawing/2014/main" id="{09F9BA27-250A-0979-6191-C714AC2D114E}"/>
              </a:ext>
            </a:extLst>
          </p:cNvPr>
          <p:cNvGrpSpPr/>
          <p:nvPr/>
        </p:nvGrpSpPr>
        <p:grpSpPr>
          <a:xfrm>
            <a:off x="373031" y="3791290"/>
            <a:ext cx="8397937" cy="277000"/>
            <a:chOff x="373031" y="3874649"/>
            <a:chExt cx="8397937" cy="277000"/>
          </a:xfrm>
        </p:grpSpPr>
        <p:sp>
          <p:nvSpPr>
            <p:cNvPr id="11" name="TextBox 10">
              <a:extLst>
                <a:ext uri="{FF2B5EF4-FFF2-40B4-BE49-F238E27FC236}">
                  <a16:creationId xmlns:a16="http://schemas.microsoft.com/office/drawing/2014/main" id="{6C76579F-6532-2BAD-30FC-E0E25C701F10}"/>
                </a:ext>
              </a:extLst>
            </p:cNvPr>
            <p:cNvSpPr txBox="1"/>
            <p:nvPr/>
          </p:nvSpPr>
          <p:spPr>
            <a:xfrm>
              <a:off x="373031" y="3874650"/>
              <a:ext cx="2699353" cy="276999"/>
            </a:xfrm>
            <a:prstGeom prst="rect">
              <a:avLst/>
            </a:prstGeom>
            <a:solidFill>
              <a:srgbClr val="0F3557"/>
            </a:solidFill>
          </p:spPr>
          <p:txBody>
            <a:bodyPr wrap="square" rtlCol="0">
              <a:spAutoFit/>
            </a:bodyPr>
            <a:lstStyle/>
            <a:p>
              <a:pPr algn="ctr"/>
              <a:r>
                <a:rPr lang="en-CA" sz="1200" b="1">
                  <a:solidFill>
                    <a:schemeClr val="bg1"/>
                  </a:solidFill>
                </a:rPr>
                <a:t>Jean-David Saint-Martin, President</a:t>
              </a:r>
            </a:p>
          </p:txBody>
        </p:sp>
        <p:sp>
          <p:nvSpPr>
            <p:cNvPr id="29" name="TextBox 28">
              <a:extLst>
                <a:ext uri="{FF2B5EF4-FFF2-40B4-BE49-F238E27FC236}">
                  <a16:creationId xmlns:a16="http://schemas.microsoft.com/office/drawing/2014/main" id="{40F5307B-FB52-5CF9-BFA2-0BA80CF4E7FD}"/>
                </a:ext>
              </a:extLst>
            </p:cNvPr>
            <p:cNvSpPr txBox="1"/>
            <p:nvPr/>
          </p:nvSpPr>
          <p:spPr>
            <a:xfrm>
              <a:off x="3222323" y="3874649"/>
              <a:ext cx="2699353" cy="276999"/>
            </a:xfrm>
            <a:prstGeom prst="rect">
              <a:avLst/>
            </a:prstGeom>
            <a:solidFill>
              <a:srgbClr val="0F3557"/>
            </a:solidFill>
          </p:spPr>
          <p:txBody>
            <a:bodyPr wrap="square" rtlCol="0">
              <a:spAutoFit/>
            </a:bodyPr>
            <a:lstStyle/>
            <a:p>
              <a:pPr algn="ctr"/>
              <a:r>
                <a:rPr lang="en-CA" sz="1200" b="1">
                  <a:solidFill>
                    <a:schemeClr val="bg1"/>
                  </a:solidFill>
                </a:rPr>
                <a:t>John Shapiro, CPTO</a:t>
              </a:r>
            </a:p>
          </p:txBody>
        </p:sp>
        <p:sp>
          <p:nvSpPr>
            <p:cNvPr id="32" name="TextBox 31">
              <a:extLst>
                <a:ext uri="{FF2B5EF4-FFF2-40B4-BE49-F238E27FC236}">
                  <a16:creationId xmlns:a16="http://schemas.microsoft.com/office/drawing/2014/main" id="{4B940927-38C8-9E03-7A7B-2C0276B7B62D}"/>
                </a:ext>
              </a:extLst>
            </p:cNvPr>
            <p:cNvSpPr txBox="1"/>
            <p:nvPr/>
          </p:nvSpPr>
          <p:spPr>
            <a:xfrm>
              <a:off x="6071615" y="3874649"/>
              <a:ext cx="2699353" cy="276999"/>
            </a:xfrm>
            <a:prstGeom prst="rect">
              <a:avLst/>
            </a:prstGeom>
            <a:solidFill>
              <a:srgbClr val="0F3557"/>
            </a:solidFill>
          </p:spPr>
          <p:txBody>
            <a:bodyPr wrap="square" rtlCol="0">
              <a:spAutoFit/>
            </a:bodyPr>
            <a:lstStyle/>
            <a:p>
              <a:pPr algn="ctr"/>
              <a:r>
                <a:rPr lang="en-CA" sz="1200" b="1">
                  <a:solidFill>
                    <a:schemeClr val="bg1"/>
                  </a:solidFill>
                </a:rPr>
                <a:t>Daniel </a:t>
              </a:r>
              <a:r>
                <a:rPr lang="en-CA" sz="1200" b="1" err="1">
                  <a:solidFill>
                    <a:schemeClr val="bg1"/>
                  </a:solidFill>
                </a:rPr>
                <a:t>Micak</a:t>
              </a:r>
              <a:r>
                <a:rPr lang="en-CA" sz="1200" b="1">
                  <a:solidFill>
                    <a:schemeClr val="bg1"/>
                  </a:solidFill>
                </a:rPr>
                <a:t>, CLO</a:t>
              </a:r>
            </a:p>
          </p:txBody>
        </p:sp>
      </p:grpSp>
      <p:sp>
        <p:nvSpPr>
          <p:cNvPr id="34" name="Text Placeholder 43">
            <a:extLst>
              <a:ext uri="{FF2B5EF4-FFF2-40B4-BE49-F238E27FC236}">
                <a16:creationId xmlns:a16="http://schemas.microsoft.com/office/drawing/2014/main" id="{C6A99F0D-0C7A-57C2-89EA-019049E2384F}"/>
              </a:ext>
            </a:extLst>
          </p:cNvPr>
          <p:cNvSpPr txBox="1">
            <a:spLocks/>
          </p:cNvSpPr>
          <p:nvPr/>
        </p:nvSpPr>
        <p:spPr>
          <a:xfrm>
            <a:off x="6031671" y="5510966"/>
            <a:ext cx="2861504" cy="746509"/>
          </a:xfrm>
          <a:prstGeom prst="rect">
            <a:avLst/>
          </a:prstGeom>
          <a:ln>
            <a:noFill/>
          </a:ln>
        </p:spPr>
        <p:txBody>
          <a:bodyPr vert="horz" lIns="91440" tIns="45720" rIns="91440" bIns="45720" rtlCol="0">
            <a:noAutofit/>
          </a:bodyPr>
          <a:lstStyle>
            <a:lvl1pPr marL="228594" indent="-228594" algn="l" defTabSz="914377"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51"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45"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38"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57" indent="-228594" algn="l" defTabSz="914377"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537"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726"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Appointed CLO in 2022</a:t>
            </a:r>
          </a:p>
          <a:p>
            <a:r>
              <a:rPr lang="en-US"/>
              <a:t>Holds a J.D. from </a:t>
            </a:r>
            <a:r>
              <a:rPr lang="en-US" err="1"/>
              <a:t>Osgoode</a:t>
            </a:r>
            <a:r>
              <a:rPr lang="en-US"/>
              <a:t> Hall Law School &amp; a BA in English from the University of Waterloo</a:t>
            </a:r>
          </a:p>
        </p:txBody>
      </p:sp>
      <p:pic>
        <p:nvPicPr>
          <p:cNvPr id="3" name="Picture 10">
            <a:extLst>
              <a:ext uri="{FF2B5EF4-FFF2-40B4-BE49-F238E27FC236}">
                <a16:creationId xmlns:a16="http://schemas.microsoft.com/office/drawing/2014/main" id="{95F5B609-1732-AFE8-0108-57AFA82686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2" b="2"/>
          <a:stretch/>
        </p:blipFill>
        <p:spPr bwMode="auto">
          <a:xfrm rot="10800000" flipV="1">
            <a:off x="1188862" y="1393017"/>
            <a:ext cx="1018750" cy="1188496"/>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4" name="Picture 12" descr="Asha Bakshani">
            <a:extLst>
              <a:ext uri="{FF2B5EF4-FFF2-40B4-BE49-F238E27FC236}">
                <a16:creationId xmlns:a16="http://schemas.microsoft.com/office/drawing/2014/main" id="{EF978B50-8A60-DFDD-F8A5-803824CD31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3002" y="1393017"/>
            <a:ext cx="1018324" cy="1188000"/>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 name="Picture 14" descr="Ana  Wight ">
            <a:extLst>
              <a:ext uri="{FF2B5EF4-FFF2-40B4-BE49-F238E27FC236}">
                <a16:creationId xmlns:a16="http://schemas.microsoft.com/office/drawing/2014/main" id="{E22171FB-A29C-EE75-D095-87EB69237C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1981" y="1393017"/>
            <a:ext cx="1038950" cy="1188000"/>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7" name="Picture 2" descr="JD Saint-Martin">
            <a:extLst>
              <a:ext uri="{FF2B5EF4-FFF2-40B4-BE49-F238E27FC236}">
                <a16:creationId xmlns:a16="http://schemas.microsoft.com/office/drawing/2014/main" id="{DF44F13B-DE6C-4698-6DC3-5F3A170C44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3471" y="4212956"/>
            <a:ext cx="1018800" cy="1170672"/>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1028" name="Picture 4" descr="John Shapiro">
            <a:extLst>
              <a:ext uri="{FF2B5EF4-FFF2-40B4-BE49-F238E27FC236}">
                <a16:creationId xmlns:a16="http://schemas.microsoft.com/office/drawing/2014/main" id="{BD334B9C-D1F4-A23B-59C3-2D1CE1A585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43002" y="4203684"/>
            <a:ext cx="978016" cy="1188000"/>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9" name="Picture 6" descr="Daniel Micak">
            <a:extLst>
              <a:ext uri="{FF2B5EF4-FFF2-40B4-BE49-F238E27FC236}">
                <a16:creationId xmlns:a16="http://schemas.microsoft.com/office/drawing/2014/main" id="{4B363E52-90D7-55EF-9076-501DF8AA7FA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02606" y="4195627"/>
            <a:ext cx="1018325" cy="1188000"/>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78891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2715EC-21C7-4F25-F68E-A616BCFB1DBE}"/>
              </a:ext>
            </a:extLst>
          </p:cNvPr>
          <p:cNvSpPr>
            <a:spLocks noGrp="1"/>
          </p:cNvSpPr>
          <p:nvPr>
            <p:ph type="body" sz="quarter" idx="21"/>
          </p:nvPr>
        </p:nvSpPr>
        <p:spPr/>
        <p:txBody>
          <a:bodyPr vert="horz" lIns="91440" tIns="45720" rIns="91440" bIns="45720" rtlCol="0" anchor="t">
            <a:normAutofit/>
          </a:bodyPr>
          <a:lstStyle/>
          <a:p>
            <a:r>
              <a:rPr lang="en-US"/>
              <a:t>WACC/TGR and TV WACC/TGR Sensitivity Analysis</a:t>
            </a:r>
            <a:endParaRPr lang="en-CA"/>
          </a:p>
        </p:txBody>
      </p:sp>
      <p:sp>
        <p:nvSpPr>
          <p:cNvPr id="4" name="Title 3">
            <a:extLst>
              <a:ext uri="{FF2B5EF4-FFF2-40B4-BE49-F238E27FC236}">
                <a16:creationId xmlns:a16="http://schemas.microsoft.com/office/drawing/2014/main" id="{05A12222-6E57-4959-7421-2F8929E87FC5}"/>
              </a:ext>
            </a:extLst>
          </p:cNvPr>
          <p:cNvSpPr>
            <a:spLocks noGrp="1"/>
          </p:cNvSpPr>
          <p:nvPr>
            <p:ph type="title"/>
          </p:nvPr>
        </p:nvSpPr>
        <p:spPr/>
        <p:txBody>
          <a:bodyPr/>
          <a:lstStyle/>
          <a:p>
            <a:r>
              <a:rPr lang="en-CA"/>
              <a:t>Appendix III - DCF Sensitivity Analysis</a:t>
            </a:r>
          </a:p>
        </p:txBody>
      </p:sp>
      <p:sp>
        <p:nvSpPr>
          <p:cNvPr id="5" name="Text Placeholder 4">
            <a:extLst>
              <a:ext uri="{FF2B5EF4-FFF2-40B4-BE49-F238E27FC236}">
                <a16:creationId xmlns:a16="http://schemas.microsoft.com/office/drawing/2014/main" id="{21AFFF20-2280-86E1-768D-288DA7C42C98}"/>
              </a:ext>
            </a:extLst>
          </p:cNvPr>
          <p:cNvSpPr>
            <a:spLocks noGrp="1"/>
          </p:cNvSpPr>
          <p:nvPr>
            <p:ph type="body" sz="quarter" idx="13"/>
          </p:nvPr>
        </p:nvSpPr>
        <p:spPr/>
        <p:txBody>
          <a:bodyPr/>
          <a:lstStyle/>
          <a:p>
            <a:r>
              <a:rPr lang="en-US"/>
              <a:t>Source(s): Bloomberg, Capital IQ, Factiva</a:t>
            </a:r>
          </a:p>
        </p:txBody>
      </p:sp>
      <p:graphicFrame>
        <p:nvGraphicFramePr>
          <p:cNvPr id="6" name="Table 5">
            <a:extLst>
              <a:ext uri="{FF2B5EF4-FFF2-40B4-BE49-F238E27FC236}">
                <a16:creationId xmlns:a16="http://schemas.microsoft.com/office/drawing/2014/main" id="{CC2697E5-8B13-017F-3271-FEADDE6836B4}"/>
              </a:ext>
            </a:extLst>
          </p:cNvPr>
          <p:cNvGraphicFramePr>
            <a:graphicFrameLocks noGrp="1"/>
          </p:cNvGraphicFramePr>
          <p:nvPr>
            <p:extLst>
              <p:ext uri="{D42A27DB-BD31-4B8C-83A1-F6EECF244321}">
                <p14:modId xmlns:p14="http://schemas.microsoft.com/office/powerpoint/2010/main" val="2740922604"/>
              </p:ext>
            </p:extLst>
          </p:nvPr>
        </p:nvGraphicFramePr>
        <p:xfrm>
          <a:off x="250828" y="1006479"/>
          <a:ext cx="8642345" cy="5207264"/>
        </p:xfrm>
        <a:graphic>
          <a:graphicData uri="http://schemas.openxmlformats.org/drawingml/2006/table">
            <a:tbl>
              <a:tblPr/>
              <a:tblGrid>
                <a:gridCol w="630226">
                  <a:extLst>
                    <a:ext uri="{9D8B030D-6E8A-4147-A177-3AD203B41FA5}">
                      <a16:colId xmlns:a16="http://schemas.microsoft.com/office/drawing/2014/main" val="3014806016"/>
                    </a:ext>
                  </a:extLst>
                </a:gridCol>
                <a:gridCol w="550155">
                  <a:extLst>
                    <a:ext uri="{9D8B030D-6E8A-4147-A177-3AD203B41FA5}">
                      <a16:colId xmlns:a16="http://schemas.microsoft.com/office/drawing/2014/main" val="1324182907"/>
                    </a:ext>
                  </a:extLst>
                </a:gridCol>
                <a:gridCol w="612146">
                  <a:extLst>
                    <a:ext uri="{9D8B030D-6E8A-4147-A177-3AD203B41FA5}">
                      <a16:colId xmlns:a16="http://schemas.microsoft.com/office/drawing/2014/main" val="1301249054"/>
                    </a:ext>
                  </a:extLst>
                </a:gridCol>
                <a:gridCol w="550155">
                  <a:extLst>
                    <a:ext uri="{9D8B030D-6E8A-4147-A177-3AD203B41FA5}">
                      <a16:colId xmlns:a16="http://schemas.microsoft.com/office/drawing/2014/main" val="1968569521"/>
                    </a:ext>
                  </a:extLst>
                </a:gridCol>
                <a:gridCol w="550155">
                  <a:extLst>
                    <a:ext uri="{9D8B030D-6E8A-4147-A177-3AD203B41FA5}">
                      <a16:colId xmlns:a16="http://schemas.microsoft.com/office/drawing/2014/main" val="4136643658"/>
                    </a:ext>
                  </a:extLst>
                </a:gridCol>
                <a:gridCol w="550155">
                  <a:extLst>
                    <a:ext uri="{9D8B030D-6E8A-4147-A177-3AD203B41FA5}">
                      <a16:colId xmlns:a16="http://schemas.microsoft.com/office/drawing/2014/main" val="1051695129"/>
                    </a:ext>
                  </a:extLst>
                </a:gridCol>
                <a:gridCol w="550155">
                  <a:extLst>
                    <a:ext uri="{9D8B030D-6E8A-4147-A177-3AD203B41FA5}">
                      <a16:colId xmlns:a16="http://schemas.microsoft.com/office/drawing/2014/main" val="1759240961"/>
                    </a:ext>
                  </a:extLst>
                </a:gridCol>
                <a:gridCol w="550155">
                  <a:extLst>
                    <a:ext uri="{9D8B030D-6E8A-4147-A177-3AD203B41FA5}">
                      <a16:colId xmlns:a16="http://schemas.microsoft.com/office/drawing/2014/main" val="1759775846"/>
                    </a:ext>
                  </a:extLst>
                </a:gridCol>
                <a:gridCol w="581151">
                  <a:extLst>
                    <a:ext uri="{9D8B030D-6E8A-4147-A177-3AD203B41FA5}">
                      <a16:colId xmlns:a16="http://schemas.microsoft.com/office/drawing/2014/main" val="4154837974"/>
                    </a:ext>
                  </a:extLst>
                </a:gridCol>
                <a:gridCol w="550155">
                  <a:extLst>
                    <a:ext uri="{9D8B030D-6E8A-4147-A177-3AD203B41FA5}">
                      <a16:colId xmlns:a16="http://schemas.microsoft.com/office/drawing/2014/main" val="1931141255"/>
                    </a:ext>
                  </a:extLst>
                </a:gridCol>
                <a:gridCol w="550155">
                  <a:extLst>
                    <a:ext uri="{9D8B030D-6E8A-4147-A177-3AD203B41FA5}">
                      <a16:colId xmlns:a16="http://schemas.microsoft.com/office/drawing/2014/main" val="2063956563"/>
                    </a:ext>
                  </a:extLst>
                </a:gridCol>
                <a:gridCol w="550155">
                  <a:extLst>
                    <a:ext uri="{9D8B030D-6E8A-4147-A177-3AD203B41FA5}">
                      <a16:colId xmlns:a16="http://schemas.microsoft.com/office/drawing/2014/main" val="2292220608"/>
                    </a:ext>
                  </a:extLst>
                </a:gridCol>
                <a:gridCol w="550155">
                  <a:extLst>
                    <a:ext uri="{9D8B030D-6E8A-4147-A177-3AD203B41FA5}">
                      <a16:colId xmlns:a16="http://schemas.microsoft.com/office/drawing/2014/main" val="642855345"/>
                    </a:ext>
                  </a:extLst>
                </a:gridCol>
                <a:gridCol w="550155">
                  <a:extLst>
                    <a:ext uri="{9D8B030D-6E8A-4147-A177-3AD203B41FA5}">
                      <a16:colId xmlns:a16="http://schemas.microsoft.com/office/drawing/2014/main" val="3964784264"/>
                    </a:ext>
                  </a:extLst>
                </a:gridCol>
                <a:gridCol w="550155">
                  <a:extLst>
                    <a:ext uri="{9D8B030D-6E8A-4147-A177-3AD203B41FA5}">
                      <a16:colId xmlns:a16="http://schemas.microsoft.com/office/drawing/2014/main" val="2556406377"/>
                    </a:ext>
                  </a:extLst>
                </a:gridCol>
                <a:gridCol w="216962">
                  <a:extLst>
                    <a:ext uri="{9D8B030D-6E8A-4147-A177-3AD203B41FA5}">
                      <a16:colId xmlns:a16="http://schemas.microsoft.com/office/drawing/2014/main" val="1850325018"/>
                    </a:ext>
                  </a:extLst>
                </a:gridCol>
              </a:tblGrid>
              <a:tr h="188539">
                <a:tc>
                  <a:txBody>
                    <a:bodyPr/>
                    <a:lstStyle/>
                    <a:p>
                      <a:pPr algn="ctr" fontAlgn="b"/>
                      <a:endParaRPr lang="en-US" sz="800" b="0" i="0" u="none" strike="noStrike">
                        <a:solidFill>
                          <a:srgbClr val="000000"/>
                        </a:solidFill>
                        <a:effectLst/>
                        <a:latin typeface="Arial"/>
                      </a:endParaRPr>
                    </a:p>
                  </a:txBody>
                  <a:tcPr marL="7101" marR="7101" marT="7101" marB="0"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7">
                  <a:txBody>
                    <a:bodyPr/>
                    <a:lstStyle/>
                    <a:p>
                      <a:pPr algn="ctr" fontAlgn="b"/>
                      <a:endParaRPr lang="en-US" sz="800" b="1" i="0" u="none" strike="noStrike">
                        <a:solidFill>
                          <a:srgbClr val="FFFFFF"/>
                        </a:solidFill>
                        <a:effectLst/>
                        <a:latin typeface="Arial"/>
                      </a:endParaRPr>
                    </a:p>
                  </a:txBody>
                  <a:tcPr marL="7101" marR="7101" marT="7101"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0379318"/>
                  </a:ext>
                </a:extLst>
              </a:tr>
              <a:tr h="224451">
                <a:tc>
                  <a:txBody>
                    <a:bodyPr/>
                    <a:lstStyle/>
                    <a:p>
                      <a:pPr algn="ctr" fontAlgn="b"/>
                      <a:endParaRPr lang="en-US" sz="800" b="0" i="0" u="none" strike="noStrike">
                        <a:solidFill>
                          <a:srgbClr val="000000"/>
                        </a:solidFill>
                        <a:effectLst/>
                        <a:latin typeface="Arial"/>
                      </a:endParaRPr>
                    </a:p>
                  </a:txBody>
                  <a:tcPr marL="7101" marR="7101" marT="7101" marB="0" anchor="b">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7101" marR="7101" marT="7101"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1818600476"/>
                  </a:ext>
                </a:extLst>
              </a:tr>
              <a:tr h="197517">
                <a:tc>
                  <a:txBody>
                    <a:bodyPr/>
                    <a:lstStyle/>
                    <a:p>
                      <a:pPr algn="ctr" fontAlgn="b"/>
                      <a:endParaRPr lang="en-US" sz="800" b="0" i="0" u="none" strike="noStrike">
                        <a:solidFill>
                          <a:srgbClr val="000000"/>
                        </a:solidFill>
                        <a:effectLst/>
                        <a:latin typeface="Calibri"/>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800" b="0" i="0" u="none" strike="noStrike">
                        <a:solidFill>
                          <a:srgbClr val="000000"/>
                        </a:solidFill>
                        <a:effectLst/>
                        <a:latin typeface="Calibri" panose="020F0502020204030204" pitchFamily="34" charset="0"/>
                      </a:endParaRPr>
                    </a:p>
                  </a:txBody>
                  <a:tcPr marL="7101" marR="7101" marT="7101"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Calibri" panose="020F0502020204030204" pitchFamily="34" charset="0"/>
                      </a:endParaRPr>
                    </a:p>
                  </a:txBody>
                  <a:tcPr marL="7101" marR="7101" marT="7101"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Calibri" panose="020F0502020204030204" pitchFamily="34" charset="0"/>
                      </a:endParaRPr>
                    </a:p>
                  </a:txBody>
                  <a:tcPr marL="7101" marR="7101" marT="7101"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Calibri" panose="020F0502020204030204" pitchFamily="34" charset="0"/>
                      </a:endParaRPr>
                    </a:p>
                  </a:txBody>
                  <a:tcPr marL="7101" marR="7101" marT="7101"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Calibri" panose="020F0502020204030204" pitchFamily="34" charset="0"/>
                      </a:endParaRPr>
                    </a:p>
                  </a:txBody>
                  <a:tcPr marL="7101" marR="7101" marT="7101" marB="0" anchor="b">
                    <a:lnL>
                      <a:noFill/>
                    </a:lnL>
                    <a:lnR>
                      <a:noFill/>
                    </a:lnR>
                    <a:lnT>
                      <a:noFill/>
                    </a:lnT>
                    <a:lnB>
                      <a:noFill/>
                    </a:lnB>
                    <a:noFill/>
                  </a:tcPr>
                </a:tc>
                <a:tc gridSpan="5">
                  <a:txBody>
                    <a:bodyPr/>
                    <a:lstStyle/>
                    <a:p>
                      <a:pPr algn="ctr" fontAlgn="b"/>
                      <a:r>
                        <a:rPr lang="en-US" sz="900" b="1" i="0" u="none" strike="noStrike">
                          <a:solidFill>
                            <a:srgbClr val="000000"/>
                          </a:solidFill>
                          <a:effectLst/>
                          <a:latin typeface="+mn-lt"/>
                        </a:rPr>
                        <a:t>WACC</a:t>
                      </a:r>
                    </a:p>
                  </a:txBody>
                  <a:tcPr marL="7101" marR="7101" marT="7101" marB="0" anchor="b">
                    <a:lnL>
                      <a:noFill/>
                    </a:lnL>
                    <a:lnR>
                      <a:noFill/>
                    </a:lnR>
                    <a:lnT>
                      <a:noFill/>
                    </a:lnT>
                    <a:lnB>
                      <a:noFill/>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800" b="0" i="0" u="none" strike="noStrike">
                        <a:solidFill>
                          <a:srgbClr val="000000"/>
                        </a:solidFill>
                        <a:effectLst/>
                        <a:latin typeface="Calibri" panose="020F0502020204030204" pitchFamily="34" charset="0"/>
                      </a:endParaRPr>
                    </a:p>
                  </a:txBody>
                  <a:tcPr marL="7101" marR="7101" marT="7101"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Calibri" panose="020F0502020204030204" pitchFamily="34" charset="0"/>
                      </a:endParaRPr>
                    </a:p>
                  </a:txBody>
                  <a:tcPr marL="7101" marR="7101" marT="7101"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Calibri" panose="020F0502020204030204" pitchFamily="34" charset="0"/>
                      </a:endParaRPr>
                    </a:p>
                  </a:txBody>
                  <a:tcPr marL="7101" marR="7101" marT="7101"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Calibri" panose="020F0502020204030204" pitchFamily="34" charset="0"/>
                      </a:endParaRPr>
                    </a:p>
                  </a:txBody>
                  <a:tcPr marL="7101" marR="7101" marT="7101"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728418732"/>
                  </a:ext>
                </a:extLst>
              </a:tr>
              <a:tr h="206495">
                <a:tc>
                  <a:txBody>
                    <a:bodyPr/>
                    <a:lstStyle/>
                    <a:p>
                      <a:pPr algn="ctr" fontAlgn="b"/>
                      <a:endParaRPr lang="en-US" sz="800" b="0" i="0" u="none" strike="noStrike">
                        <a:solidFill>
                          <a:srgbClr val="000000"/>
                        </a:solidFill>
                        <a:effectLst/>
                        <a:latin typeface="Calibri"/>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1" i="0" u="none" strike="noStrike">
                          <a:solidFill>
                            <a:srgbClr val="000000"/>
                          </a:solidFill>
                          <a:effectLst/>
                          <a:latin typeface="Arial" panose="020B0604020202020204" pitchFamily="34" charset="0"/>
                        </a:rPr>
                        <a:t> $     20.57 </a:t>
                      </a:r>
                    </a:p>
                  </a:txBody>
                  <a:tcPr marL="0" marR="0" marT="0" marB="0" anchor="ctr">
                    <a:lnL>
                      <a:noFill/>
                    </a:lnL>
                    <a:lnR>
                      <a:noFill/>
                    </a:lnR>
                    <a:lnT>
                      <a:noFill/>
                    </a:lnT>
                    <a:lnB>
                      <a:noFill/>
                    </a:lnB>
                    <a:noFill/>
                  </a:tcPr>
                </a:tc>
                <a:tc>
                  <a:txBody>
                    <a:bodyPr/>
                    <a:lstStyle/>
                    <a:p>
                      <a:pPr algn="ctr" fontAlgn="ctr"/>
                      <a:r>
                        <a:rPr lang="en-CA" sz="900" b="1" i="0" u="none" strike="noStrike">
                          <a:solidFill>
                            <a:srgbClr val="002060"/>
                          </a:solidFill>
                          <a:effectLst/>
                          <a:latin typeface="Arial" panose="020B0604020202020204" pitchFamily="34" charset="0"/>
                        </a:rPr>
                        <a:t>8.60%</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8.85%</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9.10%</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9.35%</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9.60%</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9.85%</a:t>
                      </a:r>
                    </a:p>
                  </a:txBody>
                  <a:tcPr marL="0" marR="0"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10.1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10.35%</a:t>
                      </a:r>
                    </a:p>
                  </a:txBody>
                  <a:tcPr marL="0" marR="0"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10.60%</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10.85%</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11.10%</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11.35%</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11.60%</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131528146"/>
                  </a:ext>
                </a:extLst>
              </a:tr>
              <a:tr h="215474">
                <a:tc>
                  <a:txBody>
                    <a:bodyPr/>
                    <a:lstStyle/>
                    <a:p>
                      <a:pPr algn="ctr" fontAlgn="b"/>
                      <a:endParaRPr lang="en-US" sz="800" b="0" i="0" u="none" strike="noStrike">
                        <a:solidFill>
                          <a:srgbClr val="000000"/>
                        </a:solidFill>
                        <a:effectLst/>
                        <a:latin typeface="Calibri"/>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CA" sz="900" b="1" i="0" u="none" strike="noStrike">
                          <a:solidFill>
                            <a:srgbClr val="002060"/>
                          </a:solidFill>
                          <a:effectLst/>
                          <a:latin typeface="Arial" panose="020B0604020202020204" pitchFamily="34" charset="0"/>
                        </a:rPr>
                        <a:t>4.00%</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5.61 </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5.13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4.67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4.21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3.77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3.33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2.91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2.50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2.09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1.70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1.31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0.94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0.57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150841851"/>
                  </a:ext>
                </a:extLst>
              </a:tr>
              <a:tr h="179560">
                <a:tc>
                  <a:txBody>
                    <a:bodyPr/>
                    <a:lstStyle/>
                    <a:p>
                      <a:pPr algn="ctr" fontAlgn="b"/>
                      <a:endParaRPr lang="en-US" sz="800" b="0" i="0" u="none" strike="noStrike">
                        <a:solidFill>
                          <a:srgbClr val="000000"/>
                        </a:solidFill>
                        <a:effectLst/>
                        <a:latin typeface="Calibri"/>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CA" sz="900" b="1" i="0" u="none" strike="noStrike">
                          <a:solidFill>
                            <a:srgbClr val="002060"/>
                          </a:solidFill>
                          <a:effectLst/>
                          <a:latin typeface="Arial" panose="020B0604020202020204" pitchFamily="34" charset="0"/>
                        </a:rPr>
                        <a:t>3.75%</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4.85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4.39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3.94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3.50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3.07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2.66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2.25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1.85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1.46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1.08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0.71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0.35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9.99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657410504"/>
                  </a:ext>
                </a:extLst>
              </a:tr>
              <a:tr h="170584">
                <a:tc rowSpan="5">
                  <a:txBody>
                    <a:bodyPr/>
                    <a:lstStyle/>
                    <a:p>
                      <a:pPr algn="ctr" fontAlgn="ctr"/>
                      <a:r>
                        <a:rPr lang="en-US" sz="900" b="1" i="0" u="none" strike="noStrike">
                          <a:solidFill>
                            <a:srgbClr val="000000"/>
                          </a:solidFill>
                          <a:effectLst/>
                          <a:latin typeface="+mn-lt"/>
                        </a:rPr>
                        <a:t>TGR</a:t>
                      </a:r>
                    </a:p>
                  </a:txBody>
                  <a:tcPr marL="7101" marR="7101" marT="7101"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CA" sz="900" b="1" i="0" u="none" strike="noStrike">
                          <a:solidFill>
                            <a:srgbClr val="002060"/>
                          </a:solidFill>
                          <a:effectLst/>
                          <a:latin typeface="Arial" panose="020B0604020202020204" pitchFamily="34" charset="0"/>
                        </a:rPr>
                        <a:t>3.50%</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4.16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3.71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3.28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2.85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2.44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2.03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1.64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1.26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0.88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0.51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0.15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9.80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9.46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325031754"/>
                  </a:ext>
                </a:extLst>
              </a:tr>
              <a:tr h="170584">
                <a:tc vMerge="1">
                  <a:txBody>
                    <a:bodyPr/>
                    <a:lstStyle/>
                    <a:p>
                      <a:endParaRPr lang="en-US"/>
                    </a:p>
                  </a:txBody>
                  <a:tcPr/>
                </a:tc>
                <a:tc>
                  <a:txBody>
                    <a:bodyPr/>
                    <a:lstStyle/>
                    <a:p>
                      <a:pPr algn="ctr" fontAlgn="b"/>
                      <a:r>
                        <a:rPr lang="en-CA" sz="900" b="1" i="0" u="none" strike="noStrike">
                          <a:solidFill>
                            <a:srgbClr val="002060"/>
                          </a:solidFill>
                          <a:effectLst/>
                          <a:latin typeface="Arial" panose="020B0604020202020204" pitchFamily="34" charset="0"/>
                        </a:rPr>
                        <a:t>3.25%</a:t>
                      </a:r>
                    </a:p>
                  </a:txBody>
                  <a:tcPr marL="0" marR="0"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23.51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3.08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2.66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FFFFFF"/>
                          </a:solidFill>
                          <a:effectLst/>
                          <a:latin typeface="Arial" panose="020B0604020202020204" pitchFamily="34" charset="0"/>
                        </a:rPr>
                        <a:t>$22.25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1.85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1.46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1.08 </a:t>
                      </a: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0.71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0.35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19.99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000000"/>
                          </a:solidFill>
                          <a:effectLst/>
                          <a:latin typeface="Arial" panose="020B0604020202020204" pitchFamily="34" charset="0"/>
                        </a:rPr>
                        <a:t>$19.64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9.30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8.97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509474349"/>
                  </a:ext>
                </a:extLst>
              </a:tr>
              <a:tr h="170584">
                <a:tc vMerge="1">
                  <a:txBody>
                    <a:bodyPr/>
                    <a:lstStyle/>
                    <a:p>
                      <a:endParaRPr lang="en-US"/>
                    </a:p>
                  </a:txBody>
                  <a:tcPr/>
                </a:tc>
                <a:tc>
                  <a:txBody>
                    <a:bodyPr/>
                    <a:lstStyle/>
                    <a:p>
                      <a:pPr algn="ctr" fontAlgn="b"/>
                      <a:r>
                        <a:rPr lang="en-CA" sz="900" b="1" i="0" u="none" strike="noStrike">
                          <a:solidFill>
                            <a:srgbClr val="002060"/>
                          </a:solidFill>
                          <a:effectLst/>
                          <a:latin typeface="Arial" panose="020B0604020202020204" pitchFamily="34" charset="0"/>
                        </a:rPr>
                        <a:t>3.0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22.92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2.51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2.10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FFFFFF"/>
                          </a:solidFill>
                          <a:effectLst/>
                          <a:latin typeface="Arial" panose="020B0604020202020204" pitchFamily="34" charset="0"/>
                        </a:rPr>
                        <a:t>$21.70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1.31 </a:t>
                      </a:r>
                    </a:p>
                  </a:txBody>
                  <a:tcPr marL="0" marR="0" marT="0" marB="0" anchor="ctr">
                    <a:lnL>
                      <a:noFill/>
                    </a:lnL>
                    <a:lnR>
                      <a:noFill/>
                    </a:lnR>
                    <a:lnT>
                      <a:noFill/>
                    </a:lnT>
                    <a:lnB>
                      <a:noFill/>
                    </a:lnB>
                    <a:solidFill>
                      <a:srgbClr val="153D64"/>
                    </a:solidFill>
                  </a:tcPr>
                </a:tc>
                <a:tc>
                  <a:txBody>
                    <a:bodyPr/>
                    <a:lstStyle/>
                    <a:p>
                      <a:pPr algn="ctr" fontAlgn="ctr"/>
                      <a:r>
                        <a:rPr lang="en-CA" sz="900" b="0" i="0" u="none" strike="noStrike">
                          <a:solidFill>
                            <a:srgbClr val="FFFFFF"/>
                          </a:solidFill>
                          <a:effectLst/>
                          <a:latin typeface="Arial" panose="020B0604020202020204" pitchFamily="34" charset="0"/>
                        </a:rPr>
                        <a:t>$20.94 </a:t>
                      </a:r>
                    </a:p>
                  </a:txBody>
                  <a:tcPr marL="0" marR="0" marT="0" marB="0" anchor="ctr">
                    <a:lnL>
                      <a:noFill/>
                    </a:lnL>
                    <a:lnR w="6350" cap="flat" cmpd="sng" algn="ctr">
                      <a:solidFill>
                        <a:srgbClr val="FFFFFF"/>
                      </a:solidFill>
                      <a:prstDash val="solid"/>
                      <a:round/>
                      <a:headEnd type="none" w="med" len="med"/>
                      <a:tailEnd type="none" w="med" len="med"/>
                    </a:lnR>
                    <a:lnT>
                      <a:noFill/>
                    </a:lnT>
                    <a:lnB>
                      <a:noFill/>
                    </a:lnB>
                    <a:solidFill>
                      <a:srgbClr val="153D64"/>
                    </a:solidFill>
                  </a:tcPr>
                </a:tc>
                <a:tc>
                  <a:txBody>
                    <a:bodyPr/>
                    <a:lstStyle/>
                    <a:p>
                      <a:pPr algn="ctr" fontAlgn="ctr"/>
                      <a:r>
                        <a:rPr lang="en-CA" sz="900" b="1" i="0" u="none" strike="noStrike">
                          <a:solidFill>
                            <a:srgbClr val="FFFFFF"/>
                          </a:solidFill>
                          <a:effectLst/>
                          <a:latin typeface="Arial" panose="020B0604020202020204" pitchFamily="34" charset="0"/>
                        </a:rPr>
                        <a:t>$20.57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E2841"/>
                    </a:solidFill>
                  </a:tcPr>
                </a:tc>
                <a:tc>
                  <a:txBody>
                    <a:bodyPr/>
                    <a:lstStyle/>
                    <a:p>
                      <a:pPr algn="ctr" fontAlgn="ctr"/>
                      <a:r>
                        <a:rPr lang="en-CA" sz="900" b="0" i="0" u="none" strike="noStrike">
                          <a:solidFill>
                            <a:srgbClr val="FFFFFF"/>
                          </a:solidFill>
                          <a:effectLst/>
                          <a:latin typeface="Arial" panose="020B0604020202020204" pitchFamily="34" charset="0"/>
                        </a:rPr>
                        <a:t>$20.20 </a:t>
                      </a:r>
                    </a:p>
                  </a:txBody>
                  <a:tcPr marL="0" marR="0" marT="0" marB="0" anchor="ctr">
                    <a:lnL w="6350" cap="flat" cmpd="sng" algn="ctr">
                      <a:solidFill>
                        <a:srgbClr val="FFFFFF"/>
                      </a:solidFill>
                      <a:prstDash val="solid"/>
                      <a:round/>
                      <a:headEnd type="none" w="med" len="med"/>
                      <a:tailEnd type="none" w="med" len="med"/>
                    </a:lnL>
                    <a:lnR>
                      <a:noFill/>
                    </a:lnR>
                    <a:lnT>
                      <a:noFill/>
                    </a:lnT>
                    <a:lnB>
                      <a:noFill/>
                    </a:lnB>
                    <a:solidFill>
                      <a:srgbClr val="153D64"/>
                    </a:solidFill>
                  </a:tcPr>
                </a:tc>
                <a:tc>
                  <a:txBody>
                    <a:bodyPr/>
                    <a:lstStyle/>
                    <a:p>
                      <a:pPr algn="ctr" fontAlgn="ctr"/>
                      <a:r>
                        <a:rPr lang="en-CA" sz="900" b="0" i="0" u="none" strike="noStrike">
                          <a:solidFill>
                            <a:srgbClr val="FFFFFF"/>
                          </a:solidFill>
                          <a:effectLst/>
                          <a:latin typeface="Arial" panose="020B0604020202020204" pitchFamily="34" charset="0"/>
                        </a:rPr>
                        <a:t>$19.85 </a:t>
                      </a:r>
                    </a:p>
                  </a:txBody>
                  <a:tcPr marL="0" marR="0" marT="0" marB="0" anchor="ctr">
                    <a:lnL>
                      <a:noFill/>
                    </a:lnL>
                    <a:lnR>
                      <a:noFill/>
                    </a:lnR>
                    <a:lnT>
                      <a:noFill/>
                    </a:lnT>
                    <a:lnB>
                      <a:noFill/>
                    </a:lnB>
                    <a:solidFill>
                      <a:srgbClr val="153D64"/>
                    </a:solidFill>
                  </a:tcPr>
                </a:tc>
                <a:tc>
                  <a:txBody>
                    <a:bodyPr/>
                    <a:lstStyle/>
                    <a:p>
                      <a:pPr algn="ctr" fontAlgn="ctr"/>
                      <a:r>
                        <a:rPr lang="en-CA" sz="900" b="0" i="0" u="none" strike="noStrike">
                          <a:solidFill>
                            <a:srgbClr val="FFFFFF"/>
                          </a:solidFill>
                          <a:effectLst/>
                          <a:latin typeface="Arial" panose="020B0604020202020204" pitchFamily="34" charset="0"/>
                        </a:rPr>
                        <a:t>$19.51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000000"/>
                          </a:solidFill>
                          <a:effectLst/>
                          <a:latin typeface="Arial" panose="020B0604020202020204" pitchFamily="34" charset="0"/>
                        </a:rPr>
                        <a:t>$19.17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8.84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8.52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216887712"/>
                  </a:ext>
                </a:extLst>
              </a:tr>
              <a:tr h="179560">
                <a:tc vMerge="1">
                  <a:txBody>
                    <a:bodyPr/>
                    <a:lstStyle/>
                    <a:p>
                      <a:endParaRPr lang="en-US"/>
                    </a:p>
                  </a:txBody>
                  <a:tcPr/>
                </a:tc>
                <a:tc>
                  <a:txBody>
                    <a:bodyPr/>
                    <a:lstStyle/>
                    <a:p>
                      <a:pPr algn="ctr" fontAlgn="b"/>
                      <a:r>
                        <a:rPr lang="en-CA" sz="900" b="1" i="0" u="none" strike="noStrike">
                          <a:solidFill>
                            <a:srgbClr val="002060"/>
                          </a:solidFill>
                          <a:effectLst/>
                          <a:latin typeface="Arial" panose="020B0604020202020204" pitchFamily="34" charset="0"/>
                        </a:rPr>
                        <a:t>2.75%</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2.37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1.97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1.58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FFFFFF"/>
                          </a:solidFill>
                          <a:effectLst/>
                          <a:latin typeface="Arial" panose="020B0604020202020204" pitchFamily="34" charset="0"/>
                        </a:rPr>
                        <a:t>$21.19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0.81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0.45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0.09 </a:t>
                      </a:r>
                    </a:p>
                  </a:txBody>
                  <a:tcPr marL="0" marR="0" marT="0" marB="0" anchor="ctr">
                    <a:lnL>
                      <a:noFill/>
                    </a:lnL>
                    <a:lnR>
                      <a:noFill/>
                    </a:lnR>
                    <a:lnT w="6350" cap="flat" cmpd="sng" algn="ctr">
                      <a:solidFill>
                        <a:srgbClr val="FFFFFF"/>
                      </a:solidFill>
                      <a:prstDash val="solid"/>
                      <a:round/>
                      <a:headEnd type="none" w="med" len="med"/>
                      <a:tailEnd type="none" w="med" len="med"/>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19.74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19.40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19.06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000000"/>
                          </a:solidFill>
                          <a:effectLst/>
                          <a:latin typeface="Arial" panose="020B0604020202020204" pitchFamily="34" charset="0"/>
                        </a:rPr>
                        <a:t>$18.74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8.42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8.10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401227645"/>
                  </a:ext>
                </a:extLst>
              </a:tr>
              <a:tr h="179560">
                <a:tc vMerge="1">
                  <a:txBody>
                    <a:bodyPr/>
                    <a:lstStyle/>
                    <a:p>
                      <a:endParaRPr lang="en-US"/>
                    </a:p>
                  </a:txBody>
                  <a:tcPr/>
                </a:tc>
                <a:tc>
                  <a:txBody>
                    <a:bodyPr/>
                    <a:lstStyle/>
                    <a:p>
                      <a:pPr algn="ctr" fontAlgn="b"/>
                      <a:r>
                        <a:rPr lang="en-CA" sz="900" b="1" i="0" u="none" strike="noStrike">
                          <a:solidFill>
                            <a:srgbClr val="002060"/>
                          </a:solidFill>
                          <a:effectLst/>
                          <a:latin typeface="Arial" panose="020B0604020202020204" pitchFamily="34" charset="0"/>
                        </a:rPr>
                        <a:t>2.50%</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1.87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1.47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1.09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0.72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0.35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9.99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9.64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9.30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8.97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8.65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8.33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8.02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7.72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929096580"/>
                  </a:ext>
                </a:extLst>
              </a:tr>
              <a:tr h="179560">
                <a:tc>
                  <a:txBody>
                    <a:bodyPr/>
                    <a:lstStyle/>
                    <a:p>
                      <a:pPr algn="ctr" fontAlgn="b"/>
                      <a:endParaRPr lang="en-US" sz="900" b="0" i="0" u="none" strike="noStrike">
                        <a:solidFill>
                          <a:srgbClr val="000000"/>
                        </a:solidFill>
                        <a:effectLst/>
                        <a:latin typeface="+mn-lt"/>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CA" sz="900" b="1" i="0" u="none" strike="noStrike">
                          <a:solidFill>
                            <a:srgbClr val="002060"/>
                          </a:solidFill>
                          <a:effectLst/>
                          <a:latin typeface="Arial" panose="020B0604020202020204" pitchFamily="34" charset="0"/>
                        </a:rPr>
                        <a:t>2.25%</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1.39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1.01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0.64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0.27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9.92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9.57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9.23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8.90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8.58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8.26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7.95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7.65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7.36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56521075"/>
                  </a:ext>
                </a:extLst>
              </a:tr>
              <a:tr h="179560">
                <a:tc>
                  <a:txBody>
                    <a:bodyPr/>
                    <a:lstStyle/>
                    <a:p>
                      <a:pPr algn="ctr" fontAlgn="b"/>
                      <a:endParaRPr lang="en-US" sz="900" b="0" i="0" u="none" strike="noStrike">
                        <a:solidFill>
                          <a:srgbClr val="000000"/>
                        </a:solidFill>
                        <a:effectLst/>
                        <a:latin typeface="+mn-lt"/>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CA" sz="900" b="1" i="0" u="none" strike="noStrike">
                          <a:solidFill>
                            <a:srgbClr val="002060"/>
                          </a:solidFill>
                          <a:effectLst/>
                          <a:latin typeface="Arial" panose="020B0604020202020204" pitchFamily="34" charset="0"/>
                        </a:rPr>
                        <a:t>2.00%</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0.95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0.58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0.22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9.86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9.52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9.18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8.85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8.52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8.21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7.90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7.60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7.31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7.02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352491554"/>
                  </a:ext>
                </a:extLst>
              </a:tr>
              <a:tr h="188539">
                <a:tc>
                  <a:txBody>
                    <a:bodyPr/>
                    <a:lstStyle/>
                    <a:p>
                      <a:pPr algn="ctr" fontAlgn="b"/>
                      <a:endParaRPr lang="en-US" sz="900" b="0" i="0" u="none" strike="noStrike">
                        <a:solidFill>
                          <a:srgbClr val="000000"/>
                        </a:solidFill>
                        <a:effectLst/>
                        <a:latin typeface="+mn-lt"/>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8119698"/>
                  </a:ext>
                </a:extLst>
              </a:tr>
              <a:tr h="188539">
                <a:tc>
                  <a:txBody>
                    <a:bodyPr/>
                    <a:lstStyle/>
                    <a:p>
                      <a:pPr algn="ctr" fontAlgn="b"/>
                      <a:endParaRPr lang="en-US" sz="900" b="0" i="0" u="none" strike="noStrike">
                        <a:solidFill>
                          <a:srgbClr val="000000"/>
                        </a:solidFill>
                        <a:effectLst/>
                        <a:latin typeface="+mn-lt"/>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767237841"/>
                  </a:ext>
                </a:extLst>
              </a:tr>
              <a:tr h="197517">
                <a:tc>
                  <a:txBody>
                    <a:bodyPr/>
                    <a:lstStyle/>
                    <a:p>
                      <a:pPr algn="ctr" fontAlgn="b"/>
                      <a:endParaRPr lang="en-US" sz="900" b="0" i="0" u="none" strike="noStrike">
                        <a:solidFill>
                          <a:srgbClr val="000000"/>
                        </a:solidFill>
                        <a:effectLst/>
                        <a:latin typeface="+mn-lt"/>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gridSpan="5">
                  <a:txBody>
                    <a:bodyPr/>
                    <a:lstStyle/>
                    <a:p>
                      <a:pPr algn="ctr" fontAlgn="b"/>
                      <a:endParaRPr lang="en-US" sz="900" b="1" i="0" u="none" strike="noStrike">
                        <a:solidFill>
                          <a:srgbClr val="000000"/>
                        </a:solidFill>
                        <a:effectLst/>
                        <a:latin typeface="+mn-lt"/>
                      </a:endParaRPr>
                    </a:p>
                  </a:txBody>
                  <a:tcPr marL="7101" marR="7101" marT="7101" marB="0" anchor="b">
                    <a:lnL>
                      <a:noFill/>
                    </a:lnL>
                    <a:lnR>
                      <a:noFill/>
                    </a:lnR>
                    <a:lnT>
                      <a:noFill/>
                    </a:lnT>
                    <a:lnB>
                      <a:noFill/>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409471689"/>
                  </a:ext>
                </a:extLst>
              </a:tr>
              <a:tr h="188539">
                <a:tc>
                  <a:txBody>
                    <a:bodyPr/>
                    <a:lstStyle/>
                    <a:p>
                      <a:pPr algn="ctr" fontAlgn="b"/>
                      <a:endParaRPr lang="en-US" sz="900" b="0" i="0" u="none" strike="noStrike">
                        <a:solidFill>
                          <a:srgbClr val="000000"/>
                        </a:solidFill>
                        <a:effectLst/>
                        <a:latin typeface="+mn-lt"/>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r>
                        <a:rPr lang="en-US" sz="900" b="1" i="0" u="none" strike="noStrike">
                          <a:solidFill>
                            <a:srgbClr val="000000"/>
                          </a:solidFill>
                          <a:effectLst/>
                          <a:latin typeface="+mn-lt"/>
                        </a:rPr>
                        <a:t>TV WACC</a:t>
                      </a: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900" b="1"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mn-lt"/>
                      </a:endParaRPr>
                    </a:p>
                  </a:txBody>
                  <a:tcPr marL="7101" marR="7101" marT="7101"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837917068"/>
                  </a:ext>
                </a:extLst>
              </a:tr>
              <a:tr h="188539">
                <a:tc>
                  <a:txBody>
                    <a:bodyPr/>
                    <a:lstStyle/>
                    <a:p>
                      <a:pPr algn="ctr" fontAlgn="b"/>
                      <a:endParaRPr lang="en-US" sz="900" b="0" i="0" u="none" strike="noStrike">
                        <a:solidFill>
                          <a:srgbClr val="000000"/>
                        </a:solidFill>
                        <a:effectLst/>
                        <a:latin typeface="+mn-lt"/>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1" i="0" u="none" strike="noStrike">
                          <a:solidFill>
                            <a:srgbClr val="000000"/>
                          </a:solidFill>
                          <a:effectLst/>
                          <a:latin typeface="Arial" panose="020B0604020202020204" pitchFamily="34" charset="0"/>
                        </a:rPr>
                        <a:t> $     20.57 </a:t>
                      </a:r>
                    </a:p>
                  </a:txBody>
                  <a:tcPr marL="0" marR="0" marT="0" marB="0" anchor="ctr">
                    <a:lnL>
                      <a:noFill/>
                    </a:lnL>
                    <a:lnR>
                      <a:noFill/>
                    </a:lnR>
                    <a:lnT>
                      <a:noFill/>
                    </a:lnT>
                    <a:lnB>
                      <a:noFill/>
                    </a:lnB>
                    <a:noFill/>
                  </a:tcPr>
                </a:tc>
                <a:tc>
                  <a:txBody>
                    <a:bodyPr/>
                    <a:lstStyle/>
                    <a:p>
                      <a:pPr algn="ctr" fontAlgn="ctr"/>
                      <a:r>
                        <a:rPr lang="en-CA" sz="900" b="1" i="0" u="none" strike="noStrike">
                          <a:solidFill>
                            <a:srgbClr val="002060"/>
                          </a:solidFill>
                          <a:effectLst/>
                          <a:latin typeface="Arial" panose="020B0604020202020204" pitchFamily="34" charset="0"/>
                        </a:rPr>
                        <a:t>7.99%</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8.24%</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8.49%</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8.74%</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8.99%</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9.24%</a:t>
                      </a:r>
                    </a:p>
                  </a:txBody>
                  <a:tcPr marL="0" marR="0"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9.49%</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9.74%</a:t>
                      </a:r>
                    </a:p>
                  </a:txBody>
                  <a:tcPr marL="0" marR="0"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9.99%</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10.24%</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10.49%</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10.74%</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2060"/>
                          </a:solidFill>
                          <a:effectLst/>
                          <a:latin typeface="Arial" panose="020B0604020202020204" pitchFamily="34" charset="0"/>
                        </a:rPr>
                        <a:t>10.99%</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325266486"/>
                  </a:ext>
                </a:extLst>
              </a:tr>
              <a:tr h="179560">
                <a:tc>
                  <a:txBody>
                    <a:bodyPr/>
                    <a:lstStyle/>
                    <a:p>
                      <a:pPr algn="ctr" fontAlgn="b"/>
                      <a:endParaRPr lang="en-US" sz="900" b="0" i="0" u="none" strike="noStrike">
                        <a:solidFill>
                          <a:srgbClr val="000000"/>
                        </a:solidFill>
                        <a:effectLst/>
                        <a:latin typeface="+mn-lt"/>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CA" sz="900" b="1" i="0" u="none" strike="noStrike">
                          <a:solidFill>
                            <a:srgbClr val="002060"/>
                          </a:solidFill>
                          <a:effectLst/>
                          <a:latin typeface="Arial" panose="020B0604020202020204" pitchFamily="34" charset="0"/>
                        </a:rPr>
                        <a:t>4.00%</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8.35 </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7.17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6.13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5.20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4.36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3.60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2.91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2.28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1.71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1.18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0.69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0.23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9.81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302685279"/>
                  </a:ext>
                </a:extLst>
              </a:tr>
              <a:tr h="179560">
                <a:tc>
                  <a:txBody>
                    <a:bodyPr/>
                    <a:lstStyle/>
                    <a:p>
                      <a:pPr algn="ctr" fontAlgn="b"/>
                      <a:endParaRPr lang="en-US" sz="900" b="0" i="0" u="none" strike="noStrike">
                        <a:solidFill>
                          <a:srgbClr val="000000"/>
                        </a:solidFill>
                        <a:effectLst/>
                        <a:latin typeface="+mn-lt"/>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CA" sz="900" b="1" i="0" u="none" strike="noStrike">
                          <a:solidFill>
                            <a:srgbClr val="002060"/>
                          </a:solidFill>
                          <a:effectLst/>
                          <a:latin typeface="Arial" panose="020B0604020202020204" pitchFamily="34" charset="0"/>
                        </a:rPr>
                        <a:t>3.75%</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7.13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6.09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5.16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4.32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3.57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2.88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2.25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1.68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1.15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0.66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0.20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9.78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9.39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751426725"/>
                  </a:ext>
                </a:extLst>
              </a:tr>
              <a:tr h="179560">
                <a:tc>
                  <a:txBody>
                    <a:bodyPr/>
                    <a:lstStyle/>
                    <a:p>
                      <a:pPr algn="ctr" fontAlgn="b"/>
                      <a:endParaRPr lang="en-US" sz="900" b="0" i="0" u="none" strike="noStrike">
                        <a:solidFill>
                          <a:srgbClr val="000000"/>
                        </a:solidFill>
                        <a:effectLst/>
                        <a:latin typeface="+mn-lt"/>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CA" sz="900" b="1" i="0" u="none" strike="noStrike">
                          <a:solidFill>
                            <a:srgbClr val="002060"/>
                          </a:solidFill>
                          <a:effectLst/>
                          <a:latin typeface="Arial" panose="020B0604020202020204" pitchFamily="34" charset="0"/>
                        </a:rPr>
                        <a:t>3.50%</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6.05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5.12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4.29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3.53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2.84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2.22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1.64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1.12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0.63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0.18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9.76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9.37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9.00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728949033"/>
                  </a:ext>
                </a:extLst>
              </a:tr>
              <a:tr h="170584">
                <a:tc rowSpan="3">
                  <a:txBody>
                    <a:bodyPr/>
                    <a:lstStyle/>
                    <a:p>
                      <a:pPr algn="ctr" fontAlgn="ctr"/>
                      <a:r>
                        <a:rPr lang="en-US" sz="900" b="1" i="0" u="none" strike="noStrike">
                          <a:solidFill>
                            <a:srgbClr val="000000"/>
                          </a:solidFill>
                          <a:effectLst/>
                          <a:latin typeface="+mn-lt"/>
                        </a:rPr>
                        <a:t>TGR</a:t>
                      </a:r>
                    </a:p>
                  </a:txBody>
                  <a:tcPr marL="7101" marR="7101" marT="7101"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CA" sz="900" b="1" i="0" u="none" strike="noStrike">
                          <a:solidFill>
                            <a:srgbClr val="002060"/>
                          </a:solidFill>
                          <a:effectLst/>
                          <a:latin typeface="Arial" panose="020B0604020202020204" pitchFamily="34" charset="0"/>
                        </a:rPr>
                        <a:t>3.25%</a:t>
                      </a:r>
                    </a:p>
                  </a:txBody>
                  <a:tcPr marL="0" marR="0"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25.08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4.25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3.49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FFFFFF"/>
                          </a:solidFill>
                          <a:effectLst/>
                          <a:latin typeface="Arial" panose="020B0604020202020204" pitchFamily="34" charset="0"/>
                        </a:rPr>
                        <a:t>$22.81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2.18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1.61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1.08 </a:t>
                      </a: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0.60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0.15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19.73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000000"/>
                          </a:solidFill>
                          <a:effectLst/>
                          <a:latin typeface="Arial" panose="020B0604020202020204" pitchFamily="34" charset="0"/>
                        </a:rPr>
                        <a:t>$19.34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8.98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8.64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940785897"/>
                  </a:ext>
                </a:extLst>
              </a:tr>
              <a:tr h="170584">
                <a:tc vMerge="1">
                  <a:txBody>
                    <a:bodyPr/>
                    <a:lstStyle/>
                    <a:p>
                      <a:endParaRPr lang="en-US"/>
                    </a:p>
                  </a:txBody>
                  <a:tcPr/>
                </a:tc>
                <a:tc>
                  <a:txBody>
                    <a:bodyPr/>
                    <a:lstStyle/>
                    <a:p>
                      <a:pPr algn="ctr" fontAlgn="b"/>
                      <a:r>
                        <a:rPr lang="en-CA" sz="900" b="1" i="0" u="none" strike="noStrike">
                          <a:solidFill>
                            <a:srgbClr val="002060"/>
                          </a:solidFill>
                          <a:effectLst/>
                          <a:latin typeface="Arial" panose="020B0604020202020204" pitchFamily="34" charset="0"/>
                        </a:rPr>
                        <a:t>3.0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24.21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3.46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2.77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FFFFFF"/>
                          </a:solidFill>
                          <a:effectLst/>
                          <a:latin typeface="Arial" panose="020B0604020202020204" pitchFamily="34" charset="0"/>
                        </a:rPr>
                        <a:t>$22.15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1.58 </a:t>
                      </a:r>
                    </a:p>
                  </a:txBody>
                  <a:tcPr marL="0" marR="0" marT="0" marB="0" anchor="ctr">
                    <a:lnL>
                      <a:noFill/>
                    </a:lnL>
                    <a:lnR>
                      <a:noFill/>
                    </a:lnR>
                    <a:lnT>
                      <a:noFill/>
                    </a:lnT>
                    <a:lnB>
                      <a:noFill/>
                    </a:lnB>
                    <a:solidFill>
                      <a:srgbClr val="153D64"/>
                    </a:solidFill>
                  </a:tcPr>
                </a:tc>
                <a:tc>
                  <a:txBody>
                    <a:bodyPr/>
                    <a:lstStyle/>
                    <a:p>
                      <a:pPr algn="ctr" fontAlgn="ctr"/>
                      <a:r>
                        <a:rPr lang="en-CA" sz="900" b="0" i="0" u="none" strike="noStrike">
                          <a:solidFill>
                            <a:srgbClr val="FFFFFF"/>
                          </a:solidFill>
                          <a:effectLst/>
                          <a:latin typeface="Arial" panose="020B0604020202020204" pitchFamily="34" charset="0"/>
                        </a:rPr>
                        <a:t>$21.05 </a:t>
                      </a:r>
                    </a:p>
                  </a:txBody>
                  <a:tcPr marL="0" marR="0" marT="0" marB="0" anchor="ctr">
                    <a:lnL>
                      <a:noFill/>
                    </a:lnL>
                    <a:lnR w="6350" cap="flat" cmpd="sng" algn="ctr">
                      <a:solidFill>
                        <a:srgbClr val="FFFFFF"/>
                      </a:solidFill>
                      <a:prstDash val="solid"/>
                      <a:round/>
                      <a:headEnd type="none" w="med" len="med"/>
                      <a:tailEnd type="none" w="med" len="med"/>
                    </a:lnR>
                    <a:lnT>
                      <a:noFill/>
                    </a:lnT>
                    <a:lnB>
                      <a:noFill/>
                    </a:lnB>
                    <a:solidFill>
                      <a:srgbClr val="153D64"/>
                    </a:solidFill>
                  </a:tcPr>
                </a:tc>
                <a:tc>
                  <a:txBody>
                    <a:bodyPr/>
                    <a:lstStyle/>
                    <a:p>
                      <a:pPr algn="ctr" fontAlgn="ctr"/>
                      <a:r>
                        <a:rPr lang="en-CA" sz="900" b="1" i="0" u="none" strike="noStrike">
                          <a:solidFill>
                            <a:srgbClr val="FFFFFF"/>
                          </a:solidFill>
                          <a:effectLst/>
                          <a:latin typeface="Arial" panose="020B0604020202020204" pitchFamily="34" charset="0"/>
                        </a:rPr>
                        <a:t>$20.57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E2841"/>
                    </a:solidFill>
                  </a:tcPr>
                </a:tc>
                <a:tc>
                  <a:txBody>
                    <a:bodyPr/>
                    <a:lstStyle/>
                    <a:p>
                      <a:pPr algn="ctr" fontAlgn="ctr"/>
                      <a:r>
                        <a:rPr lang="en-CA" sz="900" b="0" i="0" u="none" strike="noStrike">
                          <a:solidFill>
                            <a:srgbClr val="FFFFFF"/>
                          </a:solidFill>
                          <a:effectLst/>
                          <a:latin typeface="Arial" panose="020B0604020202020204" pitchFamily="34" charset="0"/>
                        </a:rPr>
                        <a:t>$20.12 </a:t>
                      </a:r>
                    </a:p>
                  </a:txBody>
                  <a:tcPr marL="0" marR="0" marT="0" marB="0" anchor="ctr">
                    <a:lnL w="6350" cap="flat" cmpd="sng" algn="ctr">
                      <a:solidFill>
                        <a:srgbClr val="FFFFFF"/>
                      </a:solidFill>
                      <a:prstDash val="solid"/>
                      <a:round/>
                      <a:headEnd type="none" w="med" len="med"/>
                      <a:tailEnd type="none" w="med" len="med"/>
                    </a:lnL>
                    <a:lnR>
                      <a:noFill/>
                    </a:lnR>
                    <a:lnT>
                      <a:noFill/>
                    </a:lnT>
                    <a:lnB>
                      <a:noFill/>
                    </a:lnB>
                    <a:solidFill>
                      <a:srgbClr val="153D64"/>
                    </a:solidFill>
                  </a:tcPr>
                </a:tc>
                <a:tc>
                  <a:txBody>
                    <a:bodyPr/>
                    <a:lstStyle/>
                    <a:p>
                      <a:pPr algn="ctr" fontAlgn="ctr"/>
                      <a:r>
                        <a:rPr lang="en-CA" sz="900" b="0" i="0" u="none" strike="noStrike">
                          <a:solidFill>
                            <a:srgbClr val="FFFFFF"/>
                          </a:solidFill>
                          <a:effectLst/>
                          <a:latin typeface="Arial" panose="020B0604020202020204" pitchFamily="34" charset="0"/>
                        </a:rPr>
                        <a:t>$19.70 </a:t>
                      </a:r>
                    </a:p>
                  </a:txBody>
                  <a:tcPr marL="0" marR="0" marT="0" marB="0" anchor="ctr">
                    <a:lnL>
                      <a:noFill/>
                    </a:lnL>
                    <a:lnR>
                      <a:noFill/>
                    </a:lnR>
                    <a:lnT>
                      <a:noFill/>
                    </a:lnT>
                    <a:lnB>
                      <a:noFill/>
                    </a:lnB>
                    <a:solidFill>
                      <a:srgbClr val="153D64"/>
                    </a:solidFill>
                  </a:tcPr>
                </a:tc>
                <a:tc>
                  <a:txBody>
                    <a:bodyPr/>
                    <a:lstStyle/>
                    <a:p>
                      <a:pPr algn="ctr" fontAlgn="ctr"/>
                      <a:r>
                        <a:rPr lang="en-CA" sz="900" b="0" i="0" u="none" strike="noStrike">
                          <a:solidFill>
                            <a:srgbClr val="FFFFFF"/>
                          </a:solidFill>
                          <a:effectLst/>
                          <a:latin typeface="Arial" panose="020B0604020202020204" pitchFamily="34" charset="0"/>
                        </a:rPr>
                        <a:t>$19.31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000000"/>
                          </a:solidFill>
                          <a:effectLst/>
                          <a:latin typeface="Arial" panose="020B0604020202020204" pitchFamily="34" charset="0"/>
                        </a:rPr>
                        <a:t>$18.95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8.61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8.29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687201911"/>
                  </a:ext>
                </a:extLst>
              </a:tr>
              <a:tr h="179560">
                <a:tc vMerge="1">
                  <a:txBody>
                    <a:bodyPr/>
                    <a:lstStyle/>
                    <a:p>
                      <a:endParaRPr lang="en-US"/>
                    </a:p>
                  </a:txBody>
                  <a:tcPr/>
                </a:tc>
                <a:tc>
                  <a:txBody>
                    <a:bodyPr/>
                    <a:lstStyle/>
                    <a:p>
                      <a:pPr algn="ctr" fontAlgn="b"/>
                      <a:r>
                        <a:rPr lang="en-CA" sz="900" b="1" i="0" u="none" strike="noStrike">
                          <a:solidFill>
                            <a:srgbClr val="002060"/>
                          </a:solidFill>
                          <a:effectLst/>
                          <a:latin typeface="Arial" panose="020B0604020202020204" pitchFamily="34" charset="0"/>
                        </a:rPr>
                        <a:t>2.75%</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3.42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2.74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2.12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FFFFFF"/>
                          </a:solidFill>
                          <a:effectLst/>
                          <a:latin typeface="Arial" panose="020B0604020202020204" pitchFamily="34" charset="0"/>
                        </a:rPr>
                        <a:t>$21.55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1.02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0.54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20.09 </a:t>
                      </a:r>
                    </a:p>
                  </a:txBody>
                  <a:tcPr marL="0" marR="0" marT="0" marB="0" anchor="ctr">
                    <a:lnL>
                      <a:noFill/>
                    </a:lnL>
                    <a:lnR>
                      <a:noFill/>
                    </a:lnR>
                    <a:lnT w="6350" cap="flat" cmpd="sng" algn="ctr">
                      <a:solidFill>
                        <a:srgbClr val="FFFFFF"/>
                      </a:solidFill>
                      <a:prstDash val="solid"/>
                      <a:round/>
                      <a:headEnd type="none" w="med" len="med"/>
                      <a:tailEnd type="none" w="med" len="med"/>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19.68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19.29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FFFFFF"/>
                          </a:solidFill>
                          <a:effectLst/>
                          <a:latin typeface="Arial" panose="020B0604020202020204" pitchFamily="34" charset="0"/>
                        </a:rPr>
                        <a:t>$18.93 </a:t>
                      </a:r>
                    </a:p>
                  </a:txBody>
                  <a:tcPr marL="0" marR="0" marT="0" marB="0" anchor="ctr">
                    <a:lnL>
                      <a:noFill/>
                    </a:lnL>
                    <a:lnR>
                      <a:noFill/>
                    </a:lnR>
                    <a:lnT>
                      <a:noFill/>
                    </a:lnT>
                    <a:lnB>
                      <a:noFill/>
                    </a:lnB>
                    <a:solidFill>
                      <a:srgbClr val="215C98"/>
                    </a:solidFill>
                  </a:tcPr>
                </a:tc>
                <a:tc>
                  <a:txBody>
                    <a:bodyPr/>
                    <a:lstStyle/>
                    <a:p>
                      <a:pPr algn="ctr" fontAlgn="ctr"/>
                      <a:r>
                        <a:rPr lang="en-CA" sz="900" b="0" i="0" u="none" strike="noStrike">
                          <a:solidFill>
                            <a:srgbClr val="000000"/>
                          </a:solidFill>
                          <a:effectLst/>
                          <a:latin typeface="Arial" panose="020B0604020202020204" pitchFamily="34" charset="0"/>
                        </a:rPr>
                        <a:t>$18.59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8.27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7.97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572203796"/>
                  </a:ext>
                </a:extLst>
              </a:tr>
              <a:tr h="179560">
                <a:tc>
                  <a:txBody>
                    <a:bodyPr/>
                    <a:lstStyle/>
                    <a:p>
                      <a:pPr algn="ctr" fontAlgn="b"/>
                      <a:endParaRPr lang="en-US" sz="900" b="0" i="0" u="none" strike="noStrike">
                        <a:solidFill>
                          <a:srgbClr val="000000"/>
                        </a:solidFill>
                        <a:effectLst/>
                        <a:latin typeface="+mn-lt"/>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CA" sz="900" b="1" i="0" u="none" strike="noStrike">
                          <a:solidFill>
                            <a:srgbClr val="002060"/>
                          </a:solidFill>
                          <a:effectLst/>
                          <a:latin typeface="Arial" panose="020B0604020202020204" pitchFamily="34" charset="0"/>
                        </a:rPr>
                        <a:t>2.50%</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2.71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2.08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1.52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0.99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0.51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20.06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9.65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9.26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8.90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8.56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8.25 </a:t>
                      </a:r>
                    </a:p>
                  </a:txBody>
                  <a:tcPr marL="0" marR="0" marT="0" marB="0" anchor="ctr">
                    <a:lnL>
                      <a:noFill/>
                    </a:lnL>
                    <a:lnR>
                      <a:noFill/>
                    </a:lnR>
                    <a:lnT>
                      <a:noFill/>
                    </a:lnT>
                    <a:lnB>
                      <a:noFill/>
                    </a:lnB>
                    <a:solidFill>
                      <a:srgbClr val="4D93D9"/>
                    </a:solidFill>
                  </a:tcPr>
                </a:tc>
                <a:tc>
                  <a:txBody>
                    <a:bodyPr/>
                    <a:lstStyle/>
                    <a:p>
                      <a:pPr algn="ctr" fontAlgn="ctr"/>
                      <a:r>
                        <a:rPr lang="en-CA" sz="900" b="0" i="0" u="none" strike="noStrike">
                          <a:solidFill>
                            <a:srgbClr val="000000"/>
                          </a:solidFill>
                          <a:effectLst/>
                          <a:latin typeface="Arial" panose="020B0604020202020204" pitchFamily="34" charset="0"/>
                        </a:rPr>
                        <a:t>$17.95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7.67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926764339"/>
                  </a:ext>
                </a:extLst>
              </a:tr>
              <a:tr h="188539">
                <a:tc>
                  <a:txBody>
                    <a:bodyPr/>
                    <a:lstStyle/>
                    <a:p>
                      <a:pPr algn="ctr" fontAlgn="b"/>
                      <a:endParaRPr lang="en-US" sz="900" b="0" i="0" u="none" strike="noStrike">
                        <a:solidFill>
                          <a:srgbClr val="000000"/>
                        </a:solidFill>
                        <a:effectLst/>
                        <a:latin typeface="+mn-lt"/>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CA" sz="900" b="1" i="0" u="none" strike="noStrike">
                          <a:solidFill>
                            <a:srgbClr val="002060"/>
                          </a:solidFill>
                          <a:effectLst/>
                          <a:latin typeface="Arial" panose="020B0604020202020204" pitchFamily="34" charset="0"/>
                        </a:rPr>
                        <a:t>2.25%</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2.05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1.48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0.96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0.48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20.03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9.62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9.23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8.88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8.54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8.22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7.93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7.65 </a:t>
                      </a:r>
                    </a:p>
                  </a:txBody>
                  <a:tcPr marL="0" marR="0" marT="0" marB="0" anchor="ctr">
                    <a:lnL>
                      <a:noFill/>
                    </a:lnL>
                    <a:lnR>
                      <a:noFill/>
                    </a:lnR>
                    <a:lnT>
                      <a:noFill/>
                    </a:lnT>
                    <a:lnB>
                      <a:noFill/>
                    </a:lnB>
                    <a:solidFill>
                      <a:srgbClr val="A6C9EC"/>
                    </a:solidFill>
                  </a:tcPr>
                </a:tc>
                <a:tc>
                  <a:txBody>
                    <a:bodyPr/>
                    <a:lstStyle/>
                    <a:p>
                      <a:pPr algn="ctr" fontAlgn="ctr"/>
                      <a:r>
                        <a:rPr lang="en-CA" sz="900" b="0" i="0" u="none" strike="noStrike">
                          <a:solidFill>
                            <a:srgbClr val="000000"/>
                          </a:solidFill>
                          <a:effectLst/>
                          <a:latin typeface="Arial" panose="020B0604020202020204" pitchFamily="34" charset="0"/>
                        </a:rPr>
                        <a:t>$17.38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233615759"/>
                  </a:ext>
                </a:extLst>
              </a:tr>
              <a:tr h="188539">
                <a:tc>
                  <a:txBody>
                    <a:bodyPr/>
                    <a:lstStyle/>
                    <a:p>
                      <a:pPr algn="ctr" fontAlgn="b"/>
                      <a:endParaRPr lang="en-US" sz="800" b="0" i="0" u="none" strike="noStrike">
                        <a:solidFill>
                          <a:srgbClr val="000000"/>
                        </a:solidFill>
                        <a:effectLst/>
                        <a:latin typeface="Arial"/>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CA" sz="900" b="1" i="0" u="none" strike="noStrike">
                          <a:solidFill>
                            <a:srgbClr val="002060"/>
                          </a:solidFill>
                          <a:effectLst/>
                          <a:latin typeface="Arial" panose="020B0604020202020204" pitchFamily="34" charset="0"/>
                        </a:rPr>
                        <a:t>2.00%</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1.45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0.93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0.45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20.01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9.59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9.21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8.85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8.51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8.20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7.90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7.63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7.36 </a:t>
                      </a:r>
                    </a:p>
                  </a:txBody>
                  <a:tcPr marL="0" marR="0" marT="0" marB="0" anchor="ctr">
                    <a:lnL>
                      <a:noFill/>
                    </a:lnL>
                    <a:lnR>
                      <a:noFill/>
                    </a:lnR>
                    <a:lnT>
                      <a:noFill/>
                    </a:lnT>
                    <a:lnB>
                      <a:noFill/>
                    </a:lnB>
                    <a:solidFill>
                      <a:srgbClr val="DAE9F8"/>
                    </a:solidFill>
                  </a:tcPr>
                </a:tc>
                <a:tc>
                  <a:txBody>
                    <a:bodyPr/>
                    <a:lstStyle/>
                    <a:p>
                      <a:pPr algn="ctr" fontAlgn="ctr"/>
                      <a:r>
                        <a:rPr lang="en-CA" sz="900" b="0" i="0" u="none" strike="noStrike">
                          <a:solidFill>
                            <a:srgbClr val="000000"/>
                          </a:solidFill>
                          <a:effectLst/>
                          <a:latin typeface="Arial" panose="020B0604020202020204" pitchFamily="34" charset="0"/>
                        </a:rPr>
                        <a:t>$17.12 </a:t>
                      </a:r>
                    </a:p>
                  </a:txBody>
                  <a:tcPr marL="0" marR="0" marT="0" marB="0" anchor="ctr">
                    <a:lnL>
                      <a:noFill/>
                    </a:lnL>
                    <a:lnR>
                      <a:noFill/>
                    </a:lnR>
                    <a:lnT>
                      <a:noFill/>
                    </a:lnT>
                    <a:lnB>
                      <a:noFill/>
                    </a:lnB>
                    <a:solidFill>
                      <a:srgbClr val="DAE9F8"/>
                    </a:solid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371027408"/>
                  </a:ext>
                </a:extLst>
              </a:tr>
              <a:tr h="197517">
                <a:tc>
                  <a:txBody>
                    <a:bodyPr/>
                    <a:lstStyle/>
                    <a:p>
                      <a:pPr algn="ctr" fontAlgn="b"/>
                      <a:endParaRPr lang="en-US" sz="800" b="0" i="0" u="none" strike="noStrike">
                        <a:solidFill>
                          <a:srgbClr val="000000"/>
                        </a:solidFill>
                        <a:effectLst/>
                        <a:latin typeface="Arial"/>
                      </a:endParaRPr>
                    </a:p>
                  </a:txBody>
                  <a:tcPr marL="7101" marR="7101" marT="7101"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endParaRPr lang="en-US" sz="800" b="0" i="0" u="none" strike="noStrike">
                        <a:solidFill>
                          <a:srgbClr val="000000"/>
                        </a:solidFill>
                        <a:effectLst/>
                        <a:latin typeface="Arial"/>
                      </a:endParaRPr>
                    </a:p>
                  </a:txBody>
                  <a:tcPr marL="7101" marR="7101" marT="7101"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5313309"/>
                  </a:ext>
                </a:extLst>
              </a:tr>
            </a:tbl>
          </a:graphicData>
        </a:graphic>
      </p:graphicFrame>
    </p:spTree>
    <p:extLst>
      <p:ext uri="{BB962C8B-B14F-4D97-AF65-F5344CB8AC3E}">
        <p14:creationId xmlns:p14="http://schemas.microsoft.com/office/powerpoint/2010/main" val="17176289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BDEC3-0EAA-F9D7-4948-12D704A9A9C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D056015-3794-D950-AD04-AA118D2CDCC6}"/>
              </a:ext>
            </a:extLst>
          </p:cNvPr>
          <p:cNvSpPr>
            <a:spLocks noGrp="1"/>
          </p:cNvSpPr>
          <p:nvPr>
            <p:ph type="title"/>
          </p:nvPr>
        </p:nvSpPr>
        <p:spPr/>
        <p:txBody>
          <a:bodyPr/>
          <a:lstStyle/>
          <a:p>
            <a:r>
              <a:rPr lang="en-CA"/>
              <a:t>Appendix IV - Bear Case DCF Valuation Summary</a:t>
            </a:r>
          </a:p>
        </p:txBody>
      </p:sp>
      <p:sp>
        <p:nvSpPr>
          <p:cNvPr id="5" name="Text Placeholder 4">
            <a:extLst>
              <a:ext uri="{FF2B5EF4-FFF2-40B4-BE49-F238E27FC236}">
                <a16:creationId xmlns:a16="http://schemas.microsoft.com/office/drawing/2014/main" id="{55562D9A-338B-D311-2FEB-3DE5ACA2E6E1}"/>
              </a:ext>
            </a:extLst>
          </p:cNvPr>
          <p:cNvSpPr>
            <a:spLocks noGrp="1"/>
          </p:cNvSpPr>
          <p:nvPr>
            <p:ph type="body" sz="quarter" idx="13"/>
          </p:nvPr>
        </p:nvSpPr>
        <p:spPr/>
        <p:txBody>
          <a:bodyPr/>
          <a:lstStyle/>
          <a:p>
            <a:r>
              <a:rPr lang="en-US"/>
              <a:t>Sources : Bloomberg, Capital IQ, Factiva</a:t>
            </a:r>
          </a:p>
        </p:txBody>
      </p:sp>
      <p:graphicFrame>
        <p:nvGraphicFramePr>
          <p:cNvPr id="3" name="Table 2">
            <a:extLst>
              <a:ext uri="{FF2B5EF4-FFF2-40B4-BE49-F238E27FC236}">
                <a16:creationId xmlns:a16="http://schemas.microsoft.com/office/drawing/2014/main" id="{2E33675E-613F-69DC-7F34-B95BB1B034A7}"/>
              </a:ext>
            </a:extLst>
          </p:cNvPr>
          <p:cNvGraphicFramePr>
            <a:graphicFrameLocks noGrp="1"/>
          </p:cNvGraphicFramePr>
          <p:nvPr>
            <p:extLst>
              <p:ext uri="{D42A27DB-BD31-4B8C-83A1-F6EECF244321}">
                <p14:modId xmlns:p14="http://schemas.microsoft.com/office/powerpoint/2010/main" val="3822443098"/>
              </p:ext>
            </p:extLst>
          </p:nvPr>
        </p:nvGraphicFramePr>
        <p:xfrm>
          <a:off x="250825" y="642436"/>
          <a:ext cx="8642353" cy="2786560"/>
        </p:xfrm>
        <a:graphic>
          <a:graphicData uri="http://schemas.openxmlformats.org/drawingml/2006/table">
            <a:tbl>
              <a:tblPr/>
              <a:tblGrid>
                <a:gridCol w="930762">
                  <a:extLst>
                    <a:ext uri="{9D8B030D-6E8A-4147-A177-3AD203B41FA5}">
                      <a16:colId xmlns:a16="http://schemas.microsoft.com/office/drawing/2014/main" val="3601378217"/>
                    </a:ext>
                  </a:extLst>
                </a:gridCol>
                <a:gridCol w="520393">
                  <a:extLst>
                    <a:ext uri="{9D8B030D-6E8A-4147-A177-3AD203B41FA5}">
                      <a16:colId xmlns:a16="http://schemas.microsoft.com/office/drawing/2014/main" val="2235592334"/>
                    </a:ext>
                  </a:extLst>
                </a:gridCol>
                <a:gridCol w="513657">
                  <a:extLst>
                    <a:ext uri="{9D8B030D-6E8A-4147-A177-3AD203B41FA5}">
                      <a16:colId xmlns:a16="http://schemas.microsoft.com/office/drawing/2014/main" val="2161619112"/>
                    </a:ext>
                  </a:extLst>
                </a:gridCol>
                <a:gridCol w="513657">
                  <a:extLst>
                    <a:ext uri="{9D8B030D-6E8A-4147-A177-3AD203B41FA5}">
                      <a16:colId xmlns:a16="http://schemas.microsoft.com/office/drawing/2014/main" val="1492606608"/>
                    </a:ext>
                  </a:extLst>
                </a:gridCol>
                <a:gridCol w="513657">
                  <a:extLst>
                    <a:ext uri="{9D8B030D-6E8A-4147-A177-3AD203B41FA5}">
                      <a16:colId xmlns:a16="http://schemas.microsoft.com/office/drawing/2014/main" val="1718608653"/>
                    </a:ext>
                  </a:extLst>
                </a:gridCol>
                <a:gridCol w="513657">
                  <a:extLst>
                    <a:ext uri="{9D8B030D-6E8A-4147-A177-3AD203B41FA5}">
                      <a16:colId xmlns:a16="http://schemas.microsoft.com/office/drawing/2014/main" val="1748779627"/>
                    </a:ext>
                  </a:extLst>
                </a:gridCol>
                <a:gridCol w="513657">
                  <a:extLst>
                    <a:ext uri="{9D8B030D-6E8A-4147-A177-3AD203B41FA5}">
                      <a16:colId xmlns:a16="http://schemas.microsoft.com/office/drawing/2014/main" val="3189096248"/>
                    </a:ext>
                  </a:extLst>
                </a:gridCol>
                <a:gridCol w="513657">
                  <a:extLst>
                    <a:ext uri="{9D8B030D-6E8A-4147-A177-3AD203B41FA5}">
                      <a16:colId xmlns:a16="http://schemas.microsoft.com/office/drawing/2014/main" val="2279058325"/>
                    </a:ext>
                  </a:extLst>
                </a:gridCol>
                <a:gridCol w="513657">
                  <a:extLst>
                    <a:ext uri="{9D8B030D-6E8A-4147-A177-3AD203B41FA5}">
                      <a16:colId xmlns:a16="http://schemas.microsoft.com/office/drawing/2014/main" val="799470425"/>
                    </a:ext>
                  </a:extLst>
                </a:gridCol>
                <a:gridCol w="513657">
                  <a:extLst>
                    <a:ext uri="{9D8B030D-6E8A-4147-A177-3AD203B41FA5}">
                      <a16:colId xmlns:a16="http://schemas.microsoft.com/office/drawing/2014/main" val="1193468147"/>
                    </a:ext>
                  </a:extLst>
                </a:gridCol>
                <a:gridCol w="513657">
                  <a:extLst>
                    <a:ext uri="{9D8B030D-6E8A-4147-A177-3AD203B41FA5}">
                      <a16:colId xmlns:a16="http://schemas.microsoft.com/office/drawing/2014/main" val="3167477420"/>
                    </a:ext>
                  </a:extLst>
                </a:gridCol>
                <a:gridCol w="513657">
                  <a:extLst>
                    <a:ext uri="{9D8B030D-6E8A-4147-A177-3AD203B41FA5}">
                      <a16:colId xmlns:a16="http://schemas.microsoft.com/office/drawing/2014/main" val="1905989295"/>
                    </a:ext>
                  </a:extLst>
                </a:gridCol>
                <a:gridCol w="513657">
                  <a:extLst>
                    <a:ext uri="{9D8B030D-6E8A-4147-A177-3AD203B41FA5}">
                      <a16:colId xmlns:a16="http://schemas.microsoft.com/office/drawing/2014/main" val="2141854914"/>
                    </a:ext>
                  </a:extLst>
                </a:gridCol>
                <a:gridCol w="513657">
                  <a:extLst>
                    <a:ext uri="{9D8B030D-6E8A-4147-A177-3AD203B41FA5}">
                      <a16:colId xmlns:a16="http://schemas.microsoft.com/office/drawing/2014/main" val="3731384784"/>
                    </a:ext>
                  </a:extLst>
                </a:gridCol>
                <a:gridCol w="513657">
                  <a:extLst>
                    <a:ext uri="{9D8B030D-6E8A-4147-A177-3AD203B41FA5}">
                      <a16:colId xmlns:a16="http://schemas.microsoft.com/office/drawing/2014/main" val="3699974580"/>
                    </a:ext>
                  </a:extLst>
                </a:gridCol>
                <a:gridCol w="513657">
                  <a:extLst>
                    <a:ext uri="{9D8B030D-6E8A-4147-A177-3AD203B41FA5}">
                      <a16:colId xmlns:a16="http://schemas.microsoft.com/office/drawing/2014/main" val="2423456158"/>
                    </a:ext>
                  </a:extLst>
                </a:gridCol>
              </a:tblGrid>
              <a:tr h="159576">
                <a:tc>
                  <a:txBody>
                    <a:bodyPr/>
                    <a:lstStyle/>
                    <a:p>
                      <a:pPr algn="l" fontAlgn="ctr"/>
                      <a:r>
                        <a:rPr lang="en-US" sz="900" b="1" i="0" u="none" strike="noStrike">
                          <a:solidFill>
                            <a:srgbClr val="FFFFFF"/>
                          </a:solidFill>
                          <a:effectLst/>
                          <a:latin typeface="Arial"/>
                        </a:rPr>
                        <a:t>DCF Summary</a:t>
                      </a:r>
                    </a:p>
                  </a:txBody>
                  <a:tcPr marL="4770" marR="4770" marT="477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ctr"/>
                      <a:endParaRPr lang="en-US" sz="900" b="0" i="0" u="none" strike="noStrike">
                        <a:solidFill>
                          <a:srgbClr val="FFFFFF"/>
                        </a:solidFill>
                        <a:effectLst/>
                        <a:latin typeface="Arial"/>
                      </a:endParaRPr>
                    </a:p>
                  </a:txBody>
                  <a:tcPr marL="4770" marR="4770" marT="477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708733621"/>
                  </a:ext>
                </a:extLst>
              </a:tr>
              <a:tr h="154213">
                <a:tc>
                  <a:txBody>
                    <a:bodyPr/>
                    <a:lstStyle/>
                    <a:p>
                      <a:pPr algn="l" fontAlgn="ctr"/>
                      <a:endParaRPr lang="en-CA" sz="900" b="0" i="0" u="none" strike="noStrike">
                        <a:solidFill>
                          <a:srgbClr val="000000"/>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a:rPr>
                        <a:t>FY</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FY</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FY</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FY</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a:rPr>
                        <a:t>FY</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gridSpan="10">
                  <a:txBody>
                    <a:bodyPr/>
                    <a:lstStyle/>
                    <a:p>
                      <a:pPr algn="ctr" fontAlgn="ctr"/>
                      <a:r>
                        <a:rPr lang="en-CA" sz="900" b="0" i="0" u="none" strike="noStrike">
                          <a:solidFill>
                            <a:srgbClr val="000000"/>
                          </a:solidFill>
                          <a:effectLst/>
                          <a:latin typeface="Arial"/>
                        </a:rPr>
                        <a:t>Projected</a:t>
                      </a:r>
                    </a:p>
                  </a:txBody>
                  <a:tcPr marL="0" marR="0" marT="0" marB="0" anchor="ctr">
                    <a:lnL>
                      <a:noFill/>
                    </a:lnL>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fontAlgn="ctr"/>
                      <a:endParaRPr lang="en-CA" sz="6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39730888"/>
                  </a:ext>
                </a:extLst>
              </a:tr>
              <a:tr h="154213">
                <a:tc>
                  <a:txBody>
                    <a:bodyPr/>
                    <a:lstStyle/>
                    <a:p>
                      <a:pPr algn="l" fontAlgn="ctr"/>
                      <a:r>
                        <a:rPr lang="en-CA" sz="900" b="0" i="1" u="none" strike="noStrike">
                          <a:solidFill>
                            <a:srgbClr val="000000"/>
                          </a:solidFill>
                          <a:effectLst/>
                          <a:latin typeface="Arial"/>
                        </a:rPr>
                        <a:t>in millions</a:t>
                      </a:r>
                    </a:p>
                  </a:txBody>
                  <a:tcPr marL="0" marR="0" marT="0" marB="0" anchor="ctr">
                    <a:lnL w="1270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a:rPr>
                        <a:t>2020A</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1A</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2A</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3A</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4A</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5E</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6E</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7E</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8E</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29E</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30E</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31E</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32E</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33E</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a:rPr>
                        <a:t>2034E</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707325356"/>
                  </a:ext>
                </a:extLst>
              </a:tr>
              <a:tr h="154213">
                <a:tc>
                  <a:txBody>
                    <a:bodyPr/>
                    <a:lstStyle/>
                    <a:p>
                      <a:pPr algn="l" fontAlgn="ctr"/>
                      <a:r>
                        <a:rPr lang="en-CA" sz="900" b="1" i="0" u="none" strike="noStrike">
                          <a:solidFill>
                            <a:srgbClr val="000000"/>
                          </a:solidFill>
                          <a:effectLst/>
                          <a:latin typeface="Arial"/>
                        </a:rPr>
                        <a:t>Total Revenues</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20.65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222.72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549.58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731.01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909.27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b"/>
                      <a:r>
                        <a:rPr lang="en-CA" sz="900" b="1" i="0" u="none" strike="noStrike">
                          <a:solidFill>
                            <a:srgbClr val="000000"/>
                          </a:solidFill>
                          <a:effectLst/>
                          <a:latin typeface="Arial" panose="020B0604020202020204" pitchFamily="34" charset="0"/>
                        </a:rPr>
                        <a:t>1067.69 </a:t>
                      </a:r>
                    </a:p>
                  </a:txBody>
                  <a:tcPr marL="0" marR="0" marT="0"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b"/>
                      <a:r>
                        <a:rPr lang="en-CA" sz="900" b="1" i="0" u="none" strike="noStrike">
                          <a:solidFill>
                            <a:srgbClr val="000000"/>
                          </a:solidFill>
                          <a:effectLst/>
                          <a:latin typeface="Arial" panose="020B0604020202020204" pitchFamily="34" charset="0"/>
                        </a:rPr>
                        <a:t>1246.25 </a:t>
                      </a:r>
                    </a:p>
                  </a:txBody>
                  <a:tcPr marL="0" marR="0" marT="0"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b"/>
                      <a:r>
                        <a:rPr lang="en-CA" sz="900" b="1" i="0" u="none" strike="noStrike">
                          <a:solidFill>
                            <a:srgbClr val="000000"/>
                          </a:solidFill>
                          <a:effectLst/>
                          <a:latin typeface="Arial" panose="020B0604020202020204" pitchFamily="34" charset="0"/>
                        </a:rPr>
                        <a:t>1421.24 </a:t>
                      </a:r>
                    </a:p>
                  </a:txBody>
                  <a:tcPr marL="0" marR="0" marT="0"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b"/>
                      <a:r>
                        <a:rPr lang="en-CA" sz="900" b="1" i="0" u="none" strike="noStrike">
                          <a:solidFill>
                            <a:srgbClr val="000000"/>
                          </a:solidFill>
                          <a:effectLst/>
                          <a:latin typeface="Arial" panose="020B0604020202020204" pitchFamily="34" charset="0"/>
                        </a:rPr>
                        <a:t>1612.94 </a:t>
                      </a:r>
                    </a:p>
                  </a:txBody>
                  <a:tcPr marL="0" marR="0" marT="0"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b"/>
                      <a:r>
                        <a:rPr lang="en-CA" sz="900" b="1" i="0" u="none" strike="noStrike">
                          <a:solidFill>
                            <a:srgbClr val="000000"/>
                          </a:solidFill>
                          <a:effectLst/>
                          <a:latin typeface="Arial" panose="020B0604020202020204" pitchFamily="34" charset="0"/>
                        </a:rPr>
                        <a:t>1819.28 </a:t>
                      </a:r>
                    </a:p>
                  </a:txBody>
                  <a:tcPr marL="0" marR="0" marT="0"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b"/>
                      <a:r>
                        <a:rPr lang="en-CA" sz="900" b="1" i="0" u="none" strike="noStrike">
                          <a:solidFill>
                            <a:srgbClr val="000000"/>
                          </a:solidFill>
                          <a:effectLst/>
                          <a:latin typeface="Arial" panose="020B0604020202020204" pitchFamily="34" charset="0"/>
                        </a:rPr>
                        <a:t>2032.97 </a:t>
                      </a:r>
                    </a:p>
                  </a:txBody>
                  <a:tcPr marL="0" marR="0" marT="0"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b"/>
                      <a:r>
                        <a:rPr lang="en-CA" sz="900" b="1" i="0" u="none" strike="noStrike">
                          <a:solidFill>
                            <a:srgbClr val="000000"/>
                          </a:solidFill>
                          <a:effectLst/>
                          <a:latin typeface="Arial" panose="020B0604020202020204" pitchFamily="34" charset="0"/>
                        </a:rPr>
                        <a:t>2260.93 </a:t>
                      </a:r>
                    </a:p>
                  </a:txBody>
                  <a:tcPr marL="0" marR="0" marT="0"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b"/>
                      <a:r>
                        <a:rPr lang="en-CA" sz="900" b="1" i="0" u="none" strike="noStrike">
                          <a:solidFill>
                            <a:srgbClr val="000000"/>
                          </a:solidFill>
                          <a:effectLst/>
                          <a:latin typeface="Arial" panose="020B0604020202020204" pitchFamily="34" charset="0"/>
                        </a:rPr>
                        <a:t>2487.98 </a:t>
                      </a:r>
                    </a:p>
                  </a:txBody>
                  <a:tcPr marL="0" marR="0" marT="0"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b"/>
                      <a:r>
                        <a:rPr lang="en-CA" sz="900" b="1" i="0" u="none" strike="noStrike">
                          <a:solidFill>
                            <a:srgbClr val="000000"/>
                          </a:solidFill>
                          <a:effectLst/>
                          <a:latin typeface="Arial" panose="020B0604020202020204" pitchFamily="34" charset="0"/>
                        </a:rPr>
                        <a:t>2714.38 </a:t>
                      </a:r>
                    </a:p>
                  </a:txBody>
                  <a:tcPr marL="0" marR="0" marT="0" marB="0" anchor="b">
                    <a:lnL>
                      <a:noFill/>
                    </a:lnL>
                    <a:lnR>
                      <a:noFill/>
                    </a:lnR>
                    <a:lnT w="12700" cap="flat" cmpd="sng" algn="ctr">
                      <a:solidFill>
                        <a:schemeClr val="tx1"/>
                      </a:solidFill>
                      <a:prstDash val="solid"/>
                      <a:round/>
                      <a:headEnd type="none" w="med" len="med"/>
                      <a:tailEnd type="none" w="med" len="med"/>
                    </a:lnT>
                    <a:lnB>
                      <a:noFill/>
                    </a:lnB>
                    <a:solidFill>
                      <a:srgbClr val="FFFFFF"/>
                    </a:solidFill>
                  </a:tcPr>
                </a:tc>
                <a:tc>
                  <a:txBody>
                    <a:bodyPr/>
                    <a:lstStyle/>
                    <a:p>
                      <a:pPr algn="ctr" fontAlgn="b"/>
                      <a:r>
                        <a:rPr lang="en-CA" sz="900" b="1" i="0" u="none" strike="noStrike">
                          <a:solidFill>
                            <a:srgbClr val="000000"/>
                          </a:solidFill>
                          <a:effectLst/>
                          <a:latin typeface="Arial" panose="020B0604020202020204" pitchFamily="34" charset="0"/>
                        </a:rPr>
                        <a:t>2896.54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137727423"/>
                  </a:ext>
                </a:extLst>
              </a:tr>
              <a:tr h="154213">
                <a:tc>
                  <a:txBody>
                    <a:bodyPr/>
                    <a:lstStyle/>
                    <a:p>
                      <a:pPr algn="l" fontAlgn="ctr"/>
                      <a:r>
                        <a:rPr lang="en-CA" sz="900" b="0" i="0" u="none" strike="noStrike">
                          <a:solidFill>
                            <a:srgbClr val="000000"/>
                          </a:solidFill>
                          <a:effectLst/>
                          <a:latin typeface="Arial"/>
                        </a:rPr>
                        <a:t>COGS</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39.6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94.0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77.20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398.5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524.02 </a:t>
                      </a:r>
                    </a:p>
                  </a:txBody>
                  <a:tcPr marL="0" marR="0" marT="0" marB="0" anchor="ctr">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612.85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712.85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610.18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710.36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07.83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85.34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996.24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076.66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188.12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296.24 </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669915815"/>
                  </a:ext>
                </a:extLst>
              </a:tr>
              <a:tr h="154213">
                <a:tc>
                  <a:txBody>
                    <a:bodyPr/>
                    <a:lstStyle/>
                    <a:p>
                      <a:pPr algn="l" fontAlgn="ctr"/>
                      <a:r>
                        <a:rPr lang="en-CA" sz="900" b="0" i="0" u="none" strike="noStrike">
                          <a:solidFill>
                            <a:srgbClr val="000000"/>
                          </a:solidFill>
                          <a:effectLst/>
                          <a:latin typeface="Arial"/>
                        </a:rPr>
                        <a:t>R&amp;D</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32.75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55.30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21.15 </a:t>
                      </a:r>
                    </a:p>
                  </a:txBody>
                  <a:tcPr marL="0" marR="0" marT="0" marB="0" anchor="ctr">
                    <a:lnL>
                      <a:noFill/>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140.44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29.42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63.45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92.09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220.20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255.78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288.06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326.37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364.29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402.28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432.46 </a:t>
                      </a:r>
                    </a:p>
                  </a:txBody>
                  <a:tcPr marL="0" marR="0" marT="0" marB="0" anchor="ctr">
                    <a:lnL>
                      <a:noFill/>
                    </a:lnL>
                    <a:lnR>
                      <a:noFill/>
                    </a:lnR>
                    <a:lnT>
                      <a:noFill/>
                    </a:lnT>
                    <a:lnB w="6350" cap="flat" cmpd="sng" algn="ctr">
                      <a:no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466.45 </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3257881852"/>
                  </a:ext>
                </a:extLst>
              </a:tr>
              <a:tr h="154213">
                <a:tc>
                  <a:txBody>
                    <a:bodyPr/>
                    <a:lstStyle/>
                    <a:p>
                      <a:pPr algn="l" fontAlgn="ctr"/>
                      <a:r>
                        <a:rPr lang="en-CA" sz="900" b="0" i="0" u="none" strike="noStrike">
                          <a:solidFill>
                            <a:srgbClr val="000000"/>
                          </a:solidFill>
                          <a:effectLst/>
                          <a:latin typeface="Arial"/>
                        </a:rPr>
                        <a:t>SG&amp;A</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74.91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18.2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269.69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345.62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340.2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chemeClr val="tx1"/>
                          </a:solidFill>
                          <a:effectLst/>
                          <a:latin typeface="Arial" panose="020B0604020202020204" pitchFamily="34" charset="0"/>
                        </a:rPr>
                        <a:t>424.51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chemeClr val="tx1"/>
                          </a:solidFill>
                          <a:effectLst/>
                          <a:latin typeface="Arial" panose="020B0604020202020204" pitchFamily="34" charset="0"/>
                        </a:rPr>
                        <a:t>479.18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chemeClr val="tx1"/>
                          </a:solidFill>
                          <a:effectLst/>
                          <a:latin typeface="Arial" panose="020B0604020202020204" pitchFamily="34" charset="0"/>
                        </a:rPr>
                        <a:t>525.15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chemeClr val="tx1"/>
                          </a:solidFill>
                          <a:effectLst/>
                          <a:latin typeface="Arial" panose="020B0604020202020204" pitchFamily="34" charset="0"/>
                        </a:rPr>
                        <a:t>572.92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chemeClr val="tx1"/>
                          </a:solidFill>
                          <a:effectLst/>
                          <a:latin typeface="Arial" panose="020B0604020202020204" pitchFamily="34" charset="0"/>
                        </a:rPr>
                        <a:t>629.11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chemeClr val="tx1"/>
                          </a:solidFill>
                          <a:effectLst/>
                          <a:latin typeface="Arial" panose="020B0604020202020204" pitchFamily="34" charset="0"/>
                        </a:rPr>
                        <a:t>689.18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chemeClr val="tx1"/>
                          </a:solidFill>
                          <a:effectLst/>
                          <a:latin typeface="Arial" panose="020B0604020202020204" pitchFamily="34" charset="0"/>
                        </a:rPr>
                        <a:t>734.12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chemeClr val="tx1"/>
                          </a:solidFill>
                          <a:effectLst/>
                          <a:latin typeface="Arial" panose="020B0604020202020204" pitchFamily="34" charset="0"/>
                        </a:rPr>
                        <a:t>791.68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chemeClr val="tx1"/>
                          </a:solidFill>
                          <a:effectLst/>
                          <a:latin typeface="Arial" panose="020B0604020202020204" pitchFamily="34" charset="0"/>
                        </a:rPr>
                        <a:t>855.03 </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chemeClr val="tx1"/>
                          </a:solidFill>
                          <a:effectLst/>
                          <a:latin typeface="Arial" panose="020B0604020202020204" pitchFamily="34" charset="0"/>
                        </a:rPr>
                        <a:t>897.93 </a:t>
                      </a:r>
                    </a:p>
                  </a:txBody>
                  <a:tcPr marL="0" marR="0" marT="0"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7088567"/>
                  </a:ext>
                </a:extLst>
              </a:tr>
              <a:tr h="154213">
                <a:tc>
                  <a:txBody>
                    <a:bodyPr/>
                    <a:lstStyle/>
                    <a:p>
                      <a:pPr algn="l" fontAlgn="ctr"/>
                      <a:r>
                        <a:rPr lang="en-CA" sz="900" b="1" i="0" u="none" strike="noStrike">
                          <a:solidFill>
                            <a:srgbClr val="000000"/>
                          </a:solidFill>
                          <a:effectLst/>
                          <a:latin typeface="Arial"/>
                        </a:rPr>
                        <a:t>EBITDA</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6.07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8.66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1.88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41.85)</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37.82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rPr>
                        <a:t>(129.83)</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rPr>
                        <a:t>(130.86)</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rPr>
                        <a:t>80.97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rPr>
                        <a:t>98.20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rPr>
                        <a:t>127.64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rPr>
                        <a:t>174.85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rPr>
                        <a:t>217.43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rPr>
                        <a:t>277.55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rPr>
                        <a:t>304.79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Arial" panose="020B0604020202020204" pitchFamily="34" charset="0"/>
                        </a:rPr>
                        <a:t>311.34 </a:t>
                      </a:r>
                    </a:p>
                  </a:txBody>
                  <a:tcPr marL="0" marR="0" marT="0"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360696354"/>
                  </a:ext>
                </a:extLst>
              </a:tr>
              <a:tr h="154213">
                <a:tc>
                  <a:txBody>
                    <a:bodyPr/>
                    <a:lstStyle/>
                    <a:p>
                      <a:pPr algn="l" fontAlgn="ctr"/>
                      <a:r>
                        <a:rPr lang="en-CA" sz="900" b="0" i="0" u="none" strike="noStrike">
                          <a:solidFill>
                            <a:srgbClr val="000000"/>
                          </a:solidFill>
                          <a:effectLst/>
                          <a:latin typeface="Arial"/>
                        </a:rPr>
                        <a:t>D&amp;A</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3.4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36.48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04.5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115.26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09.6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23.5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35.30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48.7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61.6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72.22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81.31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88.8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94.2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97.9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99.02 </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2133700"/>
                  </a:ext>
                </a:extLst>
              </a:tr>
              <a:tr h="154213">
                <a:tc>
                  <a:txBody>
                    <a:bodyPr/>
                    <a:lstStyle/>
                    <a:p>
                      <a:pPr algn="l" fontAlgn="ctr"/>
                      <a:r>
                        <a:rPr lang="en-CA" sz="900" b="1" i="0" u="none" strike="noStrike">
                          <a:solidFill>
                            <a:srgbClr val="000000"/>
                          </a:solidFill>
                          <a:effectLst/>
                          <a:latin typeface="Arial"/>
                        </a:rPr>
                        <a:t>EBIT</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7.40)</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27.83)</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102.67)</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157.11)</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71.81)</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CA" sz="900" b="0" i="0" u="none" strike="noStrike">
                          <a:solidFill>
                            <a:srgbClr val="000000"/>
                          </a:solidFill>
                          <a:effectLst/>
                          <a:latin typeface="Arial" panose="020B0604020202020204" pitchFamily="34" charset="0"/>
                        </a:rPr>
                        <a:t>(250.91)</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b"/>
                      <a:r>
                        <a:rPr lang="en-CA" sz="900" b="0" i="0" u="none" strike="noStrike">
                          <a:solidFill>
                            <a:srgbClr val="000000"/>
                          </a:solidFill>
                          <a:effectLst/>
                          <a:latin typeface="Arial" panose="020B0604020202020204" pitchFamily="34" charset="0"/>
                        </a:rPr>
                        <a:t>(261.21)</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CA" sz="900" b="0" i="0" u="none" strike="noStrike">
                          <a:solidFill>
                            <a:srgbClr val="000000"/>
                          </a:solidFill>
                          <a:effectLst/>
                          <a:latin typeface="Arial" panose="020B0604020202020204" pitchFamily="34" charset="0"/>
                        </a:rPr>
                        <a:t>(57.46)</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CA" sz="900" b="0" i="0" u="none" strike="noStrike">
                          <a:solidFill>
                            <a:srgbClr val="000000"/>
                          </a:solidFill>
                          <a:effectLst/>
                          <a:latin typeface="Arial" panose="020B0604020202020204" pitchFamily="34" charset="0"/>
                        </a:rPr>
                        <a:t>(48.09)</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CA" sz="900" b="0" i="0" u="none" strike="noStrike">
                          <a:solidFill>
                            <a:srgbClr val="000000"/>
                          </a:solidFill>
                          <a:effectLst/>
                          <a:latin typeface="Arial" panose="020B0604020202020204" pitchFamily="34" charset="0"/>
                        </a:rPr>
                        <a:t>(24.63)</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CA" sz="900" b="0" i="0" u="none" strike="noStrike">
                          <a:solidFill>
                            <a:srgbClr val="000000"/>
                          </a:solidFill>
                          <a:effectLst/>
                          <a:latin typeface="Arial" panose="020B0604020202020204" pitchFamily="34" charset="0"/>
                        </a:rPr>
                        <a:t>17.30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CA" sz="900" b="0" i="0" u="none" strike="noStrike">
                          <a:solidFill>
                            <a:srgbClr val="000000"/>
                          </a:solidFill>
                          <a:effectLst/>
                          <a:latin typeface="Arial" panose="020B0604020202020204" pitchFamily="34" charset="0"/>
                        </a:rPr>
                        <a:t>55.09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CA" sz="900" b="0" i="0" u="none" strike="noStrike">
                          <a:solidFill>
                            <a:srgbClr val="000000"/>
                          </a:solidFill>
                          <a:effectLst/>
                          <a:latin typeface="Arial" panose="020B0604020202020204" pitchFamily="34" charset="0"/>
                        </a:rPr>
                        <a:t>112.34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CA" sz="900" b="0" i="0" u="none" strike="noStrike">
                          <a:solidFill>
                            <a:srgbClr val="000000"/>
                          </a:solidFill>
                          <a:effectLst/>
                          <a:latin typeface="Arial" panose="020B0604020202020204" pitchFamily="34" charset="0"/>
                        </a:rPr>
                        <a:t>137.04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CA" sz="900" b="0" i="0" u="none" strike="noStrike">
                          <a:solidFill>
                            <a:srgbClr val="000000"/>
                          </a:solidFill>
                          <a:effectLst/>
                          <a:latin typeface="Arial" panose="020B0604020202020204" pitchFamily="34" charset="0"/>
                        </a:rPr>
                        <a:t>144.50 </a:t>
                      </a:r>
                    </a:p>
                  </a:txBody>
                  <a:tcPr marL="0" marR="0" marT="0"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699378045"/>
                  </a:ext>
                </a:extLst>
              </a:tr>
              <a:tr h="308426">
                <a:tc>
                  <a:txBody>
                    <a:bodyPr/>
                    <a:lstStyle/>
                    <a:p>
                      <a:pPr algn="l" fontAlgn="ctr"/>
                      <a:r>
                        <a:rPr lang="en-CA" sz="900" b="1" i="0" u="none" strike="noStrike">
                          <a:solidFill>
                            <a:srgbClr val="000000"/>
                          </a:solidFill>
                          <a:effectLst/>
                          <a:latin typeface="Arial"/>
                        </a:rPr>
                        <a:t>Less:</a:t>
                      </a:r>
                      <a:r>
                        <a:rPr lang="en-CA" sz="900" b="0" i="0" u="none" strike="noStrike">
                          <a:solidFill>
                            <a:srgbClr val="000000"/>
                          </a:solidFill>
                          <a:effectLst/>
                          <a:latin typeface="Arial"/>
                        </a:rPr>
                        <a:t> Income Tax</a:t>
                      </a:r>
                      <a:endParaRPr lang="en-CA" sz="900" b="1" i="0" u="none" strike="noStrike">
                        <a:solidFill>
                          <a:srgbClr val="000000"/>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0.06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0.04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1.08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0.20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5.21 </a:t>
                      </a:r>
                    </a:p>
                  </a:txBody>
                  <a:tcPr marL="0" marR="0" marT="0" marB="0" anchor="ctr">
                    <a:lnL>
                      <a:noFill/>
                    </a:lnL>
                    <a:lnR w="12700" cap="flat" cmpd="sng" algn="ctr">
                      <a:noFill/>
                      <a:prstDash val="solid"/>
                      <a:round/>
                      <a:headEnd type="none" w="med" len="med"/>
                      <a:tailEnd type="none" w="med" len="med"/>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19.1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21.66 </a:t>
                      </a:r>
                    </a:p>
                  </a:txBody>
                  <a:tcPr marL="0" marR="0" marT="0" marB="0" anchor="ctr">
                    <a:lnL w="12700" cap="flat" cmpd="sng" algn="ctr">
                      <a:noFill/>
                      <a:prstDash val="solid"/>
                      <a:round/>
                      <a:headEnd type="none" w="med" len="med"/>
                      <a:tailEnd type="none" w="med" len="med"/>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0.92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2.02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5.63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9.78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16.79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23.08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31.79 </a:t>
                      </a:r>
                    </a:p>
                  </a:txBody>
                  <a:tcPr marL="0" marR="0" marT="0" marB="0" anchor="ctr">
                    <a:lnL>
                      <a:noFill/>
                    </a:lnL>
                    <a:lnR>
                      <a:noFill/>
                    </a:lnR>
                    <a:lnT>
                      <a:noFill/>
                    </a:lnT>
                    <a:lnB>
                      <a:noFill/>
                    </a:lnB>
                    <a:solidFill>
                      <a:srgbClr val="FFFFFF"/>
                    </a:solidFill>
                  </a:tcPr>
                </a:tc>
                <a:tc>
                  <a:txBody>
                    <a:bodyPr/>
                    <a:lstStyle/>
                    <a:p>
                      <a:pPr algn="ctr" fontAlgn="ctr"/>
                      <a:r>
                        <a:rPr lang="en-CA" sz="900" b="0" i="0" u="none" strike="noStrike">
                          <a:solidFill>
                            <a:srgbClr val="000000"/>
                          </a:solidFill>
                          <a:effectLst/>
                          <a:latin typeface="Arial" panose="020B0604020202020204" pitchFamily="34" charset="0"/>
                        </a:rPr>
                        <a:t>38.86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456528352"/>
                  </a:ext>
                </a:extLst>
              </a:tr>
              <a:tr h="154213">
                <a:tc>
                  <a:txBody>
                    <a:bodyPr/>
                    <a:lstStyle/>
                    <a:p>
                      <a:pPr algn="l" fontAlgn="ctr"/>
                      <a:r>
                        <a:rPr lang="en-CA" sz="900" b="1" i="0" u="none" strike="noStrike">
                          <a:solidFill>
                            <a:srgbClr val="000000"/>
                          </a:solidFill>
                          <a:effectLst/>
                          <a:latin typeface="Arial"/>
                        </a:rPr>
                        <a:t>Less: </a:t>
                      </a:r>
                      <a:r>
                        <a:rPr lang="en-CA" sz="900" b="0" i="0" u="none" strike="noStrike" err="1">
                          <a:solidFill>
                            <a:srgbClr val="000000"/>
                          </a:solidFill>
                          <a:effectLst/>
                          <a:latin typeface="Arial"/>
                        </a:rPr>
                        <a:t>CapEX</a:t>
                      </a:r>
                      <a:endParaRPr lang="en-CA" sz="900" b="1" i="0" u="none" strike="noStrike">
                        <a:solidFill>
                          <a:srgbClr val="000000"/>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3.6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1.7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10.6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9.2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7.5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9.48 </a:t>
                      </a:r>
                    </a:p>
                  </a:txBody>
                  <a:tcPr marL="0" marR="0" marT="0" marB="0" anchor="ctr">
                    <a:lnL>
                      <a:noFill/>
                    </a:lnL>
                    <a:lnR>
                      <a:noFill/>
                    </a:lnR>
                    <a:lnT w="12700" cap="flat" cmpd="sng" algn="ctr">
                      <a:noFill/>
                      <a:prstDash val="solid"/>
                      <a:round/>
                      <a:headEnd type="none" w="med" len="med"/>
                      <a:tailEnd type="none" w="med" len="med"/>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11.7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14.6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17.8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1.6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5.7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30.5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35.6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41.0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47.68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131104084"/>
                  </a:ext>
                </a:extLst>
              </a:tr>
              <a:tr h="308426">
                <a:tc>
                  <a:txBody>
                    <a:bodyPr/>
                    <a:lstStyle/>
                    <a:p>
                      <a:pPr algn="l" fontAlgn="ctr"/>
                      <a:r>
                        <a:rPr lang="en-CA" sz="900" b="1" i="0" u="none" strike="noStrike">
                          <a:solidFill>
                            <a:srgbClr val="000000"/>
                          </a:solidFill>
                          <a:effectLst/>
                          <a:latin typeface="Arial"/>
                        </a:rPr>
                        <a:t>Less:</a:t>
                      </a:r>
                      <a:r>
                        <a:rPr lang="en-CA" sz="900" b="0" i="0" u="none" strike="noStrike">
                          <a:solidFill>
                            <a:srgbClr val="000000"/>
                          </a:solidFill>
                          <a:effectLst/>
                          <a:latin typeface="Arial"/>
                        </a:rPr>
                        <a:t> Change in NWC</a:t>
                      </a:r>
                      <a:endParaRPr lang="en-CA" sz="900" b="1" i="0" u="none" strike="noStrike">
                        <a:solidFill>
                          <a:srgbClr val="000000"/>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noFill/>
                  </a:tcPr>
                </a:tc>
                <a:tc>
                  <a:txBody>
                    <a:bodyPr/>
                    <a:lstStyle/>
                    <a:p>
                      <a:pPr algn="ctr" fontAlgn="ctr"/>
                      <a:endParaRPr lang="en-CA" sz="9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solidFill>
                  </a:tcPr>
                </a:tc>
                <a:tc>
                  <a:txBody>
                    <a:bodyPr/>
                    <a:lstStyle/>
                    <a:p>
                      <a:pPr algn="ctr" fontAlgn="ctr"/>
                      <a:r>
                        <a:rPr lang="en-CA" sz="900" b="0" i="0" u="none" strike="noStrike">
                          <a:solidFill>
                            <a:srgbClr val="000000"/>
                          </a:solidFill>
                          <a:effectLst/>
                          <a:latin typeface="Arial" panose="020B0604020202020204" pitchFamily="34" charset="0"/>
                        </a:rPr>
                        <a:t>(24.69)</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4.65)</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8.9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8.7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77.0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1.7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5.32)</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1.0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8.23)</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2.23)</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3.50)</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4.78)</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1.92)</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Arial" panose="020B0604020202020204" pitchFamily="34" charset="0"/>
                        </a:rPr>
                        <a:t>0.91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384504755"/>
                  </a:ext>
                </a:extLst>
              </a:tr>
              <a:tr h="154213">
                <a:tc>
                  <a:txBody>
                    <a:bodyPr/>
                    <a:lstStyle/>
                    <a:p>
                      <a:pPr algn="l" fontAlgn="ctr"/>
                      <a:r>
                        <a:rPr lang="en-CA" sz="900" b="1" i="0" u="none" strike="noStrike">
                          <a:solidFill>
                            <a:srgbClr val="000000"/>
                          </a:solidFill>
                          <a:effectLst/>
                          <a:latin typeface="Arial"/>
                        </a:rPr>
                        <a:t>Add:</a:t>
                      </a:r>
                      <a:r>
                        <a:rPr lang="en-CA" sz="900" b="0" i="0" u="none" strike="noStrike">
                          <a:solidFill>
                            <a:srgbClr val="000000"/>
                          </a:solidFill>
                          <a:effectLst/>
                          <a:latin typeface="Arial"/>
                        </a:rPr>
                        <a:t> D&amp;A</a:t>
                      </a:r>
                      <a:endParaRPr lang="en-CA" sz="900" b="1" i="0" u="none" strike="noStrike">
                        <a:solidFill>
                          <a:srgbClr val="000000"/>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3.4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36.48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04.5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15.26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09.6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23.5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35.30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48.7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61.6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72.22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81.31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88.8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94.2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97.9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Arial" panose="020B0604020202020204" pitchFamily="34" charset="0"/>
                        </a:rPr>
                        <a:t>199.02 </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7364456"/>
                  </a:ext>
                </a:extLst>
              </a:tr>
              <a:tr h="154213">
                <a:tc>
                  <a:txBody>
                    <a:bodyPr/>
                    <a:lstStyle/>
                    <a:p>
                      <a:pPr algn="l" fontAlgn="ctr"/>
                      <a:r>
                        <a:rPr lang="en-CA" sz="900" b="1" i="0" u="none" strike="noStrike">
                          <a:solidFill>
                            <a:srgbClr val="000000"/>
                          </a:solidFill>
                          <a:effectLst/>
                          <a:latin typeface="Arial"/>
                        </a:rPr>
                        <a:t>FCFF</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2.40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31.51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5.20)</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80.19)</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6.37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233.20)</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58.02)</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27.77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62.84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209.52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226.24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269.40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299.45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308.77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305.88 </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53746506"/>
                  </a:ext>
                </a:extLst>
              </a:tr>
              <a:tr h="159576">
                <a:tc>
                  <a:txBody>
                    <a:bodyPr/>
                    <a:lstStyle/>
                    <a:p>
                      <a:pPr algn="l" fontAlgn="ctr"/>
                      <a:r>
                        <a:rPr lang="en-US" sz="900" b="1" i="0" u="none" strike="noStrike">
                          <a:solidFill>
                            <a:srgbClr val="000000"/>
                          </a:solidFill>
                          <a:effectLst/>
                          <a:latin typeface="Arial"/>
                        </a:rPr>
                        <a:t>PV of FCFF</a:t>
                      </a:r>
                    </a:p>
                  </a:txBody>
                  <a:tcPr marL="4770" marR="4770" marT="477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1" i="0" u="none" strike="noStrike">
                        <a:solidFill>
                          <a:srgbClr val="000000"/>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1" i="0" u="none" strike="noStrike">
                        <a:solidFill>
                          <a:srgbClr val="000000"/>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1" i="0" u="none" strike="noStrike">
                        <a:solidFill>
                          <a:srgbClr val="000000"/>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1" i="0" u="none" strike="noStrike">
                        <a:solidFill>
                          <a:srgbClr val="000000"/>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1" i="0" u="none" strike="noStrike">
                        <a:solidFill>
                          <a:srgbClr val="000000"/>
                        </a:solidFill>
                        <a:effectLst/>
                        <a:latin typeface="Arial"/>
                      </a:endParaRPr>
                    </a:p>
                  </a:txBody>
                  <a:tcPr marL="4770" marR="4770" marT="477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211.81)</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30.37)</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95.74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10.83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29.52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27.03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37.39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38.71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29.91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1" i="0" u="none" strike="noStrike">
                          <a:solidFill>
                            <a:srgbClr val="000000"/>
                          </a:solidFill>
                          <a:effectLst/>
                          <a:latin typeface="Arial" panose="020B0604020202020204" pitchFamily="34" charset="0"/>
                        </a:rPr>
                        <a:t>116.89 </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44955296"/>
                  </a:ext>
                </a:extLst>
              </a:tr>
            </a:tbl>
          </a:graphicData>
        </a:graphic>
      </p:graphicFrame>
      <p:graphicFrame>
        <p:nvGraphicFramePr>
          <p:cNvPr id="7" name="Table 6">
            <a:extLst>
              <a:ext uri="{FF2B5EF4-FFF2-40B4-BE49-F238E27FC236}">
                <a16:creationId xmlns:a16="http://schemas.microsoft.com/office/drawing/2014/main" id="{CC0CEAE9-92D7-0D3D-D2C0-EA9A579A2DBF}"/>
              </a:ext>
            </a:extLst>
          </p:cNvPr>
          <p:cNvGraphicFramePr>
            <a:graphicFrameLocks noGrp="1"/>
          </p:cNvGraphicFramePr>
          <p:nvPr>
            <p:extLst>
              <p:ext uri="{D42A27DB-BD31-4B8C-83A1-F6EECF244321}">
                <p14:modId xmlns:p14="http://schemas.microsoft.com/office/powerpoint/2010/main" val="1968721224"/>
              </p:ext>
            </p:extLst>
          </p:nvPr>
        </p:nvGraphicFramePr>
        <p:xfrm>
          <a:off x="250825" y="3650075"/>
          <a:ext cx="3860277" cy="2550700"/>
        </p:xfrm>
        <a:graphic>
          <a:graphicData uri="http://schemas.openxmlformats.org/drawingml/2006/table">
            <a:tbl>
              <a:tblPr bandRow="1">
                <a:tableStyleId>{5C22544A-7EE6-4342-B048-85BDC9FD1C3A}</a:tableStyleId>
              </a:tblPr>
              <a:tblGrid>
                <a:gridCol w="1286759">
                  <a:extLst>
                    <a:ext uri="{9D8B030D-6E8A-4147-A177-3AD203B41FA5}">
                      <a16:colId xmlns:a16="http://schemas.microsoft.com/office/drawing/2014/main" val="2665541169"/>
                    </a:ext>
                  </a:extLst>
                </a:gridCol>
                <a:gridCol w="1286759">
                  <a:extLst>
                    <a:ext uri="{9D8B030D-6E8A-4147-A177-3AD203B41FA5}">
                      <a16:colId xmlns:a16="http://schemas.microsoft.com/office/drawing/2014/main" val="3613334802"/>
                    </a:ext>
                  </a:extLst>
                </a:gridCol>
                <a:gridCol w="1286759">
                  <a:extLst>
                    <a:ext uri="{9D8B030D-6E8A-4147-A177-3AD203B41FA5}">
                      <a16:colId xmlns:a16="http://schemas.microsoft.com/office/drawing/2014/main" val="413569701"/>
                    </a:ext>
                  </a:extLst>
                </a:gridCol>
              </a:tblGrid>
              <a:tr h="127604">
                <a:tc gridSpan="3">
                  <a:txBody>
                    <a:bodyPr/>
                    <a:lstStyle/>
                    <a:p>
                      <a:pPr algn="l" fontAlgn="ctr"/>
                      <a:r>
                        <a:rPr lang="en-US" sz="900" b="1" i="0" u="none" strike="noStrike">
                          <a:solidFill>
                            <a:srgbClr val="FFFFFF"/>
                          </a:solidFill>
                          <a:effectLst/>
                          <a:latin typeface="Arial"/>
                        </a:rPr>
                        <a:t>10yr Perpetual Growth Rate Metho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79578086"/>
                  </a:ext>
                </a:extLst>
              </a:tr>
              <a:tr h="191905">
                <a:tc>
                  <a:txBody>
                    <a:bodyPr/>
                    <a:lstStyle/>
                    <a:p>
                      <a:pPr algn="l" fontAlgn="ctr"/>
                      <a:r>
                        <a:rPr lang="en-US" sz="900" b="0" i="0" u="none" strike="noStrike">
                          <a:solidFill>
                            <a:srgbClr val="000000"/>
                          </a:solidFill>
                          <a:effectLst/>
                          <a:latin typeface="Arial"/>
                        </a:rPr>
                        <a:t>Perpetual Growth Rate</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ctr"/>
                      <a:r>
                        <a:rPr lang="en-US" sz="900" b="0" i="0" u="none" strike="noStrike">
                          <a:solidFill>
                            <a:srgbClr val="000000"/>
                          </a:solidFill>
                          <a:effectLst/>
                          <a:latin typeface="Arial"/>
                        </a:rPr>
                        <a:t>3.00%</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919525503"/>
                  </a:ext>
                </a:extLst>
              </a:tr>
              <a:tr h="127604">
                <a:tc>
                  <a:txBody>
                    <a:bodyPr/>
                    <a:lstStyle/>
                    <a:p>
                      <a:pPr algn="l" fontAlgn="ctr"/>
                      <a:r>
                        <a:rPr lang="en-US" sz="900" b="0" i="0" u="none" strike="noStrike">
                          <a:solidFill>
                            <a:srgbClr val="000000"/>
                          </a:solidFill>
                          <a:effectLst/>
                          <a:latin typeface="Arial"/>
                        </a:rPr>
                        <a:t>Terminal Value</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3831.56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316003889"/>
                  </a:ext>
                </a:extLst>
              </a:tr>
              <a:tr h="191905">
                <a:tc>
                  <a:txBody>
                    <a:bodyPr/>
                    <a:lstStyle/>
                    <a:p>
                      <a:pPr algn="l" fontAlgn="ctr"/>
                      <a:r>
                        <a:rPr lang="en-US" sz="900" b="0" i="0" u="none" strike="noStrike">
                          <a:solidFill>
                            <a:srgbClr val="000000"/>
                          </a:solidFill>
                          <a:effectLst/>
                          <a:latin typeface="Arial"/>
                        </a:rPr>
                        <a:t>PV of Terminal Value</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464.23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282458989"/>
                  </a:ext>
                </a:extLst>
              </a:tr>
              <a:tr h="255207">
                <a:tc>
                  <a:txBody>
                    <a:bodyPr/>
                    <a:lstStyle/>
                    <a:p>
                      <a:pPr algn="l" fontAlgn="ctr"/>
                      <a:r>
                        <a:rPr lang="en-US" sz="900" b="0" i="1" u="none" strike="noStrike">
                          <a:solidFill>
                            <a:srgbClr val="000000"/>
                          </a:solidFill>
                          <a:effectLst/>
                          <a:latin typeface="Arial"/>
                        </a:rPr>
                        <a:t>Terminal Value as % of EV</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82.53%</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539120641"/>
                  </a:ext>
                </a:extLst>
              </a:tr>
              <a:tr h="127604">
                <a:tc>
                  <a:txBody>
                    <a:bodyPr/>
                    <a:lstStyle/>
                    <a:p>
                      <a:pPr algn="l" fontAlgn="ctr"/>
                      <a:r>
                        <a:rPr lang="en-US" sz="900" b="0" i="0" u="none" strike="noStrike">
                          <a:solidFill>
                            <a:srgbClr val="000000"/>
                          </a:solidFill>
                          <a:effectLst/>
                          <a:latin typeface="Arial"/>
                        </a:rPr>
                        <a:t>PV of FCFF</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310.04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797223201"/>
                  </a:ext>
                </a:extLst>
              </a:tr>
              <a:tr h="255207">
                <a:tc>
                  <a:txBody>
                    <a:bodyPr/>
                    <a:lstStyle/>
                    <a:p>
                      <a:pPr algn="l" fontAlgn="ctr"/>
                      <a:r>
                        <a:rPr lang="en-US" sz="900" b="0" i="1" u="none" strike="noStrike">
                          <a:solidFill>
                            <a:srgbClr val="000000"/>
                          </a:solidFill>
                          <a:effectLst/>
                          <a:latin typeface="Arial"/>
                        </a:rPr>
                        <a:t>Forecast Period as % of EV</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17.47%</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6941614"/>
                  </a:ext>
                </a:extLst>
              </a:tr>
              <a:tr h="127604">
                <a:tc>
                  <a:txBody>
                    <a:bodyPr/>
                    <a:lstStyle/>
                    <a:p>
                      <a:pPr algn="l" fontAlgn="ctr"/>
                      <a:r>
                        <a:rPr lang="en-US" sz="900" b="1" i="0" u="none" strike="noStrike">
                          <a:solidFill>
                            <a:srgbClr val="000000"/>
                          </a:solidFill>
                          <a:effectLst/>
                          <a:latin typeface="Arial"/>
                        </a:rPr>
                        <a:t>Enterprise Value</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fontAlgn="ctr"/>
                      <a:r>
                        <a:rPr lang="en-US" sz="900" b="1" i="0" u="none" strike="noStrike">
                          <a:solidFill>
                            <a:srgbClr val="000000"/>
                          </a:solidFill>
                          <a:effectLst/>
                          <a:latin typeface="Arial"/>
                        </a:rPr>
                        <a:t>1774.27 </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74897663"/>
                  </a:ext>
                </a:extLst>
              </a:tr>
              <a:tr h="127604">
                <a:tc>
                  <a:txBody>
                    <a:bodyPr/>
                    <a:lstStyle/>
                    <a:p>
                      <a:pPr algn="l" fontAlgn="ctr"/>
                      <a:r>
                        <a:rPr lang="en-US" sz="900" b="0" i="0" u="none" strike="noStrike">
                          <a:solidFill>
                            <a:srgbClr val="000000"/>
                          </a:solidFill>
                          <a:effectLst/>
                          <a:latin typeface="Arial"/>
                        </a:rPr>
                        <a:t>(-) Net Debt</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900" b="0" i="0" u="none" strike="noStrike">
                          <a:solidFill>
                            <a:srgbClr val="000000"/>
                          </a:solidFill>
                          <a:effectLst/>
                          <a:latin typeface="Arial"/>
                        </a:rPr>
                        <a:t>(648.60)</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5917242"/>
                  </a:ext>
                </a:extLst>
              </a:tr>
              <a:tr h="127604">
                <a:tc>
                  <a:txBody>
                    <a:bodyPr/>
                    <a:lstStyle/>
                    <a:p>
                      <a:pPr algn="l" fontAlgn="ctr"/>
                      <a:r>
                        <a:rPr lang="en-US" sz="900" b="1" i="0" u="none" strike="noStrike">
                          <a:solidFill>
                            <a:srgbClr val="000000"/>
                          </a:solidFill>
                          <a:effectLst/>
                          <a:latin typeface="Arial"/>
                        </a:rPr>
                        <a:t>Equity Value</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fontAlgn="ctr"/>
                      <a:r>
                        <a:rPr lang="en-US" sz="900" b="1" i="0" u="none" strike="noStrike">
                          <a:solidFill>
                            <a:srgbClr val="000000"/>
                          </a:solidFill>
                          <a:effectLst/>
                          <a:latin typeface="Arial"/>
                        </a:rPr>
                        <a:t>2422.87 </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21608526"/>
                  </a:ext>
                </a:extLst>
              </a:tr>
              <a:tr h="255207">
                <a:tc>
                  <a:txBody>
                    <a:bodyPr/>
                    <a:lstStyle/>
                    <a:p>
                      <a:pPr algn="l" fontAlgn="ctr"/>
                      <a:r>
                        <a:rPr lang="en-US" sz="900" b="0" i="0" u="none" strike="noStrike">
                          <a:solidFill>
                            <a:srgbClr val="000000"/>
                          </a:solidFill>
                          <a:effectLst/>
                          <a:latin typeface="Arial"/>
                        </a:rPr>
                        <a:t>Diluted Shares Outstanding</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fontAlgn="ctr"/>
                      <a:r>
                        <a:rPr lang="en-US" sz="900" b="0" i="0" u="none" strike="noStrike">
                          <a:solidFill>
                            <a:srgbClr val="000000"/>
                          </a:solidFill>
                          <a:effectLst/>
                          <a:latin typeface="Arial"/>
                        </a:rPr>
                        <a:t>     152.97 </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225144787"/>
                  </a:ext>
                </a:extLst>
              </a:tr>
              <a:tr h="191905">
                <a:tc>
                  <a:txBody>
                    <a:bodyPr/>
                    <a:lstStyle/>
                    <a:p>
                      <a:pPr algn="l" fontAlgn="ctr"/>
                      <a:r>
                        <a:rPr lang="en-US" sz="900" b="0" i="0" u="none" strike="noStrike">
                          <a:solidFill>
                            <a:srgbClr val="000000"/>
                          </a:solidFill>
                          <a:effectLst/>
                          <a:latin typeface="Arial"/>
                        </a:rPr>
                        <a:t>Implied Share Price</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a:noFill/>
                    </a:lnB>
                    <a:noFill/>
                  </a:tcPr>
                </a:tc>
                <a:tc>
                  <a:txBody>
                    <a:bodyPr/>
                    <a:lstStyle/>
                    <a:p>
                      <a:pPr algn="r" fontAlgn="ctr"/>
                      <a:r>
                        <a:rPr lang="en-US" sz="900" b="0" i="0" u="none" strike="noStrike">
                          <a:solidFill>
                            <a:srgbClr val="000000"/>
                          </a:solidFill>
                          <a:effectLst/>
                          <a:latin typeface="Arial"/>
                        </a:rPr>
                        <a:t> $       15.84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214466846"/>
                  </a:ext>
                </a:extLst>
              </a:tr>
              <a:tr h="191905">
                <a:tc>
                  <a:txBody>
                    <a:bodyPr/>
                    <a:lstStyle/>
                    <a:p>
                      <a:pPr algn="l" fontAlgn="ctr"/>
                      <a:r>
                        <a:rPr lang="en-US" sz="900" b="0" i="0" u="none" strike="noStrike">
                          <a:solidFill>
                            <a:srgbClr val="000000"/>
                          </a:solidFill>
                          <a:effectLst/>
                          <a:latin typeface="Arial"/>
                        </a:rPr>
                        <a:t>Current Share Price</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en-US" sz="900" b="0" i="0" u="none" strike="noStrike">
                        <a:solidFill>
                          <a:srgbClr val="000000"/>
                        </a:solidFill>
                        <a:effectLst/>
                        <a:latin typeface="Arial"/>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US" sz="900" b="0" i="0" u="none" strike="noStrike">
                          <a:solidFill>
                            <a:srgbClr val="000000"/>
                          </a:solidFill>
                          <a:effectLst/>
                          <a:latin typeface="Arial"/>
                        </a:rPr>
                        <a:t> $       13.15 </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99342509"/>
                  </a:ext>
                </a:extLst>
              </a:tr>
              <a:tr h="127604">
                <a:tc gridSpan="2">
                  <a:txBody>
                    <a:bodyPr/>
                    <a:lstStyle/>
                    <a:p>
                      <a:pPr algn="l" fontAlgn="ctr"/>
                      <a:r>
                        <a:rPr lang="en-US" sz="900" b="1" i="1" u="none" strike="noStrike">
                          <a:solidFill>
                            <a:srgbClr val="000000"/>
                          </a:solidFill>
                          <a:effectLst/>
                          <a:latin typeface="Arial"/>
                        </a:rPr>
                        <a:t>Implied Upside (Downside)</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9F8"/>
                    </a:solidFill>
                  </a:tcPr>
                </a:tc>
                <a:tc hMerge="1">
                  <a:txBody>
                    <a:bodyPr/>
                    <a:lstStyle/>
                    <a:p>
                      <a:endParaRPr lang="en-US"/>
                    </a:p>
                  </a:txBody>
                  <a:tcPr/>
                </a:tc>
                <a:tc>
                  <a:txBody>
                    <a:bodyPr/>
                    <a:lstStyle/>
                    <a:p>
                      <a:pPr algn="r" fontAlgn="ctr"/>
                      <a:r>
                        <a:rPr lang="en-US" sz="900" b="1" i="0" u="none" strike="noStrike">
                          <a:solidFill>
                            <a:srgbClr val="000000"/>
                          </a:solidFill>
                          <a:effectLst/>
                          <a:latin typeface="Arial"/>
                        </a:rPr>
                        <a:t>20.45</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9F8"/>
                    </a:solidFill>
                  </a:tcPr>
                </a:tc>
                <a:extLst>
                  <a:ext uri="{0D108BD9-81ED-4DB2-BD59-A6C34878D82A}">
                    <a16:rowId xmlns:a16="http://schemas.microsoft.com/office/drawing/2014/main" val="2770490442"/>
                  </a:ext>
                </a:extLst>
              </a:tr>
            </a:tbl>
          </a:graphicData>
        </a:graphic>
      </p:graphicFrame>
      <p:graphicFrame>
        <p:nvGraphicFramePr>
          <p:cNvPr id="11" name="Table 10">
            <a:extLst>
              <a:ext uri="{FF2B5EF4-FFF2-40B4-BE49-F238E27FC236}">
                <a16:creationId xmlns:a16="http://schemas.microsoft.com/office/drawing/2014/main" id="{1C98F55B-F4FB-BF8A-5A8F-DC40AAF503AF}"/>
              </a:ext>
            </a:extLst>
          </p:cNvPr>
          <p:cNvGraphicFramePr>
            <a:graphicFrameLocks noGrp="1"/>
          </p:cNvGraphicFramePr>
          <p:nvPr>
            <p:extLst>
              <p:ext uri="{D42A27DB-BD31-4B8C-83A1-F6EECF244321}">
                <p14:modId xmlns:p14="http://schemas.microsoft.com/office/powerpoint/2010/main" val="922423239"/>
              </p:ext>
            </p:extLst>
          </p:nvPr>
        </p:nvGraphicFramePr>
        <p:xfrm>
          <a:off x="5032898" y="3650075"/>
          <a:ext cx="3860277" cy="2537011"/>
        </p:xfrm>
        <a:graphic>
          <a:graphicData uri="http://schemas.openxmlformats.org/drawingml/2006/table">
            <a:tbl>
              <a:tblPr bandRow="1">
                <a:tableStyleId>{5C22544A-7EE6-4342-B048-85BDC9FD1C3A}</a:tableStyleId>
              </a:tblPr>
              <a:tblGrid>
                <a:gridCol w="1286759">
                  <a:extLst>
                    <a:ext uri="{9D8B030D-6E8A-4147-A177-3AD203B41FA5}">
                      <a16:colId xmlns:a16="http://schemas.microsoft.com/office/drawing/2014/main" val="2296492773"/>
                    </a:ext>
                  </a:extLst>
                </a:gridCol>
                <a:gridCol w="1286759">
                  <a:extLst>
                    <a:ext uri="{9D8B030D-6E8A-4147-A177-3AD203B41FA5}">
                      <a16:colId xmlns:a16="http://schemas.microsoft.com/office/drawing/2014/main" val="1308012193"/>
                    </a:ext>
                  </a:extLst>
                </a:gridCol>
                <a:gridCol w="1286759">
                  <a:extLst>
                    <a:ext uri="{9D8B030D-6E8A-4147-A177-3AD203B41FA5}">
                      <a16:colId xmlns:a16="http://schemas.microsoft.com/office/drawing/2014/main" val="1673225975"/>
                    </a:ext>
                  </a:extLst>
                </a:gridCol>
              </a:tblGrid>
              <a:tr h="143758">
                <a:tc gridSpan="2">
                  <a:txBody>
                    <a:bodyPr/>
                    <a:lstStyle/>
                    <a:p>
                      <a:pPr algn="l" fontAlgn="ctr"/>
                      <a:r>
                        <a:rPr lang="en-CA" sz="900" b="1" i="0" u="none" strike="noStrike">
                          <a:solidFill>
                            <a:srgbClr val="FFFFFF"/>
                          </a:solidFill>
                          <a:effectLst/>
                          <a:latin typeface="Arial" panose="020B0604020202020204" pitchFamily="34" charset="0"/>
                        </a:rPr>
                        <a:t>WACC Assump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5"/>
                    </a:solidFill>
                  </a:tcPr>
                </a:tc>
                <a:tc hMerge="1">
                  <a:txBody>
                    <a:bodyPr/>
                    <a:lstStyle/>
                    <a:p>
                      <a:endParaRPr lang="en-US"/>
                    </a:p>
                  </a:txBody>
                  <a:tcPr/>
                </a:tc>
                <a:tc>
                  <a:txBody>
                    <a:bodyPr/>
                    <a:lstStyle/>
                    <a:p>
                      <a:pPr algn="l" fontAlgn="ctr"/>
                      <a:r>
                        <a:rPr lang="en-CA" sz="900" b="1" i="0" u="none" strike="noStrike">
                          <a:solidFill>
                            <a:srgbClr val="FFFFFF"/>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5"/>
                    </a:solidFill>
                  </a:tcPr>
                </a:tc>
                <a:extLst>
                  <a:ext uri="{0D108BD9-81ED-4DB2-BD59-A6C34878D82A}">
                    <a16:rowId xmlns:a16="http://schemas.microsoft.com/office/drawing/2014/main" val="3360048349"/>
                  </a:ext>
                </a:extLst>
              </a:tr>
              <a:tr h="181656">
                <a:tc gridSpan="2">
                  <a:txBody>
                    <a:bodyPr/>
                    <a:lstStyle/>
                    <a:p>
                      <a:pPr algn="l" fontAlgn="ctr"/>
                      <a:r>
                        <a:rPr lang="en-CA" sz="900" b="0" i="0" u="none" strike="noStrike">
                          <a:solidFill>
                            <a:srgbClr val="000000"/>
                          </a:solidFill>
                          <a:effectLst/>
                          <a:latin typeface="Arial" panose="020B0604020202020204" pitchFamily="34" charset="0"/>
                        </a:rPr>
                        <a:t>Risk-Free Rate</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hMerge="1">
                  <a:txBody>
                    <a:bodyPr/>
                    <a:lstStyle/>
                    <a:p>
                      <a:endParaRPr lang="en-US"/>
                    </a:p>
                  </a:txBody>
                  <a:tcPr/>
                </a:tc>
                <a:tc>
                  <a:txBody>
                    <a:bodyPr/>
                    <a:lstStyle/>
                    <a:p>
                      <a:pPr algn="r" fontAlgn="ctr"/>
                      <a:r>
                        <a:rPr lang="en-CA" sz="900" b="0" i="0" u="none" strike="noStrike">
                          <a:solidFill>
                            <a:srgbClr val="000000"/>
                          </a:solidFill>
                          <a:effectLst/>
                          <a:latin typeface="Arial" panose="020B0604020202020204" pitchFamily="34" charset="0"/>
                        </a:rPr>
                        <a:t>3.11%</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998151433"/>
                  </a:ext>
                </a:extLst>
              </a:tr>
              <a:tr h="181656">
                <a:tc gridSpan="2">
                  <a:txBody>
                    <a:bodyPr/>
                    <a:lstStyle/>
                    <a:p>
                      <a:pPr algn="l" fontAlgn="ctr"/>
                      <a:r>
                        <a:rPr lang="en-CA" sz="900" b="0" i="0" u="none" strike="noStrike">
                          <a:solidFill>
                            <a:srgbClr val="000000"/>
                          </a:solidFill>
                          <a:effectLst/>
                          <a:latin typeface="Arial" panose="020B0604020202020204" pitchFamily="34" charset="0"/>
                        </a:rPr>
                        <a:t>Credit Rating</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en-US"/>
                    </a:p>
                  </a:txBody>
                  <a:tcPr/>
                </a:tc>
                <a:tc>
                  <a:txBody>
                    <a:bodyPr/>
                    <a:lstStyle/>
                    <a:p>
                      <a:pPr algn="r" fontAlgn="ctr"/>
                      <a:r>
                        <a:rPr lang="en-CA" sz="900" b="0" i="0" u="none" strike="noStrike">
                          <a:solidFill>
                            <a:srgbClr val="000000"/>
                          </a:solidFill>
                          <a:effectLst/>
                          <a:latin typeface="Arial" panose="020B0604020202020204" pitchFamily="34" charset="0"/>
                        </a:rPr>
                        <a:t>B1/B+</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45284644"/>
                  </a:ext>
                </a:extLst>
              </a:tr>
              <a:tr h="181656">
                <a:tc>
                  <a:txBody>
                    <a:bodyPr/>
                    <a:lstStyle/>
                    <a:p>
                      <a:pPr algn="l" fontAlgn="ctr"/>
                      <a:r>
                        <a:rPr lang="en-CA" sz="900" b="0" i="0" u="none" strike="noStrike">
                          <a:solidFill>
                            <a:srgbClr val="000000"/>
                          </a:solidFill>
                          <a:effectLst/>
                          <a:latin typeface="Arial" panose="020B0604020202020204" pitchFamily="34" charset="0"/>
                        </a:rPr>
                        <a:t>Beta</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r>
                        <a:rPr lang="en-CA" sz="900" b="0" i="0" u="none" strike="noStrike">
                          <a:solidFill>
                            <a:srgbClr val="000000"/>
                          </a:solidFill>
                          <a:effectLst/>
                          <a:latin typeface="Arial" panose="020B0604020202020204" pitchFamily="34" charset="0"/>
                        </a:rPr>
                        <a:t> </a:t>
                      </a:r>
                    </a:p>
                  </a:txBody>
                  <a:tcPr marL="0" marR="0" marT="0" marB="0" anchor="ctr">
                    <a:lnL>
                      <a:noFill/>
                    </a:lnL>
                    <a:lnR>
                      <a:noFill/>
                    </a:lnR>
                    <a:lnT>
                      <a:noFill/>
                    </a:lnT>
                    <a:lnB>
                      <a:noFill/>
                    </a:lnB>
                    <a:solidFill>
                      <a:srgbClr val="FFFFFF"/>
                    </a:solidFill>
                  </a:tcPr>
                </a:tc>
                <a:tc>
                  <a:txBody>
                    <a:bodyPr/>
                    <a:lstStyle/>
                    <a:p>
                      <a:pPr algn="r" fontAlgn="ctr"/>
                      <a:r>
                        <a:rPr lang="en-CA" sz="900" b="0" i="0" u="none" strike="noStrike">
                          <a:solidFill>
                            <a:srgbClr val="000000"/>
                          </a:solidFill>
                          <a:effectLst/>
                          <a:latin typeface="Arial" panose="020B0604020202020204" pitchFamily="34" charset="0"/>
                        </a:rPr>
                        <a:t>1.78</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832563952"/>
                  </a:ext>
                </a:extLst>
              </a:tr>
              <a:tr h="181656">
                <a:tc gridSpan="2">
                  <a:txBody>
                    <a:bodyPr/>
                    <a:lstStyle/>
                    <a:p>
                      <a:pPr algn="l" fontAlgn="ctr"/>
                      <a:r>
                        <a:rPr lang="en-CA" sz="900" b="0" i="0" u="none" strike="noStrike">
                          <a:solidFill>
                            <a:srgbClr val="000000"/>
                          </a:solidFill>
                          <a:effectLst/>
                          <a:latin typeface="Arial" panose="020B0604020202020204" pitchFamily="34" charset="0"/>
                        </a:rPr>
                        <a:t>Market Risk Premium</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hMerge="1">
                  <a:txBody>
                    <a:bodyPr/>
                    <a:lstStyle/>
                    <a:p>
                      <a:endParaRPr lang="en-US"/>
                    </a:p>
                  </a:txBody>
                  <a:tcPr/>
                </a:tc>
                <a:tc>
                  <a:txBody>
                    <a:bodyPr/>
                    <a:lstStyle/>
                    <a:p>
                      <a:pPr algn="r" fontAlgn="ctr"/>
                      <a:r>
                        <a:rPr lang="en-CA" sz="900" b="0" i="0" u="none" strike="noStrike">
                          <a:solidFill>
                            <a:srgbClr val="000000"/>
                          </a:solidFill>
                          <a:effectLst/>
                          <a:latin typeface="Arial" panose="020B0604020202020204" pitchFamily="34" charset="0"/>
                        </a:rPr>
                        <a:t>3.95%</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323374581"/>
                  </a:ext>
                </a:extLst>
              </a:tr>
              <a:tr h="181656">
                <a:tc>
                  <a:txBody>
                    <a:bodyPr/>
                    <a:lstStyle/>
                    <a:p>
                      <a:pPr algn="l" fontAlgn="ctr"/>
                      <a:r>
                        <a:rPr lang="en-CA" sz="900" b="0" i="0" u="none" strike="noStrike">
                          <a:solidFill>
                            <a:srgbClr val="000000"/>
                          </a:solidFill>
                          <a:effectLst/>
                          <a:latin typeface="Arial" panose="020B0604020202020204" pitchFamily="34" charset="0"/>
                        </a:rPr>
                        <a:t>Equity Value</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r>
                        <a:rPr lang="en-CA" sz="900" b="0" i="0" u="none" strike="noStrike">
                          <a:solidFill>
                            <a:srgbClr val="000000"/>
                          </a:solidFill>
                          <a:effectLst/>
                          <a:latin typeface="Arial" panose="020B0604020202020204" pitchFamily="34" charset="0"/>
                        </a:rPr>
                        <a:t> </a:t>
                      </a:r>
                    </a:p>
                  </a:txBody>
                  <a:tcPr marL="0" marR="0" marT="0" marB="0" anchor="ctr">
                    <a:lnL>
                      <a:noFill/>
                    </a:lnL>
                    <a:lnR>
                      <a:noFill/>
                    </a:lnR>
                    <a:lnT>
                      <a:noFill/>
                    </a:lnT>
                    <a:lnB>
                      <a:noFill/>
                    </a:lnB>
                    <a:solidFill>
                      <a:srgbClr val="FFFFFF"/>
                    </a:solidFill>
                  </a:tcPr>
                </a:tc>
                <a:tc>
                  <a:txBody>
                    <a:bodyPr/>
                    <a:lstStyle/>
                    <a:p>
                      <a:pPr algn="r" fontAlgn="ctr"/>
                      <a:r>
                        <a:rPr lang="en-CA" sz="900" b="0" i="0" u="none" strike="noStrike">
                          <a:solidFill>
                            <a:srgbClr val="000000"/>
                          </a:solidFill>
                          <a:effectLst/>
                          <a:latin typeface="Arial" panose="020B0604020202020204" pitchFamily="34" charset="0"/>
                        </a:rPr>
                        <a:t> $  2,011.95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128846405"/>
                  </a:ext>
                </a:extLst>
              </a:tr>
              <a:tr h="181656">
                <a:tc>
                  <a:txBody>
                    <a:bodyPr/>
                    <a:lstStyle/>
                    <a:p>
                      <a:pPr algn="l" fontAlgn="ctr"/>
                      <a:r>
                        <a:rPr lang="en-CA" sz="900" b="0" i="0" u="none" strike="noStrike">
                          <a:solidFill>
                            <a:srgbClr val="000000"/>
                          </a:solidFill>
                          <a:effectLst/>
                          <a:latin typeface="Arial" panose="020B0604020202020204" pitchFamily="34" charset="0"/>
                        </a:rPr>
                        <a:t>Weight</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CA" sz="900" b="0" i="0" u="none" strike="noStrike">
                          <a:solidFill>
                            <a:srgbClr val="000000"/>
                          </a:solidFill>
                          <a:effectLst/>
                          <a:latin typeface="Arial" panose="020B0604020202020204" pitchFamily="34" charset="0"/>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CA" sz="900" b="0" i="0" u="none" strike="noStrike">
                          <a:solidFill>
                            <a:srgbClr val="000000"/>
                          </a:solidFill>
                          <a:effectLst/>
                          <a:latin typeface="Arial" panose="020B0604020202020204" pitchFamily="34" charset="0"/>
                        </a:rPr>
                        <a:t>99.20%</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1338319"/>
                  </a:ext>
                </a:extLst>
              </a:tr>
              <a:tr h="238423">
                <a:tc gridSpan="2">
                  <a:txBody>
                    <a:bodyPr/>
                    <a:lstStyle/>
                    <a:p>
                      <a:pPr algn="l" fontAlgn="ctr"/>
                      <a:r>
                        <a:rPr lang="en-CA" sz="900" b="1" i="0" u="none" strike="noStrike">
                          <a:solidFill>
                            <a:srgbClr val="000000"/>
                          </a:solidFill>
                          <a:effectLst/>
                          <a:latin typeface="Arial" panose="020B0604020202020204" pitchFamily="34" charset="0"/>
                        </a:rPr>
                        <a:t>Cost of Equity</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r" fontAlgn="ctr"/>
                      <a:r>
                        <a:rPr lang="en-CA" sz="900" b="1" i="0" u="none" strike="noStrike">
                          <a:solidFill>
                            <a:srgbClr val="000000"/>
                          </a:solidFill>
                          <a:effectLst/>
                          <a:latin typeface="Arial" panose="020B0604020202020204" pitchFamily="34" charset="0"/>
                        </a:rPr>
                        <a:t>10.14%</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04484790"/>
                  </a:ext>
                </a:extLst>
              </a:tr>
              <a:tr h="181656">
                <a:tc gridSpan="2">
                  <a:txBody>
                    <a:bodyPr/>
                    <a:lstStyle/>
                    <a:p>
                      <a:pPr algn="l" fontAlgn="ctr"/>
                      <a:r>
                        <a:rPr lang="en-CA" sz="900" b="0" i="0" u="none" strike="noStrike">
                          <a:solidFill>
                            <a:srgbClr val="000000"/>
                          </a:solidFill>
                          <a:effectLst/>
                          <a:latin typeface="Arial" panose="020B0604020202020204" pitchFamily="34" charset="0"/>
                        </a:rPr>
                        <a:t>Cost of Debt (Pre-Tax)</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hMerge="1">
                  <a:txBody>
                    <a:bodyPr/>
                    <a:lstStyle/>
                    <a:p>
                      <a:endParaRPr lang="en-US"/>
                    </a:p>
                  </a:txBody>
                  <a:tcPr/>
                </a:tc>
                <a:tc>
                  <a:txBody>
                    <a:bodyPr/>
                    <a:lstStyle/>
                    <a:p>
                      <a:pPr algn="r" fontAlgn="ctr"/>
                      <a:r>
                        <a:rPr lang="en-CA" sz="900" b="0" i="0" u="none" strike="noStrike">
                          <a:solidFill>
                            <a:srgbClr val="000000"/>
                          </a:solidFill>
                          <a:effectLst/>
                          <a:latin typeface="Arial" panose="020B0604020202020204" pitchFamily="34" charset="0"/>
                        </a:rPr>
                        <a:t>4.94%</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92488225"/>
                  </a:ext>
                </a:extLst>
              </a:tr>
              <a:tr h="238423">
                <a:tc>
                  <a:txBody>
                    <a:bodyPr/>
                    <a:lstStyle/>
                    <a:p>
                      <a:pPr algn="l" fontAlgn="ctr"/>
                      <a:r>
                        <a:rPr lang="en-CA" sz="900" b="0" i="0" u="none" strike="noStrike">
                          <a:solidFill>
                            <a:srgbClr val="000000"/>
                          </a:solidFill>
                          <a:effectLst/>
                          <a:latin typeface="Arial" panose="020B0604020202020204" pitchFamily="34" charset="0"/>
                        </a:rPr>
                        <a:t>Net Debt</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ctr"/>
                      <a:r>
                        <a:rPr lang="en-CA" sz="900" b="0" i="0" u="none" strike="noStrike">
                          <a:solidFill>
                            <a:srgbClr val="000000"/>
                          </a:solidFill>
                          <a:effectLst/>
                          <a:latin typeface="Arial" panose="020B0604020202020204" pitchFamily="34" charset="0"/>
                        </a:rPr>
                        <a:t> </a:t>
                      </a:r>
                    </a:p>
                  </a:txBody>
                  <a:tcPr marL="0" marR="0" marT="0" marB="0" anchor="ctr">
                    <a:lnL>
                      <a:noFill/>
                    </a:lnL>
                    <a:lnR>
                      <a:noFill/>
                    </a:lnR>
                    <a:lnT>
                      <a:noFill/>
                    </a:lnT>
                    <a:lnB>
                      <a:noFill/>
                    </a:lnB>
                    <a:solidFill>
                      <a:srgbClr val="FFFFFF"/>
                    </a:solidFill>
                  </a:tcPr>
                </a:tc>
                <a:tc>
                  <a:txBody>
                    <a:bodyPr/>
                    <a:lstStyle/>
                    <a:p>
                      <a:pPr algn="r" fontAlgn="ctr"/>
                      <a:r>
                        <a:rPr lang="en-CA" sz="900" b="0" i="0" u="none" strike="noStrike">
                          <a:solidFill>
                            <a:srgbClr val="000000"/>
                          </a:solidFill>
                          <a:effectLst/>
                          <a:latin typeface="Arial" panose="020B0604020202020204" pitchFamily="34" charset="0"/>
                        </a:rPr>
                        <a:t>(648.60)</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007094776"/>
                  </a:ext>
                </a:extLst>
              </a:tr>
              <a:tr h="181656">
                <a:tc>
                  <a:txBody>
                    <a:bodyPr/>
                    <a:lstStyle/>
                    <a:p>
                      <a:pPr algn="l" fontAlgn="ctr"/>
                      <a:r>
                        <a:rPr lang="en-CA" sz="900" b="0" i="0" u="none" strike="noStrike">
                          <a:solidFill>
                            <a:srgbClr val="000000"/>
                          </a:solidFill>
                          <a:effectLst/>
                          <a:latin typeface="Arial" panose="020B0604020202020204" pitchFamily="34" charset="0"/>
                        </a:rPr>
                        <a:t>Weight</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CA" sz="900" b="0" i="0" u="none" strike="noStrike">
                          <a:solidFill>
                            <a:srgbClr val="000000"/>
                          </a:solidFill>
                          <a:effectLst/>
                          <a:latin typeface="Arial" panose="020B0604020202020204" pitchFamily="34" charset="0"/>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CA" sz="900" b="0" i="0" u="none" strike="noStrike">
                          <a:solidFill>
                            <a:srgbClr val="000000"/>
                          </a:solidFill>
                          <a:effectLst/>
                          <a:latin typeface="Arial" panose="020B0604020202020204" pitchFamily="34" charset="0"/>
                        </a:rPr>
                        <a:t>0.80%</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7971162"/>
                  </a:ext>
                </a:extLst>
              </a:tr>
              <a:tr h="325999">
                <a:tc gridSpan="2">
                  <a:txBody>
                    <a:bodyPr/>
                    <a:lstStyle/>
                    <a:p>
                      <a:pPr algn="l" fontAlgn="ctr"/>
                      <a:r>
                        <a:rPr lang="en-CA" sz="900" b="1" i="0" u="none" strike="noStrike">
                          <a:solidFill>
                            <a:srgbClr val="000000"/>
                          </a:solidFill>
                          <a:effectLst/>
                          <a:latin typeface="Arial" panose="020B0604020202020204" pitchFamily="34" charset="0"/>
                        </a:rPr>
                        <a:t>Cost of Debt</a:t>
                      </a:r>
                    </a:p>
                  </a:txBody>
                  <a:tcPr marL="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r" fontAlgn="ctr"/>
                      <a:r>
                        <a:rPr lang="en-CA" sz="900" b="1" i="0" u="none" strike="noStrike">
                          <a:solidFill>
                            <a:srgbClr val="000000"/>
                          </a:solidFill>
                          <a:effectLst/>
                          <a:latin typeface="Arial" panose="020B0604020202020204" pitchFamily="34" charset="0"/>
                        </a:rPr>
                        <a:t>4.20%</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65493948"/>
                  </a:ext>
                </a:extLst>
              </a:tr>
              <a:tr h="0">
                <a:tc>
                  <a:txBody>
                    <a:bodyPr/>
                    <a:lstStyle/>
                    <a:p>
                      <a:pPr algn="l" fontAlgn="ctr"/>
                      <a:r>
                        <a:rPr lang="en-CA" sz="900" b="1" i="0" u="none" strike="noStrike">
                          <a:solidFill>
                            <a:srgbClr val="000000"/>
                          </a:solidFill>
                          <a:effectLst/>
                          <a:latin typeface="Arial" panose="020B0604020202020204" pitchFamily="34" charset="0"/>
                        </a:rPr>
                        <a:t>WACC</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9F8"/>
                    </a:solidFill>
                  </a:tcPr>
                </a:tc>
                <a:tc>
                  <a:txBody>
                    <a:bodyPr/>
                    <a:lstStyle/>
                    <a:p>
                      <a:pPr algn="l" fontAlgn="ctr"/>
                      <a:r>
                        <a:rPr lang="en-CA" sz="900" b="1" i="0" u="none" strike="noStrike">
                          <a:solidFill>
                            <a:srgbClr val="000000"/>
                          </a:solidFill>
                          <a:effectLst/>
                          <a:latin typeface="Arial" panose="020B0604020202020204" pitchFamily="34" charset="0"/>
                        </a:rPr>
                        <a:t>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9F8"/>
                    </a:solidFill>
                  </a:tcPr>
                </a:tc>
                <a:tc>
                  <a:txBody>
                    <a:bodyPr/>
                    <a:lstStyle/>
                    <a:p>
                      <a:pPr algn="r" fontAlgn="ctr"/>
                      <a:r>
                        <a:rPr lang="en-CA" sz="900" b="1" i="0" u="none" strike="noStrike">
                          <a:solidFill>
                            <a:srgbClr val="000000"/>
                          </a:solidFill>
                          <a:effectLst/>
                          <a:latin typeface="Arial" panose="020B0604020202020204" pitchFamily="34" charset="0"/>
                        </a:rPr>
                        <a:t>10.10%</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9F8"/>
                    </a:solidFill>
                  </a:tcPr>
                </a:tc>
                <a:extLst>
                  <a:ext uri="{0D108BD9-81ED-4DB2-BD59-A6C34878D82A}">
                    <a16:rowId xmlns:a16="http://schemas.microsoft.com/office/drawing/2014/main" val="3137484766"/>
                  </a:ext>
                </a:extLst>
              </a:tr>
            </a:tbl>
          </a:graphicData>
        </a:graphic>
      </p:graphicFrame>
    </p:spTree>
    <p:extLst>
      <p:ext uri="{BB962C8B-B14F-4D97-AF65-F5344CB8AC3E}">
        <p14:creationId xmlns:p14="http://schemas.microsoft.com/office/powerpoint/2010/main" val="11553820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B32F66-B633-0698-3308-A4DB2C5C2EC8}"/>
              </a:ext>
            </a:extLst>
          </p:cNvPr>
          <p:cNvSpPr>
            <a:spLocks noGrp="1"/>
          </p:cNvSpPr>
          <p:nvPr>
            <p:ph type="body" sz="quarter" idx="21"/>
          </p:nvPr>
        </p:nvSpPr>
        <p:spPr/>
        <p:txBody>
          <a:bodyPr/>
          <a:lstStyle/>
          <a:p>
            <a:endParaRPr lang="en-US"/>
          </a:p>
        </p:txBody>
      </p:sp>
      <p:sp>
        <p:nvSpPr>
          <p:cNvPr id="4" name="Title 3">
            <a:extLst>
              <a:ext uri="{FF2B5EF4-FFF2-40B4-BE49-F238E27FC236}">
                <a16:creationId xmlns:a16="http://schemas.microsoft.com/office/drawing/2014/main" id="{551732DB-E401-9DD3-E639-1A78A542417B}"/>
              </a:ext>
            </a:extLst>
          </p:cNvPr>
          <p:cNvSpPr>
            <a:spLocks noGrp="1"/>
          </p:cNvSpPr>
          <p:nvPr>
            <p:ph type="title"/>
          </p:nvPr>
        </p:nvSpPr>
        <p:spPr/>
        <p:txBody>
          <a:bodyPr/>
          <a:lstStyle/>
          <a:p>
            <a:r>
              <a:rPr lang="en-US"/>
              <a:t>Appendix V – NWC Schedule</a:t>
            </a:r>
          </a:p>
        </p:txBody>
      </p:sp>
      <p:sp>
        <p:nvSpPr>
          <p:cNvPr id="5" name="Text Placeholder 4">
            <a:extLst>
              <a:ext uri="{FF2B5EF4-FFF2-40B4-BE49-F238E27FC236}">
                <a16:creationId xmlns:a16="http://schemas.microsoft.com/office/drawing/2014/main" id="{080A2A20-EF61-2B3E-C636-C22AE2E90531}"/>
              </a:ext>
            </a:extLst>
          </p:cNvPr>
          <p:cNvSpPr>
            <a:spLocks noGrp="1"/>
          </p:cNvSpPr>
          <p:nvPr>
            <p:ph type="body" sz="quarter" idx="13"/>
          </p:nvPr>
        </p:nvSpPr>
        <p:spPr/>
        <p:txBody>
          <a:bodyPr/>
          <a:lstStyle/>
          <a:p>
            <a:endParaRPr lang="en-US"/>
          </a:p>
        </p:txBody>
      </p:sp>
      <p:graphicFrame>
        <p:nvGraphicFramePr>
          <p:cNvPr id="12" name="Table Placeholder 11">
            <a:extLst>
              <a:ext uri="{FF2B5EF4-FFF2-40B4-BE49-F238E27FC236}">
                <a16:creationId xmlns:a16="http://schemas.microsoft.com/office/drawing/2014/main" id="{F0E679C3-8A3F-01DE-64E8-18C56A0ED98F}"/>
              </a:ext>
            </a:extLst>
          </p:cNvPr>
          <p:cNvGraphicFramePr>
            <a:graphicFrameLocks noGrp="1"/>
          </p:cNvGraphicFramePr>
          <p:nvPr>
            <p:ph type="tbl" sz="quarter" idx="14"/>
            <p:extLst>
              <p:ext uri="{D42A27DB-BD31-4B8C-83A1-F6EECF244321}">
                <p14:modId xmlns:p14="http://schemas.microsoft.com/office/powerpoint/2010/main" val="3628938494"/>
              </p:ext>
            </p:extLst>
          </p:nvPr>
        </p:nvGraphicFramePr>
        <p:xfrm>
          <a:off x="250825" y="1089396"/>
          <a:ext cx="8642354" cy="4228042"/>
        </p:xfrm>
        <a:graphic>
          <a:graphicData uri="http://schemas.openxmlformats.org/drawingml/2006/table">
            <a:tbl>
              <a:tblPr firstRow="1">
                <a:tableStyleId>{5C22544A-7EE6-4342-B048-85BDC9FD1C3A}</a:tableStyleId>
              </a:tblPr>
              <a:tblGrid>
                <a:gridCol w="1545938">
                  <a:extLst>
                    <a:ext uri="{9D8B030D-6E8A-4147-A177-3AD203B41FA5}">
                      <a16:colId xmlns:a16="http://schemas.microsoft.com/office/drawing/2014/main" val="4179032318"/>
                    </a:ext>
                  </a:extLst>
                </a:gridCol>
                <a:gridCol w="447018">
                  <a:extLst>
                    <a:ext uri="{9D8B030D-6E8A-4147-A177-3AD203B41FA5}">
                      <a16:colId xmlns:a16="http://schemas.microsoft.com/office/drawing/2014/main" val="2115195855"/>
                    </a:ext>
                  </a:extLst>
                </a:gridCol>
                <a:gridCol w="474957">
                  <a:extLst>
                    <a:ext uri="{9D8B030D-6E8A-4147-A177-3AD203B41FA5}">
                      <a16:colId xmlns:a16="http://schemas.microsoft.com/office/drawing/2014/main" val="190776300"/>
                    </a:ext>
                  </a:extLst>
                </a:gridCol>
                <a:gridCol w="474957">
                  <a:extLst>
                    <a:ext uri="{9D8B030D-6E8A-4147-A177-3AD203B41FA5}">
                      <a16:colId xmlns:a16="http://schemas.microsoft.com/office/drawing/2014/main" val="408194879"/>
                    </a:ext>
                  </a:extLst>
                </a:gridCol>
                <a:gridCol w="474957">
                  <a:extLst>
                    <a:ext uri="{9D8B030D-6E8A-4147-A177-3AD203B41FA5}">
                      <a16:colId xmlns:a16="http://schemas.microsoft.com/office/drawing/2014/main" val="3741924802"/>
                    </a:ext>
                  </a:extLst>
                </a:gridCol>
                <a:gridCol w="474957">
                  <a:extLst>
                    <a:ext uri="{9D8B030D-6E8A-4147-A177-3AD203B41FA5}">
                      <a16:colId xmlns:a16="http://schemas.microsoft.com/office/drawing/2014/main" val="1448157367"/>
                    </a:ext>
                  </a:extLst>
                </a:gridCol>
                <a:gridCol w="474957">
                  <a:extLst>
                    <a:ext uri="{9D8B030D-6E8A-4147-A177-3AD203B41FA5}">
                      <a16:colId xmlns:a16="http://schemas.microsoft.com/office/drawing/2014/main" val="4013471867"/>
                    </a:ext>
                  </a:extLst>
                </a:gridCol>
                <a:gridCol w="474957">
                  <a:extLst>
                    <a:ext uri="{9D8B030D-6E8A-4147-A177-3AD203B41FA5}">
                      <a16:colId xmlns:a16="http://schemas.microsoft.com/office/drawing/2014/main" val="893761845"/>
                    </a:ext>
                  </a:extLst>
                </a:gridCol>
                <a:gridCol w="474957">
                  <a:extLst>
                    <a:ext uri="{9D8B030D-6E8A-4147-A177-3AD203B41FA5}">
                      <a16:colId xmlns:a16="http://schemas.microsoft.com/office/drawing/2014/main" val="2204870245"/>
                    </a:ext>
                  </a:extLst>
                </a:gridCol>
                <a:gridCol w="474957">
                  <a:extLst>
                    <a:ext uri="{9D8B030D-6E8A-4147-A177-3AD203B41FA5}">
                      <a16:colId xmlns:a16="http://schemas.microsoft.com/office/drawing/2014/main" val="1558661993"/>
                    </a:ext>
                  </a:extLst>
                </a:gridCol>
                <a:gridCol w="474957">
                  <a:extLst>
                    <a:ext uri="{9D8B030D-6E8A-4147-A177-3AD203B41FA5}">
                      <a16:colId xmlns:a16="http://schemas.microsoft.com/office/drawing/2014/main" val="2897763834"/>
                    </a:ext>
                  </a:extLst>
                </a:gridCol>
                <a:gridCol w="474957">
                  <a:extLst>
                    <a:ext uri="{9D8B030D-6E8A-4147-A177-3AD203B41FA5}">
                      <a16:colId xmlns:a16="http://schemas.microsoft.com/office/drawing/2014/main" val="2591701854"/>
                    </a:ext>
                  </a:extLst>
                </a:gridCol>
                <a:gridCol w="474957">
                  <a:extLst>
                    <a:ext uri="{9D8B030D-6E8A-4147-A177-3AD203B41FA5}">
                      <a16:colId xmlns:a16="http://schemas.microsoft.com/office/drawing/2014/main" val="310305750"/>
                    </a:ext>
                  </a:extLst>
                </a:gridCol>
                <a:gridCol w="474957">
                  <a:extLst>
                    <a:ext uri="{9D8B030D-6E8A-4147-A177-3AD203B41FA5}">
                      <a16:colId xmlns:a16="http://schemas.microsoft.com/office/drawing/2014/main" val="2951752820"/>
                    </a:ext>
                  </a:extLst>
                </a:gridCol>
                <a:gridCol w="474957">
                  <a:extLst>
                    <a:ext uri="{9D8B030D-6E8A-4147-A177-3AD203B41FA5}">
                      <a16:colId xmlns:a16="http://schemas.microsoft.com/office/drawing/2014/main" val="918016893"/>
                    </a:ext>
                  </a:extLst>
                </a:gridCol>
                <a:gridCol w="474957">
                  <a:extLst>
                    <a:ext uri="{9D8B030D-6E8A-4147-A177-3AD203B41FA5}">
                      <a16:colId xmlns:a16="http://schemas.microsoft.com/office/drawing/2014/main" val="4275116249"/>
                    </a:ext>
                  </a:extLst>
                </a:gridCol>
              </a:tblGrid>
              <a:tr h="158319">
                <a:tc>
                  <a:txBody>
                    <a:bodyPr/>
                    <a:lstStyle/>
                    <a:p>
                      <a:pPr algn="l" fontAlgn="ctr"/>
                      <a:r>
                        <a:rPr lang="en-CA" sz="900" b="0" u="none" strike="noStrike">
                          <a:solidFill>
                            <a:schemeClr val="bg1"/>
                          </a:solidFill>
                          <a:effectLst/>
                        </a:rPr>
                        <a:t>NWC </a:t>
                      </a:r>
                    </a:p>
                  </a:txBody>
                  <a:tcPr marL="0" marR="0" marT="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tc>
                  <a:txBody>
                    <a:bodyPr/>
                    <a:lstStyle/>
                    <a:p>
                      <a:pPr algn="l" fontAlgn="ctr"/>
                      <a:r>
                        <a:rPr lang="en-CA" sz="900" b="1" u="none" strike="noStrike">
                          <a:solidFill>
                            <a:schemeClr val="bg1"/>
                          </a:solidFill>
                          <a:effectLst/>
                        </a:rPr>
                        <a:t> </a:t>
                      </a:r>
                      <a:endParaRPr lang="en-CA" sz="900" b="1" i="0" u="none" strike="noStrike">
                        <a:solidFill>
                          <a:schemeClr val="bg1"/>
                        </a:solidFill>
                        <a:effectLst/>
                        <a:latin typeface="Arial" panose="020B0604020202020204" pitchFamily="34"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F3555"/>
                    </a:solidFill>
                  </a:tcPr>
                </a:tc>
                <a:extLst>
                  <a:ext uri="{0D108BD9-81ED-4DB2-BD59-A6C34878D82A}">
                    <a16:rowId xmlns:a16="http://schemas.microsoft.com/office/drawing/2014/main" val="1321167347"/>
                  </a:ext>
                </a:extLst>
              </a:tr>
              <a:tr h="139693">
                <a:tc>
                  <a:txBody>
                    <a:bodyPr/>
                    <a:lstStyle/>
                    <a:p>
                      <a:pPr algn="l"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T w="12700" cmpd="sng">
                      <a:noFill/>
                    </a:lnT>
                    <a:solidFill>
                      <a:schemeClr val="bg1"/>
                    </a:solidFill>
                  </a:tcPr>
                </a:tc>
                <a:tc>
                  <a:txBody>
                    <a:bodyPr/>
                    <a:lstStyle/>
                    <a:p>
                      <a:pPr algn="r" fontAlgn="ctr"/>
                      <a:r>
                        <a:rPr lang="en-CA" sz="900" u="none" strike="noStrike">
                          <a:effectLst/>
                        </a:rPr>
                        <a:t>FY</a:t>
                      </a:r>
                      <a:endParaRPr lang="en-CA" sz="900" b="0" i="0" u="none" strike="noStrike">
                        <a:solidFill>
                          <a:srgbClr val="000000"/>
                        </a:solidFill>
                        <a:effectLst/>
                        <a:latin typeface="Arial" panose="020B0604020202020204" pitchFamily="34" charset="0"/>
                      </a:endParaRPr>
                    </a:p>
                  </a:txBody>
                  <a:tcPr marL="0" marR="0" marT="0" marB="0" anchor="ctr">
                    <a:lnT w="12700" cmpd="sng">
                      <a:noFill/>
                    </a:lnT>
                    <a:solidFill>
                      <a:schemeClr val="bg1"/>
                    </a:solidFill>
                  </a:tcPr>
                </a:tc>
                <a:tc>
                  <a:txBody>
                    <a:bodyPr/>
                    <a:lstStyle/>
                    <a:p>
                      <a:pPr algn="r" fontAlgn="ctr"/>
                      <a:r>
                        <a:rPr lang="en-CA" sz="900" u="none" strike="noStrike">
                          <a:effectLst/>
                        </a:rPr>
                        <a:t>FY</a:t>
                      </a:r>
                      <a:endParaRPr lang="en-CA" sz="900" b="0" i="0" u="none" strike="noStrike">
                        <a:solidFill>
                          <a:srgbClr val="000000"/>
                        </a:solidFill>
                        <a:effectLst/>
                        <a:latin typeface="Arial" panose="020B0604020202020204" pitchFamily="34" charset="0"/>
                      </a:endParaRPr>
                    </a:p>
                  </a:txBody>
                  <a:tcPr marL="0" marR="0" marT="0" marB="0" anchor="ctr">
                    <a:lnT w="12700" cmpd="sng">
                      <a:noFill/>
                    </a:lnT>
                    <a:solidFill>
                      <a:schemeClr val="bg1"/>
                    </a:solidFill>
                  </a:tcPr>
                </a:tc>
                <a:tc>
                  <a:txBody>
                    <a:bodyPr/>
                    <a:lstStyle/>
                    <a:p>
                      <a:pPr algn="r" fontAlgn="ctr"/>
                      <a:r>
                        <a:rPr lang="en-CA" sz="900" u="none" strike="noStrike">
                          <a:effectLst/>
                        </a:rPr>
                        <a:t>FY</a:t>
                      </a:r>
                      <a:endParaRPr lang="en-CA" sz="900" b="0" i="0" u="none" strike="noStrike">
                        <a:solidFill>
                          <a:srgbClr val="000000"/>
                        </a:solidFill>
                        <a:effectLst/>
                        <a:latin typeface="Arial" panose="020B0604020202020204" pitchFamily="34" charset="0"/>
                      </a:endParaRPr>
                    </a:p>
                  </a:txBody>
                  <a:tcPr marL="0" marR="0" marT="0" marB="0" anchor="ctr">
                    <a:lnT w="12700" cmpd="sng">
                      <a:noFill/>
                    </a:lnT>
                    <a:solidFill>
                      <a:schemeClr val="bg1"/>
                    </a:solidFill>
                  </a:tcPr>
                </a:tc>
                <a:tc>
                  <a:txBody>
                    <a:bodyPr/>
                    <a:lstStyle/>
                    <a:p>
                      <a:pPr algn="r" fontAlgn="ctr"/>
                      <a:r>
                        <a:rPr lang="en-CA" sz="900" u="none" strike="noStrike">
                          <a:effectLst/>
                        </a:rPr>
                        <a:t>FY</a:t>
                      </a:r>
                      <a:endParaRPr lang="en-CA" sz="900" b="0" i="0" u="none" strike="noStrike">
                        <a:solidFill>
                          <a:srgbClr val="000000"/>
                        </a:solidFill>
                        <a:effectLst/>
                        <a:latin typeface="Arial" panose="020B0604020202020204" pitchFamily="34" charset="0"/>
                      </a:endParaRPr>
                    </a:p>
                  </a:txBody>
                  <a:tcPr marL="0" marR="0" marT="0" marB="0" anchor="ctr">
                    <a:lnT w="12700" cmpd="sng">
                      <a:noFill/>
                    </a:lnT>
                    <a:solidFill>
                      <a:schemeClr val="bg1"/>
                    </a:solidFill>
                  </a:tcPr>
                </a:tc>
                <a:tc>
                  <a:txBody>
                    <a:bodyPr/>
                    <a:lstStyle/>
                    <a:p>
                      <a:pPr algn="r" fontAlgn="ctr"/>
                      <a:r>
                        <a:rPr lang="en-CA" sz="900" u="none" strike="noStrike">
                          <a:effectLst/>
                        </a:rPr>
                        <a:t>FY</a:t>
                      </a:r>
                      <a:endParaRPr lang="en-CA" sz="900" b="0" i="0" u="none" strike="noStrike">
                        <a:solidFill>
                          <a:srgbClr val="000000"/>
                        </a:solidFill>
                        <a:effectLst/>
                        <a:latin typeface="Arial" panose="020B0604020202020204" pitchFamily="34" charset="0"/>
                      </a:endParaRPr>
                    </a:p>
                  </a:txBody>
                  <a:tcPr marL="0" marR="0" marT="0" marB="0" anchor="ctr">
                    <a:lnT w="12700" cmpd="sng">
                      <a:noFill/>
                    </a:lnT>
                    <a:solidFill>
                      <a:schemeClr val="bg1"/>
                    </a:solidFill>
                  </a:tcPr>
                </a:tc>
                <a:tc gridSpan="10">
                  <a:txBody>
                    <a:bodyPr/>
                    <a:lstStyle/>
                    <a:p>
                      <a:pPr lvl="1" algn="ctr" fontAlgn="ctr"/>
                      <a:r>
                        <a:rPr lang="en-CA" sz="900" u="none" strike="noStrike">
                          <a:effectLst/>
                        </a:rPr>
                        <a:t>        Projected</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lvl="1" algn="ctr" fontAlgn="ctr"/>
                      <a:endParaRPr lang="en-CA" sz="900" b="0" i="0" u="none" strike="noStrike">
                        <a:solidFill>
                          <a:srgbClr val="000000"/>
                        </a:solidFill>
                        <a:effectLst/>
                        <a:latin typeface="Arial" panose="020B0604020202020204" pitchFamily="34" charset="0"/>
                      </a:endParaRPr>
                    </a:p>
                  </a:txBody>
                  <a:tcPr marL="0" marR="0" marT="0" marB="0" anchor="ctr">
                    <a:lnT w="12700" cmpd="sng">
                      <a:noFill/>
                    </a:lnT>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81838765"/>
                  </a:ext>
                </a:extLst>
              </a:tr>
              <a:tr h="139693">
                <a:tc>
                  <a:txBody>
                    <a:bodyPr/>
                    <a:lstStyle/>
                    <a:p>
                      <a:pPr algn="l" fontAlgn="ctr"/>
                      <a:r>
                        <a:rPr lang="en-CA" sz="900" i="1" u="none" strike="noStrike">
                          <a:effectLst/>
                        </a:rPr>
                        <a:t>in millions</a:t>
                      </a:r>
                      <a:endParaRPr lang="en-CA" sz="900" b="0" i="1"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20A</a:t>
                      </a:r>
                      <a:endParaRPr lang="en-CA" sz="900" b="0"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21A</a:t>
                      </a:r>
                      <a:endParaRPr lang="en-CA" sz="900" b="0"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22A</a:t>
                      </a:r>
                      <a:endParaRPr lang="en-CA" sz="900" b="0"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23A</a:t>
                      </a:r>
                      <a:endParaRPr lang="en-CA" sz="900" b="0"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24A</a:t>
                      </a:r>
                      <a:endParaRPr lang="en-CA" sz="900" b="0"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25E</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26E</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27E</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28E</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29E</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30E</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31E</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32E</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33E</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u="none" strike="noStrike">
                          <a:effectLst/>
                        </a:rPr>
                        <a:t>2034E</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23913517"/>
                  </a:ext>
                </a:extLst>
              </a:tr>
              <a:tr h="139693">
                <a:tc>
                  <a:txBody>
                    <a:bodyPr/>
                    <a:lstStyle/>
                    <a:p>
                      <a:pPr algn="l"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33594743"/>
                  </a:ext>
                </a:extLst>
              </a:tr>
              <a:tr h="139693">
                <a:tc>
                  <a:txBody>
                    <a:bodyPr/>
                    <a:lstStyle/>
                    <a:p>
                      <a:pPr algn="l" fontAlgn="ctr"/>
                      <a:r>
                        <a:rPr lang="en-CA" sz="900" b="1" u="none" strike="noStrike">
                          <a:effectLst/>
                        </a:rPr>
                        <a:t>Current Assets</a:t>
                      </a:r>
                      <a:endParaRPr lang="en-CA" sz="900" b="1"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05421056"/>
                  </a:ext>
                </a:extLst>
              </a:tr>
              <a:tr h="279386">
                <a:tc>
                  <a:txBody>
                    <a:bodyPr/>
                    <a:lstStyle/>
                    <a:p>
                      <a:pPr algn="l" fontAlgn="ctr"/>
                      <a:r>
                        <a:rPr lang="en-CA" sz="900" u="none" strike="noStrike">
                          <a:effectLst/>
                        </a:rPr>
                        <a:t>Accounts and Other Receivables</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0.9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22.5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44.0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64.2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74.6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88.07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02.77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12.96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29.41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38.11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53.83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69.35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84.36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201.86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217.72 </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4244866766"/>
                  </a:ext>
                </a:extLst>
              </a:tr>
              <a:tr h="279386">
                <a:tc>
                  <a:txBody>
                    <a:bodyPr/>
                    <a:lstStyle/>
                    <a:p>
                      <a:pPr algn="l" fontAlgn="ctr"/>
                      <a:r>
                        <a:rPr lang="en-CA" sz="900" u="none" strike="noStrike">
                          <a:effectLst/>
                        </a:rPr>
                        <a:t>Prepaid and Other Current Assets</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CA" sz="900" u="none" strike="noStrike">
                          <a:effectLst/>
                        </a:rPr>
                        <a:t>        6.0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10.5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19.6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21.8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19.2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21.79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24.58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27.49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30.30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32.92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35.09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36.82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38.03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38.44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41.46 </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923483944"/>
                  </a:ext>
                </a:extLst>
              </a:tr>
              <a:tr h="139693">
                <a:tc>
                  <a:txBody>
                    <a:bodyPr/>
                    <a:lstStyle/>
                    <a:p>
                      <a:pPr algn="l" fontAlgn="ctr"/>
                      <a:r>
                        <a:rPr lang="en-CA" sz="900" b="1" u="none" strike="noStrike">
                          <a:effectLst/>
                        </a:rPr>
                        <a:t>Total Current Assets</a:t>
                      </a:r>
                      <a:endParaRPr lang="en-CA" sz="900" b="1"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CA" sz="900" b="1" u="none" strike="noStrike">
                          <a:effectLst/>
                        </a:rPr>
                        <a:t>    16.92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32.97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63.65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85.98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93.79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109.86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127.35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140.44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159.71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171.03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188.93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206.17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222.39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240.30 </a:t>
                      </a:r>
                      <a:endParaRPr lang="en-CA" sz="900" b="1"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b="1" u="none" strike="noStrike">
                          <a:effectLst/>
                        </a:rPr>
                        <a:t>   259.19 </a:t>
                      </a:r>
                      <a:endParaRPr lang="en-CA" sz="900" b="1"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420088228"/>
                  </a:ext>
                </a:extLst>
              </a:tr>
              <a:tr h="139693">
                <a:tc>
                  <a:txBody>
                    <a:bodyPr/>
                    <a:lstStyle/>
                    <a:p>
                      <a:pPr algn="l"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72284423"/>
                  </a:ext>
                </a:extLst>
              </a:tr>
              <a:tr h="139693">
                <a:tc>
                  <a:txBody>
                    <a:bodyPr/>
                    <a:lstStyle/>
                    <a:p>
                      <a:pPr algn="l"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573612630"/>
                  </a:ext>
                </a:extLst>
              </a:tr>
              <a:tr h="139693">
                <a:tc>
                  <a:txBody>
                    <a:bodyPr/>
                    <a:lstStyle/>
                    <a:p>
                      <a:pPr algn="l" fontAlgn="ctr"/>
                      <a:r>
                        <a:rPr lang="en-CA" sz="900" b="1" u="none" strike="noStrike">
                          <a:effectLst/>
                        </a:rPr>
                        <a:t>Current </a:t>
                      </a:r>
                      <a:r>
                        <a:rPr lang="en-CA" sz="900" b="1" u="none" strike="noStrike" err="1">
                          <a:effectLst/>
                        </a:rPr>
                        <a:t>Liabilites</a:t>
                      </a:r>
                      <a:endParaRPr lang="en-CA" sz="900" b="1"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0192410"/>
                  </a:ext>
                </a:extLst>
              </a:tr>
              <a:tr h="139693">
                <a:tc>
                  <a:txBody>
                    <a:bodyPr/>
                    <a:lstStyle/>
                    <a:p>
                      <a:pPr algn="l" fontAlgn="ctr"/>
                      <a:r>
                        <a:rPr lang="en-CA" sz="900" u="none" strike="noStrike">
                          <a:effectLst/>
                        </a:rPr>
                        <a:t>Accounts Payable</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30.8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65.1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78.3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68.8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68.7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74.64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90.37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08.77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26.97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46.57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66.65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187.36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208.41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228.19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246.12 </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740493941"/>
                  </a:ext>
                </a:extLst>
              </a:tr>
              <a:tr h="139693">
                <a:tc>
                  <a:txBody>
                    <a:bodyPr/>
                    <a:lstStyle/>
                    <a:p>
                      <a:pPr algn="l" fontAlgn="ctr"/>
                      <a:r>
                        <a:rPr lang="en-CA" sz="900" u="none" strike="noStrike">
                          <a:effectLst/>
                        </a:rPr>
                        <a:t>Unearned Revenue</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CA" sz="900" u="none" strike="noStrike">
                          <a:effectLst/>
                        </a:rPr>
                        <a:t>      36.6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43.1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65.2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68.1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67.3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0.45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0.50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0.50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0.49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0.44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0.48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0.52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0.48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0.53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0.57 </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812262776"/>
                  </a:ext>
                </a:extLst>
              </a:tr>
              <a:tr h="139693">
                <a:tc>
                  <a:txBody>
                    <a:bodyPr/>
                    <a:lstStyle/>
                    <a:p>
                      <a:pPr algn="l" fontAlgn="ctr"/>
                      <a:r>
                        <a:rPr lang="en-CA" sz="900" b="1" u="none" strike="noStrike">
                          <a:effectLst/>
                        </a:rPr>
                        <a:t>Total Current Liabilities</a:t>
                      </a:r>
                      <a:endParaRPr lang="en-CA" sz="900" b="1"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67.43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08.17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43.50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36.92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36.02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75.08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90.87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09.28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27.46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47.01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67.13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87.88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208.89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228.71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246.69 </a:t>
                      </a:r>
                      <a:endParaRPr lang="en-CA" sz="900" b="1"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52329513"/>
                  </a:ext>
                </a:extLst>
              </a:tr>
              <a:tr h="139693">
                <a:tc>
                  <a:txBody>
                    <a:bodyPr/>
                    <a:lstStyle/>
                    <a:p>
                      <a:pPr algn="l"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82907863"/>
                  </a:ext>
                </a:extLst>
              </a:tr>
              <a:tr h="139693">
                <a:tc>
                  <a:txBody>
                    <a:bodyPr/>
                    <a:lstStyle/>
                    <a:p>
                      <a:pPr algn="l" fontAlgn="ctr"/>
                      <a:r>
                        <a:rPr lang="en-CA" sz="900" u="none" strike="noStrike">
                          <a:effectLst/>
                        </a:rPr>
                        <a:t>Days per Period</a:t>
                      </a:r>
                      <a:endParaRPr lang="en-CA" sz="900" b="1"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CA" sz="900" u="none" strike="noStrike">
                          <a:effectLst/>
                        </a:rPr>
                        <a:t>365.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4133911922"/>
                  </a:ext>
                </a:extLst>
              </a:tr>
              <a:tr h="139693">
                <a:tc>
                  <a:txBody>
                    <a:bodyPr/>
                    <a:lstStyle/>
                    <a:p>
                      <a:pPr algn="l"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667303867"/>
                  </a:ext>
                </a:extLst>
              </a:tr>
              <a:tr h="139693">
                <a:tc>
                  <a:txBody>
                    <a:bodyPr/>
                    <a:lstStyle/>
                    <a:p>
                      <a:pPr algn="l" fontAlgn="ctr"/>
                      <a:r>
                        <a:rPr lang="en-CA" sz="900" u="none" strike="noStrike">
                          <a:effectLst/>
                        </a:rPr>
                        <a:t>Accounts Receivable Days</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CA" sz="900" u="none" strike="noStrike">
                          <a:effectLst/>
                        </a:rPr>
                        <a:t>32.91</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36.81</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9.24</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32.04</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9.94</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9.5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9.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7.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6.5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4.5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4.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3.5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3.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3.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3.00</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4061543770"/>
                  </a:ext>
                </a:extLst>
              </a:tr>
              <a:tr h="279386">
                <a:tc>
                  <a:txBody>
                    <a:bodyPr/>
                    <a:lstStyle/>
                    <a:p>
                      <a:pPr algn="l" fontAlgn="ctr"/>
                      <a:r>
                        <a:rPr lang="en-CA" sz="900" u="none" strike="noStrike">
                          <a:effectLst/>
                        </a:rPr>
                        <a:t>Prepaid and Other Current Assets (% of Revenue)</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CA" sz="900" u="none" strike="noStrike">
                          <a:effectLst/>
                        </a:rPr>
                        <a:t>5.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4.72%</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3.57%</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98%</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11%</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9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8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7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6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5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4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3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2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20%</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775883730"/>
                  </a:ext>
                </a:extLst>
              </a:tr>
              <a:tr h="139693">
                <a:tc>
                  <a:txBody>
                    <a:bodyPr/>
                    <a:lstStyle/>
                    <a:p>
                      <a:pPr algn="l"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778815396"/>
                  </a:ext>
                </a:extLst>
              </a:tr>
              <a:tr h="139693">
                <a:tc>
                  <a:txBody>
                    <a:bodyPr/>
                    <a:lstStyle/>
                    <a:p>
                      <a:pPr algn="l" fontAlgn="ctr"/>
                      <a:r>
                        <a:rPr lang="en-CA" sz="900" u="none" strike="noStrike">
                          <a:effectLst/>
                        </a:rPr>
                        <a:t>Accounts Payable Days</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CA" sz="900" u="none" strike="noStrike">
                          <a:effectLst/>
                        </a:rPr>
                        <a:t>138.87</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84.55</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04.94</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75.56</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65.07</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5.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5.5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6.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6.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6.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6.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6.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6.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6.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6.00</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725299197"/>
                  </a:ext>
                </a:extLst>
              </a:tr>
              <a:tr h="279386">
                <a:tc>
                  <a:txBody>
                    <a:bodyPr/>
                    <a:lstStyle/>
                    <a:p>
                      <a:pPr algn="l" fontAlgn="ctr"/>
                      <a:r>
                        <a:rPr lang="en-CA" sz="900" u="none" strike="noStrike">
                          <a:effectLst/>
                        </a:rPr>
                        <a:t>Unearned Revenue (% of Revenue)</a:t>
                      </a:r>
                      <a:endParaRPr lang="en-CA"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CA" sz="900" u="none" strike="noStrike">
                          <a:effectLst/>
                        </a:rPr>
                        <a:t>45.22%</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33.51%</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3.94%</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20.48%</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7.48%</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5.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4.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2.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10.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7.8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7.5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7.2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6.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6.00%</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6.00%</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188425807"/>
                  </a:ext>
                </a:extLst>
              </a:tr>
              <a:tr h="139693">
                <a:tc>
                  <a:txBody>
                    <a:bodyPr/>
                    <a:lstStyle/>
                    <a:p>
                      <a:pPr algn="l" fontAlgn="ctr"/>
                      <a:r>
                        <a:rPr lang="en-CA" sz="900" u="none" strike="noStrike">
                          <a:effectLst/>
                        </a:rPr>
                        <a:t> </a:t>
                      </a:r>
                      <a:endParaRPr lang="en-CA" sz="900" b="0" i="0" u="none" strike="noStrike">
                        <a:solidFill>
                          <a:srgbClr val="000000"/>
                        </a:solidFill>
                        <a:effectLst/>
                        <a:latin typeface="Aptos Narrow" panose="020B0004020202020204" pitchFamily="34" charset="0"/>
                      </a:endParaRPr>
                    </a:p>
                  </a:txBody>
                  <a:tcPr marL="0" marR="0" marT="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solidFill>
                      <a:schemeClr val="bg1"/>
                    </a:solidFill>
                  </a:tcPr>
                </a:tc>
                <a:tc>
                  <a:txBody>
                    <a:bodyPr/>
                    <a:lstStyle/>
                    <a:p>
                      <a:pPr algn="ctr" fontAlgn="ctr"/>
                      <a:r>
                        <a:rPr lang="en-CA" sz="900" u="none" strike="noStrike">
                          <a:effectLst/>
                        </a:rPr>
                        <a:t> </a:t>
                      </a:r>
                      <a:endParaRPr lang="en-CA" sz="900" b="0"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003833627"/>
                  </a:ext>
                </a:extLst>
              </a:tr>
              <a:tr h="149006">
                <a:tc>
                  <a:txBody>
                    <a:bodyPr/>
                    <a:lstStyle/>
                    <a:p>
                      <a:pPr algn="l" fontAlgn="ctr"/>
                      <a:r>
                        <a:rPr lang="en-CA" sz="900" b="1" u="none" strike="noStrike">
                          <a:effectLst/>
                        </a:rPr>
                        <a:t>Net Working Capital</a:t>
                      </a:r>
                      <a:endParaRPr lang="en-CA" sz="900" b="1"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50.52)</a:t>
                      </a:r>
                      <a:endParaRPr lang="en-CA" sz="900" b="1" i="0" u="none" strike="noStrike">
                        <a:solidFill>
                          <a:srgbClr val="000000"/>
                        </a:solidFill>
                        <a:effectLst/>
                        <a:latin typeface="Aptos Narrow" panose="020B00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75.20)</a:t>
                      </a:r>
                      <a:endParaRPr lang="en-CA" sz="900" b="1" i="0" u="none" strike="noStrike">
                        <a:solidFill>
                          <a:srgbClr val="000000"/>
                        </a:solidFill>
                        <a:effectLst/>
                        <a:latin typeface="Aptos Narrow" panose="020B00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79.85)</a:t>
                      </a:r>
                      <a:endParaRPr lang="en-CA" sz="900" b="1" i="0" u="none" strike="noStrike">
                        <a:solidFill>
                          <a:srgbClr val="000000"/>
                        </a:solidFill>
                        <a:effectLst/>
                        <a:latin typeface="Aptos Narrow" panose="020B00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50.94)</a:t>
                      </a:r>
                      <a:endParaRPr lang="en-CA" sz="900" b="1" i="0" u="none" strike="noStrike">
                        <a:solidFill>
                          <a:srgbClr val="000000"/>
                        </a:solidFill>
                        <a:effectLst/>
                        <a:latin typeface="Aptos Narrow" panose="020B00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42.22)</a:t>
                      </a:r>
                      <a:endParaRPr lang="en-CA" sz="900" b="1" i="0" u="none" strike="noStrike">
                        <a:solidFill>
                          <a:srgbClr val="000000"/>
                        </a:solidFill>
                        <a:effectLst/>
                        <a:latin typeface="Aptos Narrow" panose="020B00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34.78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36.48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31.17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32.25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24.03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21.79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8.29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3.51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1.58 </a:t>
                      </a:r>
                      <a:endParaRPr lang="en-CA" sz="900" b="1" i="0" u="none" strike="noStrike">
                        <a:solidFill>
                          <a:srgbClr val="000000"/>
                        </a:solidFill>
                        <a:effectLst/>
                        <a:latin typeface="Arial" panose="020B0604020202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2.50 </a:t>
                      </a:r>
                      <a:endParaRPr lang="en-CA" sz="900" b="1"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96617357"/>
                  </a:ext>
                </a:extLst>
              </a:tr>
              <a:tr h="288699">
                <a:tc>
                  <a:txBody>
                    <a:bodyPr/>
                    <a:lstStyle/>
                    <a:p>
                      <a:pPr algn="l" fontAlgn="ctr"/>
                      <a:r>
                        <a:rPr lang="en-CA" sz="900" b="1" u="none" strike="noStrike">
                          <a:effectLst/>
                        </a:rPr>
                        <a:t>Increase in Net Working Capital</a:t>
                      </a:r>
                      <a:endParaRPr lang="en-CA" sz="900" b="1"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24.69)</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4.65)</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28.91 </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8.72 </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77.00 </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70 </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5.32)</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09 </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8.23)</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2.23)</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3.50)</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4.78)</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1.92)</a:t>
                      </a:r>
                      <a:endParaRPr lang="en-CA" sz="900" b="1" i="0" u="none" strike="noStrike">
                        <a:solidFill>
                          <a:srgbClr val="000000"/>
                        </a:solidFill>
                        <a:effectLst/>
                        <a:latin typeface="Arial" panose="020B0604020202020204" pitchFamily="34"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CA" sz="900" b="1" u="none" strike="noStrike">
                          <a:effectLst/>
                        </a:rPr>
                        <a:t>       0.91 </a:t>
                      </a:r>
                      <a:endParaRPr lang="en-CA" sz="900" b="1" i="0" u="none" strike="noStrike">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98604393"/>
                  </a:ext>
                </a:extLst>
              </a:tr>
            </a:tbl>
          </a:graphicData>
        </a:graphic>
      </p:graphicFrame>
    </p:spTree>
    <p:extLst>
      <p:ext uri="{BB962C8B-B14F-4D97-AF65-F5344CB8AC3E}">
        <p14:creationId xmlns:p14="http://schemas.microsoft.com/office/powerpoint/2010/main" val="1678593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F8D7D2-52C9-EEE2-30E9-8AA764B84DEB}"/>
              </a:ext>
            </a:extLst>
          </p:cNvPr>
          <p:cNvSpPr>
            <a:spLocks noGrp="1"/>
          </p:cNvSpPr>
          <p:nvPr>
            <p:ph type="body" sz="quarter" idx="13"/>
          </p:nvPr>
        </p:nvSpPr>
        <p:spPr/>
        <p:txBody>
          <a:bodyPr/>
          <a:lstStyle/>
          <a:p>
            <a:r>
              <a:rPr lang="en-US"/>
              <a:t>Source: Lightspeed Investor Relations</a:t>
            </a:r>
          </a:p>
        </p:txBody>
      </p:sp>
      <p:sp>
        <p:nvSpPr>
          <p:cNvPr id="3" name="Text Placeholder 2">
            <a:extLst>
              <a:ext uri="{FF2B5EF4-FFF2-40B4-BE49-F238E27FC236}">
                <a16:creationId xmlns:a16="http://schemas.microsoft.com/office/drawing/2014/main" id="{51A96385-E218-1CF5-0CD4-FB170ED0159C}"/>
              </a:ext>
            </a:extLst>
          </p:cNvPr>
          <p:cNvSpPr>
            <a:spLocks noGrp="1"/>
          </p:cNvSpPr>
          <p:nvPr>
            <p:ph type="body" sz="quarter" idx="21"/>
          </p:nvPr>
        </p:nvSpPr>
        <p:spPr/>
        <p:txBody>
          <a:bodyPr/>
          <a:lstStyle/>
          <a:p>
            <a:r>
              <a:rPr lang="en-US"/>
              <a:t>What the Market is Currently Implying</a:t>
            </a:r>
          </a:p>
        </p:txBody>
      </p:sp>
      <p:sp>
        <p:nvSpPr>
          <p:cNvPr id="4" name="Title 3">
            <a:extLst>
              <a:ext uri="{FF2B5EF4-FFF2-40B4-BE49-F238E27FC236}">
                <a16:creationId xmlns:a16="http://schemas.microsoft.com/office/drawing/2014/main" id="{A7908C9C-72E8-5E71-4F40-0C8A1A8F2083}"/>
              </a:ext>
            </a:extLst>
          </p:cNvPr>
          <p:cNvSpPr>
            <a:spLocks noGrp="1"/>
          </p:cNvSpPr>
          <p:nvPr>
            <p:ph type="title"/>
          </p:nvPr>
        </p:nvSpPr>
        <p:spPr/>
        <p:txBody>
          <a:bodyPr/>
          <a:lstStyle/>
          <a:p>
            <a:r>
              <a:rPr lang="en-US"/>
              <a:t>Appendix VI - Reverse DCF</a:t>
            </a:r>
          </a:p>
        </p:txBody>
      </p:sp>
      <p:sp>
        <p:nvSpPr>
          <p:cNvPr id="6" name="Text Placeholder 5">
            <a:extLst>
              <a:ext uri="{FF2B5EF4-FFF2-40B4-BE49-F238E27FC236}">
                <a16:creationId xmlns:a16="http://schemas.microsoft.com/office/drawing/2014/main" id="{A3B9CDA2-FD3A-AFE5-F500-B6E7F4B12414}"/>
              </a:ext>
            </a:extLst>
          </p:cNvPr>
          <p:cNvSpPr>
            <a:spLocks noGrp="1"/>
          </p:cNvSpPr>
          <p:nvPr>
            <p:ph type="body" idx="26"/>
          </p:nvPr>
        </p:nvSpPr>
        <p:spPr/>
        <p:txBody>
          <a:bodyPr/>
          <a:lstStyle/>
          <a:p>
            <a:r>
              <a:rPr lang="en-US"/>
              <a:t>Reverse DCF Summary</a:t>
            </a:r>
          </a:p>
        </p:txBody>
      </p:sp>
      <p:sp>
        <p:nvSpPr>
          <p:cNvPr id="7" name="Text Placeholder 6">
            <a:extLst>
              <a:ext uri="{FF2B5EF4-FFF2-40B4-BE49-F238E27FC236}">
                <a16:creationId xmlns:a16="http://schemas.microsoft.com/office/drawing/2014/main" id="{9608DB2A-A638-E810-2597-78000BF4AAA5}"/>
              </a:ext>
            </a:extLst>
          </p:cNvPr>
          <p:cNvSpPr>
            <a:spLocks noGrp="1"/>
          </p:cNvSpPr>
          <p:nvPr>
            <p:ph type="body" idx="27"/>
          </p:nvPr>
        </p:nvSpPr>
        <p:spPr/>
        <p:txBody>
          <a:bodyPr/>
          <a:lstStyle/>
          <a:p>
            <a:r>
              <a:rPr lang="en-US"/>
              <a:t>Market Assumptions</a:t>
            </a:r>
          </a:p>
        </p:txBody>
      </p:sp>
      <p:sp>
        <p:nvSpPr>
          <p:cNvPr id="8" name="Content Placeholder 7">
            <a:extLst>
              <a:ext uri="{FF2B5EF4-FFF2-40B4-BE49-F238E27FC236}">
                <a16:creationId xmlns:a16="http://schemas.microsoft.com/office/drawing/2014/main" id="{777C40CE-3D53-3AEB-22DD-6ADDAAC30835}"/>
              </a:ext>
            </a:extLst>
          </p:cNvPr>
          <p:cNvSpPr>
            <a:spLocks noGrp="1"/>
          </p:cNvSpPr>
          <p:nvPr>
            <p:ph sz="quarter" idx="29"/>
          </p:nvPr>
        </p:nvSpPr>
        <p:spPr/>
        <p:txBody>
          <a:bodyPr/>
          <a:lstStyle/>
          <a:p>
            <a:pPr>
              <a:lnSpc>
                <a:spcPct val="250000"/>
              </a:lnSpc>
            </a:pPr>
            <a:r>
              <a:rPr lang="en-US"/>
              <a:t>Next 10 years revenue growth = 15%/year</a:t>
            </a:r>
          </a:p>
          <a:p>
            <a:pPr>
              <a:lnSpc>
                <a:spcPct val="250000"/>
              </a:lnSpc>
            </a:pPr>
            <a:r>
              <a:rPr lang="en-US"/>
              <a:t>Gross margins = 40%</a:t>
            </a:r>
          </a:p>
          <a:p>
            <a:pPr>
              <a:lnSpc>
                <a:spcPct val="250000"/>
              </a:lnSpc>
            </a:pPr>
            <a:r>
              <a:rPr lang="en-US"/>
              <a:t>R&amp;D as a % of revenue = 12%</a:t>
            </a:r>
          </a:p>
          <a:p>
            <a:pPr>
              <a:lnSpc>
                <a:spcPct val="250000"/>
              </a:lnSpc>
            </a:pPr>
            <a:r>
              <a:rPr lang="en-US"/>
              <a:t>SG&amp;A as a % of revenue = 28%</a:t>
            </a:r>
          </a:p>
          <a:p>
            <a:pPr marL="0" indent="0">
              <a:buNone/>
            </a:pPr>
            <a:endParaRPr lang="en-US"/>
          </a:p>
        </p:txBody>
      </p:sp>
      <p:sp>
        <p:nvSpPr>
          <p:cNvPr id="9" name="Content Placeholder 8">
            <a:extLst>
              <a:ext uri="{FF2B5EF4-FFF2-40B4-BE49-F238E27FC236}">
                <a16:creationId xmlns:a16="http://schemas.microsoft.com/office/drawing/2014/main" id="{FA4F3227-4F67-DD57-992F-40E06B04D418}"/>
              </a:ext>
            </a:extLst>
          </p:cNvPr>
          <p:cNvSpPr>
            <a:spLocks noGrp="1"/>
          </p:cNvSpPr>
          <p:nvPr>
            <p:ph sz="quarter" idx="30"/>
          </p:nvPr>
        </p:nvSpPr>
        <p:spPr/>
        <p:txBody>
          <a:bodyPr/>
          <a:lstStyle/>
          <a:p>
            <a:r>
              <a:rPr lang="en-US"/>
              <a:t>If the company outperforms on any of these assumptions, the stock increases</a:t>
            </a:r>
          </a:p>
          <a:p>
            <a:endParaRPr lang="en-US"/>
          </a:p>
          <a:p>
            <a:r>
              <a:rPr lang="en-US"/>
              <a:t>If the company fails to meet these assumptions, the stock falls</a:t>
            </a:r>
          </a:p>
        </p:txBody>
      </p:sp>
      <p:sp>
        <p:nvSpPr>
          <p:cNvPr id="10" name="Text Placeholder 9">
            <a:extLst>
              <a:ext uri="{FF2B5EF4-FFF2-40B4-BE49-F238E27FC236}">
                <a16:creationId xmlns:a16="http://schemas.microsoft.com/office/drawing/2014/main" id="{32D20074-0816-59CB-9ADF-3EF1D3D57D05}"/>
              </a:ext>
            </a:extLst>
          </p:cNvPr>
          <p:cNvSpPr>
            <a:spLocks noGrp="1"/>
          </p:cNvSpPr>
          <p:nvPr>
            <p:ph type="body" idx="31"/>
          </p:nvPr>
        </p:nvSpPr>
        <p:spPr/>
        <p:txBody>
          <a:bodyPr/>
          <a:lstStyle/>
          <a:p>
            <a:r>
              <a:rPr lang="en-US"/>
              <a:t>What This Means</a:t>
            </a:r>
          </a:p>
        </p:txBody>
      </p:sp>
      <p:graphicFrame>
        <p:nvGraphicFramePr>
          <p:cNvPr id="15" name="Content Placeholder 14">
            <a:extLst>
              <a:ext uri="{FF2B5EF4-FFF2-40B4-BE49-F238E27FC236}">
                <a16:creationId xmlns:a16="http://schemas.microsoft.com/office/drawing/2014/main" id="{B33FC8C1-F7B2-E534-8D28-D9FA5924A4B6}"/>
              </a:ext>
            </a:extLst>
          </p:cNvPr>
          <p:cNvGraphicFramePr>
            <a:graphicFrameLocks noGrp="1"/>
          </p:cNvGraphicFramePr>
          <p:nvPr>
            <p:ph sz="quarter" idx="23"/>
            <p:extLst>
              <p:ext uri="{D42A27DB-BD31-4B8C-83A1-F6EECF244321}">
                <p14:modId xmlns:p14="http://schemas.microsoft.com/office/powerpoint/2010/main" val="1187515455"/>
              </p:ext>
            </p:extLst>
          </p:nvPr>
        </p:nvGraphicFramePr>
        <p:xfrm>
          <a:off x="250823" y="1470341"/>
          <a:ext cx="8642355" cy="2194560"/>
        </p:xfrm>
        <a:graphic>
          <a:graphicData uri="http://schemas.openxmlformats.org/drawingml/2006/table">
            <a:tbl>
              <a:tblPr/>
              <a:tblGrid>
                <a:gridCol w="1317583">
                  <a:extLst>
                    <a:ext uri="{9D8B030D-6E8A-4147-A177-3AD203B41FA5}">
                      <a16:colId xmlns:a16="http://schemas.microsoft.com/office/drawing/2014/main" val="1208538890"/>
                    </a:ext>
                  </a:extLst>
                </a:gridCol>
                <a:gridCol w="649425">
                  <a:extLst>
                    <a:ext uri="{9D8B030D-6E8A-4147-A177-3AD203B41FA5}">
                      <a16:colId xmlns:a16="http://schemas.microsoft.com/office/drawing/2014/main" val="2631149959"/>
                    </a:ext>
                  </a:extLst>
                </a:gridCol>
                <a:gridCol w="443358">
                  <a:extLst>
                    <a:ext uri="{9D8B030D-6E8A-4147-A177-3AD203B41FA5}">
                      <a16:colId xmlns:a16="http://schemas.microsoft.com/office/drawing/2014/main" val="3614020490"/>
                    </a:ext>
                  </a:extLst>
                </a:gridCol>
                <a:gridCol w="443358">
                  <a:extLst>
                    <a:ext uri="{9D8B030D-6E8A-4147-A177-3AD203B41FA5}">
                      <a16:colId xmlns:a16="http://schemas.microsoft.com/office/drawing/2014/main" val="3281726838"/>
                    </a:ext>
                  </a:extLst>
                </a:gridCol>
                <a:gridCol w="443358">
                  <a:extLst>
                    <a:ext uri="{9D8B030D-6E8A-4147-A177-3AD203B41FA5}">
                      <a16:colId xmlns:a16="http://schemas.microsoft.com/office/drawing/2014/main" val="3535648261"/>
                    </a:ext>
                  </a:extLst>
                </a:gridCol>
                <a:gridCol w="443358">
                  <a:extLst>
                    <a:ext uri="{9D8B030D-6E8A-4147-A177-3AD203B41FA5}">
                      <a16:colId xmlns:a16="http://schemas.microsoft.com/office/drawing/2014/main" val="2064319507"/>
                    </a:ext>
                  </a:extLst>
                </a:gridCol>
                <a:gridCol w="443358">
                  <a:extLst>
                    <a:ext uri="{9D8B030D-6E8A-4147-A177-3AD203B41FA5}">
                      <a16:colId xmlns:a16="http://schemas.microsoft.com/office/drawing/2014/main" val="2435325480"/>
                    </a:ext>
                  </a:extLst>
                </a:gridCol>
                <a:gridCol w="468335">
                  <a:extLst>
                    <a:ext uri="{9D8B030D-6E8A-4147-A177-3AD203B41FA5}">
                      <a16:colId xmlns:a16="http://schemas.microsoft.com/office/drawing/2014/main" val="102691821"/>
                    </a:ext>
                  </a:extLst>
                </a:gridCol>
                <a:gridCol w="443358">
                  <a:extLst>
                    <a:ext uri="{9D8B030D-6E8A-4147-A177-3AD203B41FA5}">
                      <a16:colId xmlns:a16="http://schemas.microsoft.com/office/drawing/2014/main" val="3023210460"/>
                    </a:ext>
                  </a:extLst>
                </a:gridCol>
                <a:gridCol w="443358">
                  <a:extLst>
                    <a:ext uri="{9D8B030D-6E8A-4147-A177-3AD203B41FA5}">
                      <a16:colId xmlns:a16="http://schemas.microsoft.com/office/drawing/2014/main" val="380068363"/>
                    </a:ext>
                  </a:extLst>
                </a:gridCol>
                <a:gridCol w="443358">
                  <a:extLst>
                    <a:ext uri="{9D8B030D-6E8A-4147-A177-3AD203B41FA5}">
                      <a16:colId xmlns:a16="http://schemas.microsoft.com/office/drawing/2014/main" val="173510195"/>
                    </a:ext>
                  </a:extLst>
                </a:gridCol>
                <a:gridCol w="443358">
                  <a:extLst>
                    <a:ext uri="{9D8B030D-6E8A-4147-A177-3AD203B41FA5}">
                      <a16:colId xmlns:a16="http://schemas.microsoft.com/office/drawing/2014/main" val="3397731304"/>
                    </a:ext>
                  </a:extLst>
                </a:gridCol>
                <a:gridCol w="443358">
                  <a:extLst>
                    <a:ext uri="{9D8B030D-6E8A-4147-A177-3AD203B41FA5}">
                      <a16:colId xmlns:a16="http://schemas.microsoft.com/office/drawing/2014/main" val="1223747464"/>
                    </a:ext>
                  </a:extLst>
                </a:gridCol>
                <a:gridCol w="443358">
                  <a:extLst>
                    <a:ext uri="{9D8B030D-6E8A-4147-A177-3AD203B41FA5}">
                      <a16:colId xmlns:a16="http://schemas.microsoft.com/office/drawing/2014/main" val="2355855597"/>
                    </a:ext>
                  </a:extLst>
                </a:gridCol>
                <a:gridCol w="443358">
                  <a:extLst>
                    <a:ext uri="{9D8B030D-6E8A-4147-A177-3AD203B41FA5}">
                      <a16:colId xmlns:a16="http://schemas.microsoft.com/office/drawing/2014/main" val="3615940423"/>
                    </a:ext>
                  </a:extLst>
                </a:gridCol>
                <a:gridCol w="443358">
                  <a:extLst>
                    <a:ext uri="{9D8B030D-6E8A-4147-A177-3AD203B41FA5}">
                      <a16:colId xmlns:a16="http://schemas.microsoft.com/office/drawing/2014/main" val="229301555"/>
                    </a:ext>
                  </a:extLst>
                </a:gridCol>
                <a:gridCol w="443358">
                  <a:extLst>
                    <a:ext uri="{9D8B030D-6E8A-4147-A177-3AD203B41FA5}">
                      <a16:colId xmlns:a16="http://schemas.microsoft.com/office/drawing/2014/main" val="3268419852"/>
                    </a:ext>
                  </a:extLst>
                </a:gridCol>
              </a:tblGrid>
              <a:tr h="125373">
                <a:tc>
                  <a:txBody>
                    <a:bodyPr/>
                    <a:lstStyle/>
                    <a:p>
                      <a:pPr algn="l" fontAlgn="b"/>
                      <a:r>
                        <a:rPr lang="en-CA" sz="900" b="0" i="0" u="none" strike="noStrike">
                          <a:solidFill>
                            <a:srgbClr val="FFFFFF"/>
                          </a:solidFill>
                          <a:effectLst/>
                          <a:latin typeface="+mn-lt"/>
                        </a:rPr>
                        <a:t>Reverse DCF Summary</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l" fontAlgn="b"/>
                      <a:r>
                        <a:rPr lang="en-CA" sz="900" b="0" i="0" u="none" strike="noStrike">
                          <a:solidFill>
                            <a:srgbClr val="FFFFFF"/>
                          </a:solidFill>
                          <a:effectLst/>
                          <a:latin typeface="+mn-lt"/>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extLst>
                  <a:ext uri="{0D108BD9-81ED-4DB2-BD59-A6C34878D82A}">
                    <a16:rowId xmlns:a16="http://schemas.microsoft.com/office/drawing/2014/main" val="2646700326"/>
                  </a:ext>
                </a:extLst>
              </a:tr>
              <a:tr h="125373">
                <a:tc>
                  <a:txBody>
                    <a:bodyPr/>
                    <a:lstStyle/>
                    <a:p>
                      <a:pPr algn="l" fontAlgn="b"/>
                      <a:r>
                        <a:rPr lang="en-CA" sz="9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FY</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FY</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FY</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FY</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FY</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n-CA" sz="900" b="0" i="0" u="none" strike="noStrike">
                          <a:solidFill>
                            <a:srgbClr val="000000"/>
                          </a:solidFill>
                          <a:effectLst/>
                          <a:latin typeface="+mn-lt"/>
                        </a:rPr>
                        <a:t>FY</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gridSpan="10">
                  <a:txBody>
                    <a:bodyPr/>
                    <a:lstStyle/>
                    <a:p>
                      <a:pPr algn="ctr" fontAlgn="b"/>
                      <a:r>
                        <a:rPr lang="en-CA" sz="900" b="0" i="0" u="none" strike="noStrike">
                          <a:solidFill>
                            <a:srgbClr val="000000"/>
                          </a:solidFill>
                          <a:effectLst/>
                          <a:latin typeface="+mn-lt"/>
                        </a:rPr>
                        <a:t>Projected</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1715181"/>
                  </a:ext>
                </a:extLst>
              </a:tr>
              <a:tr h="125373">
                <a:tc>
                  <a:txBody>
                    <a:bodyPr/>
                    <a:lstStyle/>
                    <a:p>
                      <a:pPr algn="l" fontAlgn="b"/>
                      <a:r>
                        <a:rPr lang="en-CA" sz="900" b="0" i="1" u="none" strike="noStrike">
                          <a:solidFill>
                            <a:srgbClr val="000000"/>
                          </a:solidFill>
                          <a:effectLst/>
                          <a:latin typeface="+mn-lt"/>
                        </a:rPr>
                        <a:t>USD mm</a:t>
                      </a:r>
                    </a:p>
                  </a:txBody>
                  <a:tcPr marL="0" marR="0" marT="0" marB="0" anchor="b">
                    <a:lnL w="635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20H</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21H</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22H</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23H</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24H</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LTM</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25E</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26E</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27E</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28E</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29E</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30E</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31E</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32E</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33E</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mn-lt"/>
                        </a:rPr>
                        <a:t>2034E</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26599302"/>
                  </a:ext>
                </a:extLst>
              </a:tr>
              <a:tr h="125373">
                <a:tc>
                  <a:txBody>
                    <a:bodyPr/>
                    <a:lstStyle/>
                    <a:p>
                      <a:pPr algn="l" fontAlgn="b"/>
                      <a:r>
                        <a:rPr lang="en-CA" sz="900" b="1" i="0" u="none" strike="noStrike">
                          <a:solidFill>
                            <a:srgbClr val="000000"/>
                          </a:solidFill>
                          <a:effectLst/>
                          <a:latin typeface="+mn-lt"/>
                        </a:rPr>
                        <a:t>Total Revenues</a:t>
                      </a:r>
                    </a:p>
                  </a:txBody>
                  <a:tcPr marL="0" marR="0" marT="0" marB="0" anchor="b">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20.65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221.72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548.37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730.50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909.27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053.62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091.00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254.65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442.85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659.27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908.17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2194.39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2523.55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2902.08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3337.39 </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3838.00 </a:t>
                      </a:r>
                    </a:p>
                  </a:txBody>
                  <a:tcPr marL="0" marR="0" marT="0" marB="0" anchor="ctr">
                    <a:lnL>
                      <a:noFill/>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744643138"/>
                  </a:ext>
                </a:extLst>
              </a:tr>
              <a:tr h="125373">
                <a:tc>
                  <a:txBody>
                    <a:bodyPr/>
                    <a:lstStyle/>
                    <a:p>
                      <a:pPr algn="l" fontAlgn="b"/>
                      <a:r>
                        <a:rPr lang="en-CA" sz="900" b="0" i="0" u="none" strike="noStrike">
                          <a:solidFill>
                            <a:srgbClr val="000000"/>
                          </a:solidFill>
                          <a:effectLst/>
                          <a:latin typeface="+mn-lt"/>
                        </a:rPr>
                        <a:t>COGS</a:t>
                      </a:r>
                    </a:p>
                  </a:txBody>
                  <a:tcPr marL="0" marR="0" marT="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mn-lt"/>
                        </a:rPr>
                        <a:t>39.6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94.0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77.2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98.5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524.0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615.5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654.6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752.7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865.7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995.5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144.9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316.6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514.1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741.2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002.44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302.80 </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691491054"/>
                  </a:ext>
                </a:extLst>
              </a:tr>
              <a:tr h="125373">
                <a:tc>
                  <a:txBody>
                    <a:bodyPr/>
                    <a:lstStyle/>
                    <a:p>
                      <a:pPr algn="l" fontAlgn="b"/>
                      <a:r>
                        <a:rPr lang="en-CA" sz="900" b="0" i="0" u="none" strike="noStrike">
                          <a:solidFill>
                            <a:srgbClr val="000000"/>
                          </a:solidFill>
                          <a:effectLst/>
                          <a:latin typeface="+mn-lt"/>
                        </a:rPr>
                        <a:t>R&amp;D</a:t>
                      </a:r>
                    </a:p>
                  </a:txBody>
                  <a:tcPr marL="0" marR="0" marT="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mn-lt"/>
                        </a:rPr>
                        <a:t>32.7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55.3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21.1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40.44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29.4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17.7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30.9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50.5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73.14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99.1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28.98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63.3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02.8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48.2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400.4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460.56 </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873009483"/>
                  </a:ext>
                </a:extLst>
              </a:tr>
              <a:tr h="125373">
                <a:tc>
                  <a:txBody>
                    <a:bodyPr/>
                    <a:lstStyle/>
                    <a:p>
                      <a:pPr algn="l" fontAlgn="b"/>
                      <a:r>
                        <a:rPr lang="en-CA" sz="900" b="0" i="0" u="none" strike="noStrike">
                          <a:solidFill>
                            <a:srgbClr val="000000"/>
                          </a:solidFill>
                          <a:effectLst/>
                          <a:latin typeface="+mn-lt"/>
                        </a:rPr>
                        <a:t>SG&amp;A</a:t>
                      </a:r>
                    </a:p>
                  </a:txBody>
                  <a:tcPr marL="0" marR="0" marT="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mn-lt"/>
                        </a:rPr>
                        <a:t>82.4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49.94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11.9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56.3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38.0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49.68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05.48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51.3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404.0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464.6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534.2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614.4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706.5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812.58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934.4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074.64 </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244007387"/>
                  </a:ext>
                </a:extLst>
              </a:tr>
              <a:tr h="125373">
                <a:tc>
                  <a:txBody>
                    <a:bodyPr/>
                    <a:lstStyle/>
                    <a:p>
                      <a:pPr algn="l" fontAlgn="b"/>
                      <a:r>
                        <a:rPr lang="en-CA" sz="900" b="0" i="0" u="none" strike="noStrike">
                          <a:solidFill>
                            <a:srgbClr val="000000"/>
                          </a:solidFill>
                          <a:effectLst/>
                          <a:latin typeface="+mn-lt"/>
                        </a:rPr>
                        <a:t>D&amp;A</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24.56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50.06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155.8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185.7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119.9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126.11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109.10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125.4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144.28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165.9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190.82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219.44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252.3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290.21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333.74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383.80 </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084595"/>
                  </a:ext>
                </a:extLst>
              </a:tr>
              <a:tr h="125373">
                <a:tc>
                  <a:txBody>
                    <a:bodyPr/>
                    <a:lstStyle/>
                    <a:p>
                      <a:pPr algn="l" fontAlgn="b"/>
                      <a:r>
                        <a:rPr lang="en-CA" sz="900" b="1" i="0" u="none" strike="noStrike">
                          <a:solidFill>
                            <a:srgbClr val="000000"/>
                          </a:solidFill>
                          <a:effectLst/>
                          <a:latin typeface="+mn-lt"/>
                        </a:rPr>
                        <a:t>EBIT</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58.80)</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27.65)</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317.72)</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350.53)</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202.15)</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55.49)</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09.10)</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25.47)</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44.28)</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65.93)</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90.82)</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219.44)</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252.35)</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290.21)</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333.74)</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383.80)</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526487099"/>
                  </a:ext>
                </a:extLst>
              </a:tr>
              <a:tr h="125373">
                <a:tc>
                  <a:txBody>
                    <a:bodyPr/>
                    <a:lstStyle/>
                    <a:p>
                      <a:pPr algn="l" fontAlgn="b"/>
                      <a:r>
                        <a:rPr lang="en-CA" sz="900" b="0" i="0" u="none" strike="noStrike">
                          <a:solidFill>
                            <a:srgbClr val="000000"/>
                          </a:solidFill>
                          <a:effectLst/>
                          <a:latin typeface="+mn-lt"/>
                        </a:rPr>
                        <a:t>Add: Net Interest Income</a:t>
                      </a:r>
                    </a:p>
                  </a:txBody>
                  <a:tcPr marL="0" marR="0" marT="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mn-lt"/>
                        </a:rPr>
                        <a:t>1.7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0.35)</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9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4.8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42.5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8.6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54.5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62.7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72.14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82.9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95.4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09.7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26.18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45.1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66.8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91.90 </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869528594"/>
                  </a:ext>
                </a:extLst>
              </a:tr>
              <a:tr h="125373">
                <a:tc>
                  <a:txBody>
                    <a:bodyPr/>
                    <a:lstStyle/>
                    <a:p>
                      <a:pPr algn="l" fontAlgn="b"/>
                      <a:r>
                        <a:rPr lang="en-CA" sz="900" b="0" i="0" u="none" strike="noStrike">
                          <a:solidFill>
                            <a:srgbClr val="000000"/>
                          </a:solidFill>
                          <a:effectLst/>
                          <a:latin typeface="+mn-lt"/>
                        </a:rPr>
                        <a:t>Less: Taxes</a:t>
                      </a:r>
                    </a:p>
                  </a:txBody>
                  <a:tcPr marL="0" marR="0" marT="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mn-lt"/>
                        </a:rPr>
                        <a:t>(3.11)</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5.79)</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6.92)</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4.22)</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48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5.2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4.3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5.0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5.7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6.64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7.6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8.78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0.0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1.6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3.3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5.35 </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774151861"/>
                  </a:ext>
                </a:extLst>
              </a:tr>
              <a:tr h="125373">
                <a:tc>
                  <a:txBody>
                    <a:bodyPr/>
                    <a:lstStyle/>
                    <a:p>
                      <a:pPr algn="l" fontAlgn="b"/>
                      <a:r>
                        <a:rPr lang="en-CA" sz="900" b="0" i="0" u="none" strike="noStrike">
                          <a:solidFill>
                            <a:srgbClr val="000000"/>
                          </a:solidFill>
                          <a:effectLst/>
                          <a:latin typeface="+mn-lt"/>
                        </a:rPr>
                        <a:t>Add: D&amp;A</a:t>
                      </a:r>
                    </a:p>
                  </a:txBody>
                  <a:tcPr marL="0" marR="0" marT="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mn-lt"/>
                        </a:rPr>
                        <a:t>13.4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6.4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04.5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15.2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09.64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04.4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09.10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25.4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44.28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65.9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90.8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19.44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52.3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90.2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33.74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83.80 </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678756893"/>
                  </a:ext>
                </a:extLst>
              </a:tr>
              <a:tr h="125373">
                <a:tc>
                  <a:txBody>
                    <a:bodyPr/>
                    <a:lstStyle/>
                    <a:p>
                      <a:pPr algn="l" fontAlgn="b"/>
                      <a:r>
                        <a:rPr lang="en-CA" sz="900" b="0" i="0" u="none" strike="noStrike">
                          <a:solidFill>
                            <a:srgbClr val="000000"/>
                          </a:solidFill>
                          <a:effectLst/>
                          <a:latin typeface="+mn-lt"/>
                        </a:rPr>
                        <a:t>Less: CapEx</a:t>
                      </a:r>
                    </a:p>
                  </a:txBody>
                  <a:tcPr marL="0" marR="0" marT="0"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CA" sz="900" b="0" i="0" u="none" strike="noStrike">
                          <a:solidFill>
                            <a:srgbClr val="000000"/>
                          </a:solidFill>
                          <a:effectLst/>
                          <a:latin typeface="+mn-lt"/>
                        </a:rPr>
                        <a:t>3.6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7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0.6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9.2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7.5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6.16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0.91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2.55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4.43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6.59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19.08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1.94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5.24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29.02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3.37 </a:t>
                      </a:r>
                    </a:p>
                  </a:txBody>
                  <a:tcPr marL="0" marR="0" marT="0" marB="0" anchor="ctr">
                    <a:lnL>
                      <a:noFill/>
                    </a:lnL>
                    <a:lnR>
                      <a:noFill/>
                    </a:lnR>
                    <a:lnT>
                      <a:noFill/>
                    </a:lnT>
                    <a:lnB>
                      <a:noFill/>
                    </a:lnB>
                    <a:noFill/>
                  </a:tcPr>
                </a:tc>
                <a:tc>
                  <a:txBody>
                    <a:bodyPr/>
                    <a:lstStyle/>
                    <a:p>
                      <a:pPr algn="ctr" fontAlgn="ctr"/>
                      <a:r>
                        <a:rPr lang="en-CA" sz="900" b="0" i="0" u="none" strike="noStrike">
                          <a:solidFill>
                            <a:srgbClr val="000000"/>
                          </a:solidFill>
                          <a:effectLst/>
                          <a:latin typeface="+mn-lt"/>
                        </a:rPr>
                        <a:t>38.38 </a:t>
                      </a:r>
                    </a:p>
                  </a:txBody>
                  <a:tcPr marL="0" marR="0" marT="0"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136313802"/>
                  </a:ext>
                </a:extLst>
              </a:tr>
              <a:tr h="125373">
                <a:tc>
                  <a:txBody>
                    <a:bodyPr/>
                    <a:lstStyle/>
                    <a:p>
                      <a:pPr algn="l" fontAlgn="b"/>
                      <a:r>
                        <a:rPr lang="en-CA" sz="900" b="0" i="0" u="none" strike="noStrike">
                          <a:solidFill>
                            <a:srgbClr val="000000"/>
                          </a:solidFill>
                          <a:effectLst/>
                          <a:latin typeface="+mn-lt"/>
                        </a:rPr>
                        <a:t>Less: Change in NCWC</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0.14)</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3.49)</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4.05)</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4.70)</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5.45)</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6.32)</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7.33)</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8.51)</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9.87)</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0" i="0" u="none" strike="noStrike">
                          <a:solidFill>
                            <a:srgbClr val="000000"/>
                          </a:solidFill>
                          <a:effectLst/>
                          <a:latin typeface="+mn-lt"/>
                        </a:rPr>
                        <a:t>(11.45)</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2910723"/>
                  </a:ext>
                </a:extLst>
              </a:tr>
              <a:tr h="125373">
                <a:tc>
                  <a:txBody>
                    <a:bodyPr/>
                    <a:lstStyle/>
                    <a:p>
                      <a:pPr algn="l" fontAlgn="b"/>
                      <a:r>
                        <a:rPr lang="en-CA" sz="900" b="1" i="0" u="none" strike="noStrike">
                          <a:solidFill>
                            <a:srgbClr val="000000"/>
                          </a:solidFill>
                          <a:effectLst/>
                          <a:latin typeface="+mn-lt"/>
                        </a:rPr>
                        <a:t>FCFF</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endParaRPr lang="en-CA" sz="900" b="1" i="0" u="none" strike="noStrike">
                        <a:solidFill>
                          <a:srgbClr val="000000"/>
                        </a:solidFill>
                        <a:effectLst/>
                        <a:latin typeface="+mn-lt"/>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endParaRPr lang="en-CA" sz="900" b="1" i="0" u="none" strike="noStrike">
                        <a:solidFill>
                          <a:srgbClr val="000000"/>
                        </a:solidFill>
                        <a:effectLst/>
                        <a:latin typeface="+mn-lt"/>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endParaRPr lang="en-CA" sz="900" b="1" i="0" u="none" strike="noStrike">
                        <a:solidFill>
                          <a:srgbClr val="000000"/>
                        </a:solidFill>
                        <a:effectLst/>
                        <a:latin typeface="+mn-lt"/>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endParaRPr lang="en-CA" sz="900" b="1" i="0" u="none" strike="noStrike">
                        <a:solidFill>
                          <a:srgbClr val="000000"/>
                        </a:solidFill>
                        <a:effectLst/>
                        <a:latin typeface="+mn-lt"/>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endParaRPr lang="en-CA" sz="900" b="1" i="0" u="none" strike="noStrike">
                        <a:solidFill>
                          <a:srgbClr val="000000"/>
                        </a:solidFill>
                        <a:effectLst/>
                        <a:latin typeface="+mn-lt"/>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endParaRPr lang="en-CA" sz="900" b="1" i="0" u="none" strike="noStrike">
                        <a:solidFill>
                          <a:srgbClr val="000000"/>
                        </a:solidFill>
                        <a:effectLst/>
                        <a:latin typeface="+mn-lt"/>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39.42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48.66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55.99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64.43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74.14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85.32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98.18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12.98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30.01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CA" sz="900" b="1" i="0" u="none" strike="noStrike">
                          <a:solidFill>
                            <a:srgbClr val="000000"/>
                          </a:solidFill>
                          <a:effectLst/>
                          <a:latin typeface="+mn-lt"/>
                        </a:rPr>
                        <a:t>149.61 </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016582019"/>
                  </a:ext>
                </a:extLst>
              </a:tr>
              <a:tr h="125373">
                <a:tc>
                  <a:txBody>
                    <a:bodyPr/>
                    <a:lstStyle/>
                    <a:p>
                      <a:pPr algn="l" fontAlgn="b"/>
                      <a:r>
                        <a:rPr lang="en-CA" sz="900" b="1" i="0" u="none" strike="noStrike">
                          <a:solidFill>
                            <a:srgbClr val="000000"/>
                          </a:solidFill>
                          <a:effectLst/>
                          <a:latin typeface="+mn-lt"/>
                        </a:rPr>
                        <a:t>PV of FCFF</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35.80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40.14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41.96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43.85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45.8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47.91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50.07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52.3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54.70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900" b="1" i="0" u="none" strike="noStrike">
                          <a:solidFill>
                            <a:srgbClr val="000000"/>
                          </a:solidFill>
                          <a:effectLst/>
                          <a:latin typeface="+mn-lt"/>
                        </a:rPr>
                        <a:t>57.17 </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8016640"/>
                  </a:ext>
                </a:extLst>
              </a:tr>
            </a:tbl>
          </a:graphicData>
        </a:graphic>
      </p:graphicFrame>
    </p:spTree>
    <p:extLst>
      <p:ext uri="{BB962C8B-B14F-4D97-AF65-F5344CB8AC3E}">
        <p14:creationId xmlns:p14="http://schemas.microsoft.com/office/powerpoint/2010/main" val="25908776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A19A0B7-5C81-FA55-C2B8-E9FE8F733AE5}"/>
              </a:ext>
            </a:extLst>
          </p:cNvPr>
          <p:cNvSpPr>
            <a:spLocks noGrp="1"/>
          </p:cNvSpPr>
          <p:nvPr>
            <p:ph type="body" sz="quarter" idx="21"/>
          </p:nvPr>
        </p:nvSpPr>
        <p:spPr/>
        <p:txBody>
          <a:bodyPr/>
          <a:lstStyle/>
          <a:p>
            <a:r>
              <a:rPr lang="en-CA"/>
              <a:t>Team Overview</a:t>
            </a:r>
          </a:p>
        </p:txBody>
      </p:sp>
      <p:sp>
        <p:nvSpPr>
          <p:cNvPr id="7" name="Title 6">
            <a:extLst>
              <a:ext uri="{FF2B5EF4-FFF2-40B4-BE49-F238E27FC236}">
                <a16:creationId xmlns:a16="http://schemas.microsoft.com/office/drawing/2014/main" id="{5DA7527B-F12B-7E0F-4AA2-B5E3AAE6D009}"/>
              </a:ext>
            </a:extLst>
          </p:cNvPr>
          <p:cNvSpPr>
            <a:spLocks noGrp="1"/>
          </p:cNvSpPr>
          <p:nvPr>
            <p:ph type="title"/>
          </p:nvPr>
        </p:nvSpPr>
        <p:spPr/>
        <p:txBody>
          <a:bodyPr/>
          <a:lstStyle/>
          <a:p>
            <a:r>
              <a:rPr lang="en-CA"/>
              <a:t>TMTH Coverage Group</a:t>
            </a:r>
          </a:p>
        </p:txBody>
      </p:sp>
      <p:sp>
        <p:nvSpPr>
          <p:cNvPr id="13" name="Text Placeholder 12">
            <a:extLst>
              <a:ext uri="{FF2B5EF4-FFF2-40B4-BE49-F238E27FC236}">
                <a16:creationId xmlns:a16="http://schemas.microsoft.com/office/drawing/2014/main" id="{1838A49E-73F4-BAF0-C316-C6C47F6F2FA5}"/>
              </a:ext>
            </a:extLst>
          </p:cNvPr>
          <p:cNvSpPr>
            <a:spLocks noGrp="1"/>
          </p:cNvSpPr>
          <p:nvPr>
            <p:ph type="body" idx="22"/>
          </p:nvPr>
        </p:nvSpPr>
        <p:spPr/>
        <p:txBody>
          <a:bodyPr/>
          <a:lstStyle/>
          <a:p>
            <a:r>
              <a:rPr lang="en-CA"/>
              <a:t>Experience</a:t>
            </a:r>
          </a:p>
        </p:txBody>
      </p:sp>
      <p:sp>
        <p:nvSpPr>
          <p:cNvPr id="15" name="Text Placeholder 14">
            <a:extLst>
              <a:ext uri="{FF2B5EF4-FFF2-40B4-BE49-F238E27FC236}">
                <a16:creationId xmlns:a16="http://schemas.microsoft.com/office/drawing/2014/main" id="{A48FE6F4-7F61-0B7C-A608-D305876B15BD}"/>
              </a:ext>
            </a:extLst>
          </p:cNvPr>
          <p:cNvSpPr>
            <a:spLocks noGrp="1"/>
          </p:cNvSpPr>
          <p:nvPr>
            <p:ph type="body" idx="26"/>
          </p:nvPr>
        </p:nvSpPr>
        <p:spPr/>
        <p:txBody>
          <a:bodyPr/>
          <a:lstStyle/>
          <a:p>
            <a:r>
              <a:rPr lang="en-CA"/>
              <a:t>Education</a:t>
            </a:r>
          </a:p>
        </p:txBody>
      </p:sp>
      <p:sp>
        <p:nvSpPr>
          <p:cNvPr id="55" name="Rectangle 54">
            <a:extLst>
              <a:ext uri="{FF2B5EF4-FFF2-40B4-BE49-F238E27FC236}">
                <a16:creationId xmlns:a16="http://schemas.microsoft.com/office/drawing/2014/main" id="{A3130EC9-B7E6-05AD-F852-E429689F14AE}"/>
              </a:ext>
            </a:extLst>
          </p:cNvPr>
          <p:cNvSpPr/>
          <p:nvPr/>
        </p:nvSpPr>
        <p:spPr>
          <a:xfrm>
            <a:off x="1190182" y="1427507"/>
            <a:ext cx="3208129"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CA" sz="900" b="1">
                <a:solidFill>
                  <a:schemeClr val="tx2"/>
                </a:solidFill>
              </a:rPr>
              <a:t>Corey Cao - Portfolio Manager</a:t>
            </a:r>
          </a:p>
        </p:txBody>
      </p:sp>
      <p:sp>
        <p:nvSpPr>
          <p:cNvPr id="56" name="Rectangle 55">
            <a:extLst>
              <a:ext uri="{FF2B5EF4-FFF2-40B4-BE49-F238E27FC236}">
                <a16:creationId xmlns:a16="http://schemas.microsoft.com/office/drawing/2014/main" id="{F808DE96-968C-CA16-BBA1-D94DBC25BFA7}"/>
              </a:ext>
            </a:extLst>
          </p:cNvPr>
          <p:cNvSpPr/>
          <p:nvPr/>
        </p:nvSpPr>
        <p:spPr>
          <a:xfrm>
            <a:off x="1190182" y="1603910"/>
            <a:ext cx="3519922"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0815" indent="-170815">
              <a:buClr>
                <a:schemeClr val="accent1"/>
              </a:buClr>
              <a:buFont typeface="Wingdings" pitchFamily="2" charset="2"/>
              <a:buChar char="§"/>
            </a:pPr>
            <a:endParaRPr lang="en-CA" sz="900">
              <a:solidFill>
                <a:schemeClr val="tx1"/>
              </a:solidFill>
              <a:cs typeface="Arial"/>
            </a:endParaRPr>
          </a:p>
          <a:p>
            <a:pPr marL="170815" indent="-170815">
              <a:buClr>
                <a:schemeClr val="accent1"/>
              </a:buClr>
              <a:buFont typeface="Wingdings" pitchFamily="2" charset="2"/>
              <a:buChar char="§"/>
            </a:pPr>
            <a:endParaRPr lang="en-CA" sz="900">
              <a:solidFill>
                <a:schemeClr val="tx1"/>
              </a:solidFill>
              <a:cs typeface="Arial"/>
            </a:endParaRPr>
          </a:p>
        </p:txBody>
      </p:sp>
      <p:sp>
        <p:nvSpPr>
          <p:cNvPr id="57" name="Rectangle 56">
            <a:extLst>
              <a:ext uri="{FF2B5EF4-FFF2-40B4-BE49-F238E27FC236}">
                <a16:creationId xmlns:a16="http://schemas.microsoft.com/office/drawing/2014/main" id="{69328AD4-E955-C304-01A9-96C9748ED582}"/>
              </a:ext>
            </a:extLst>
          </p:cNvPr>
          <p:cNvSpPr/>
          <p:nvPr/>
        </p:nvSpPr>
        <p:spPr>
          <a:xfrm>
            <a:off x="4758400" y="1397482"/>
            <a:ext cx="4140911"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CA" sz="900" b="1">
                <a:solidFill>
                  <a:schemeClr val="tx2"/>
                </a:solidFill>
              </a:rPr>
              <a:t>Equity Research, Asset Management</a:t>
            </a:r>
          </a:p>
        </p:txBody>
      </p:sp>
      <p:sp>
        <p:nvSpPr>
          <p:cNvPr id="58" name="Rectangle 57">
            <a:extLst>
              <a:ext uri="{FF2B5EF4-FFF2-40B4-BE49-F238E27FC236}">
                <a16:creationId xmlns:a16="http://schemas.microsoft.com/office/drawing/2014/main" id="{ECB5D306-65B2-1FE8-B9E1-542F3E37D747}"/>
              </a:ext>
            </a:extLst>
          </p:cNvPr>
          <p:cNvSpPr/>
          <p:nvPr/>
        </p:nvSpPr>
        <p:spPr>
          <a:xfrm>
            <a:off x="4758839" y="1594528"/>
            <a:ext cx="4140472"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r>
              <a:rPr lang="en-CA" sz="900">
                <a:solidFill>
                  <a:schemeClr val="tx1"/>
                </a:solidFill>
              </a:rPr>
              <a:t>Analyst, TD Wealth</a:t>
            </a:r>
          </a:p>
          <a:p>
            <a:pPr>
              <a:buClr>
                <a:schemeClr val="accent1"/>
              </a:buClr>
            </a:pPr>
            <a:endParaRPr lang="en-CA" sz="900">
              <a:solidFill>
                <a:schemeClr val="tx1"/>
              </a:solidFill>
            </a:endParaRPr>
          </a:p>
          <a:p>
            <a:pPr>
              <a:buClr>
                <a:schemeClr val="accent1"/>
              </a:buClr>
            </a:pPr>
            <a:endParaRPr lang="en-CA" sz="900">
              <a:solidFill>
                <a:schemeClr val="tx1"/>
              </a:solidFill>
            </a:endParaRPr>
          </a:p>
          <a:p>
            <a:pPr>
              <a:buClr>
                <a:schemeClr val="accent1"/>
              </a:buClr>
            </a:pPr>
            <a:endParaRPr lang="en-CA" sz="900">
              <a:solidFill>
                <a:schemeClr val="tx1"/>
              </a:solidFill>
            </a:endParaRPr>
          </a:p>
        </p:txBody>
      </p:sp>
      <p:cxnSp>
        <p:nvCxnSpPr>
          <p:cNvPr id="59" name="Straight Arrow Connector 58">
            <a:extLst>
              <a:ext uri="{FF2B5EF4-FFF2-40B4-BE49-F238E27FC236}">
                <a16:creationId xmlns:a16="http://schemas.microsoft.com/office/drawing/2014/main" id="{B6A09BFC-743F-85EC-FA38-B2F5DB95023E}"/>
              </a:ext>
            </a:extLst>
          </p:cNvPr>
          <p:cNvCxnSpPr>
            <a:cxnSpLocks/>
          </p:cNvCxnSpPr>
          <p:nvPr/>
        </p:nvCxnSpPr>
        <p:spPr>
          <a:xfrm flipV="1">
            <a:off x="1183605" y="1578255"/>
            <a:ext cx="7715707" cy="7499"/>
          </a:xfrm>
          <a:prstGeom prst="straightConnector1">
            <a:avLst/>
          </a:prstGeom>
          <a:ln w="12700"/>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6097FD06-11B6-E3E4-CB1B-59946C02F815}"/>
              </a:ext>
            </a:extLst>
          </p:cNvPr>
          <p:cNvSpPr/>
          <p:nvPr/>
        </p:nvSpPr>
        <p:spPr>
          <a:xfrm>
            <a:off x="1191345" y="3899109"/>
            <a:ext cx="3208129"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CA" sz="900" b="1">
                <a:solidFill>
                  <a:schemeClr val="tx2"/>
                </a:solidFill>
              </a:rPr>
              <a:t>Carlo Abi-Raad – Junior Analyst</a:t>
            </a:r>
          </a:p>
        </p:txBody>
      </p:sp>
      <p:sp>
        <p:nvSpPr>
          <p:cNvPr id="65" name="Rectangle 64">
            <a:extLst>
              <a:ext uri="{FF2B5EF4-FFF2-40B4-BE49-F238E27FC236}">
                <a16:creationId xmlns:a16="http://schemas.microsoft.com/office/drawing/2014/main" id="{79EE2547-F3A6-CEFA-E8BC-759516662BA2}"/>
              </a:ext>
            </a:extLst>
          </p:cNvPr>
          <p:cNvSpPr/>
          <p:nvPr/>
        </p:nvSpPr>
        <p:spPr>
          <a:xfrm>
            <a:off x="1176597" y="4068138"/>
            <a:ext cx="3208129"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endParaRPr lang="en-CA" sz="900">
              <a:solidFill>
                <a:schemeClr val="tx1"/>
              </a:solidFill>
            </a:endParaRPr>
          </a:p>
        </p:txBody>
      </p:sp>
      <p:sp>
        <p:nvSpPr>
          <p:cNvPr id="66" name="Rectangle 65">
            <a:extLst>
              <a:ext uri="{FF2B5EF4-FFF2-40B4-BE49-F238E27FC236}">
                <a16:creationId xmlns:a16="http://schemas.microsoft.com/office/drawing/2014/main" id="{8B0F9B10-A7E1-9003-EB69-38DA46D637D0}"/>
              </a:ext>
            </a:extLst>
          </p:cNvPr>
          <p:cNvSpPr/>
          <p:nvPr/>
        </p:nvSpPr>
        <p:spPr>
          <a:xfrm>
            <a:off x="4744815" y="3890679"/>
            <a:ext cx="4140911"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CA" sz="900" b="1">
                <a:solidFill>
                  <a:schemeClr val="tx2"/>
                </a:solidFill>
              </a:rPr>
              <a:t>Equity Research, Asset Management, Case Competitions</a:t>
            </a:r>
          </a:p>
        </p:txBody>
      </p:sp>
      <p:sp>
        <p:nvSpPr>
          <p:cNvPr id="67" name="Rectangle 66">
            <a:extLst>
              <a:ext uri="{FF2B5EF4-FFF2-40B4-BE49-F238E27FC236}">
                <a16:creationId xmlns:a16="http://schemas.microsoft.com/office/drawing/2014/main" id="{56A86C08-895E-1ED7-9423-E02F47A28DBD}"/>
              </a:ext>
            </a:extLst>
          </p:cNvPr>
          <p:cNvSpPr/>
          <p:nvPr/>
        </p:nvSpPr>
        <p:spPr>
          <a:xfrm>
            <a:off x="4751827" y="4074656"/>
            <a:ext cx="4140472"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chemeClr val="accent1"/>
              </a:buClr>
              <a:buFont typeface="Wingdings" panose="05000000000000000000" pitchFamily="2" charset="2"/>
              <a:buChar char="§"/>
            </a:pPr>
            <a:r>
              <a:rPr lang="en-CA" sz="900">
                <a:solidFill>
                  <a:schemeClr val="tx1"/>
                </a:solidFill>
              </a:rPr>
              <a:t>Analyst, RBC Wealth Management</a:t>
            </a:r>
          </a:p>
          <a:p>
            <a:pPr marL="171450" indent="-171450">
              <a:buClr>
                <a:schemeClr val="accent1"/>
              </a:buClr>
              <a:buFont typeface="Wingdings" panose="05000000000000000000" pitchFamily="2" charset="2"/>
              <a:buChar char="§"/>
            </a:pPr>
            <a:r>
              <a:rPr lang="en-CA" sz="900">
                <a:solidFill>
                  <a:schemeClr val="tx1"/>
                </a:solidFill>
              </a:rPr>
              <a:t>Financial Analyst, Statistics Canada </a:t>
            </a:r>
          </a:p>
        </p:txBody>
      </p:sp>
      <p:cxnSp>
        <p:nvCxnSpPr>
          <p:cNvPr id="68" name="Straight Arrow Connector 67">
            <a:extLst>
              <a:ext uri="{FF2B5EF4-FFF2-40B4-BE49-F238E27FC236}">
                <a16:creationId xmlns:a16="http://schemas.microsoft.com/office/drawing/2014/main" id="{AE080EDA-3364-E276-6872-9BD252516824}"/>
              </a:ext>
            </a:extLst>
          </p:cNvPr>
          <p:cNvCxnSpPr>
            <a:cxnSpLocks/>
          </p:cNvCxnSpPr>
          <p:nvPr/>
        </p:nvCxnSpPr>
        <p:spPr>
          <a:xfrm flipV="1">
            <a:off x="1176593" y="4063256"/>
            <a:ext cx="7715707" cy="7499"/>
          </a:xfrm>
          <a:prstGeom prst="straightConnector1">
            <a:avLst/>
          </a:prstGeom>
          <a:ln w="12700"/>
        </p:spPr>
        <p:style>
          <a:lnRef idx="1">
            <a:schemeClr val="accent1"/>
          </a:lnRef>
          <a:fillRef idx="0">
            <a:schemeClr val="accent1"/>
          </a:fillRef>
          <a:effectRef idx="0">
            <a:schemeClr val="accent1"/>
          </a:effectRef>
          <a:fontRef idx="minor">
            <a:schemeClr val="tx1"/>
          </a:fontRef>
        </p:style>
      </p:cxnSp>
      <p:sp>
        <p:nvSpPr>
          <p:cNvPr id="69" name="ZoneTexte 13">
            <a:extLst>
              <a:ext uri="{FF2B5EF4-FFF2-40B4-BE49-F238E27FC236}">
                <a16:creationId xmlns:a16="http://schemas.microsoft.com/office/drawing/2014/main" id="{F6E28471-A5FC-1E9F-1092-1DC826FF2D13}"/>
              </a:ext>
            </a:extLst>
          </p:cNvPr>
          <p:cNvSpPr txBox="1"/>
          <p:nvPr/>
        </p:nvSpPr>
        <p:spPr>
          <a:xfrm>
            <a:off x="1176590" y="4097906"/>
            <a:ext cx="3385861" cy="507831"/>
          </a:xfrm>
          <a:prstGeom prst="rect">
            <a:avLst/>
          </a:prstGeom>
          <a:noFill/>
        </p:spPr>
        <p:txBody>
          <a:bodyPr wrap="square">
            <a:spAutoFit/>
          </a:bodyPr>
          <a:lstStyle/>
          <a:p>
            <a:pPr marL="171450" indent="-171450">
              <a:buClr>
                <a:schemeClr val="accent1"/>
              </a:buClr>
              <a:buFont typeface="Wingdings" panose="05000000000000000000" pitchFamily="2" charset="2"/>
              <a:buChar char="§"/>
            </a:pPr>
            <a:r>
              <a:rPr lang="en-US" sz="900">
                <a:solidFill>
                  <a:schemeClr val="tx1"/>
                </a:solidFill>
              </a:rPr>
              <a:t>Telfer School of Management</a:t>
            </a:r>
          </a:p>
          <a:p>
            <a:pPr marL="171450" lvl="0" indent="-171450">
              <a:buClr>
                <a:srgbClr val="0F3557"/>
              </a:buClr>
              <a:buFont typeface="Wingdings" panose="05000000000000000000" pitchFamily="2" charset="2"/>
              <a:buChar char="§"/>
            </a:pPr>
            <a:r>
              <a:rPr lang="en-US" sz="900">
                <a:solidFill>
                  <a:schemeClr val="tx1"/>
                </a:solidFill>
              </a:rPr>
              <a:t>4</a:t>
            </a:r>
            <a:r>
              <a:rPr lang="en-US" sz="1000" b="0" i="0" u="none" strike="noStrike" baseline="30000" noProof="0" err="1">
                <a:solidFill>
                  <a:schemeClr val="tx1"/>
                </a:solidFill>
                <a:latin typeface="+mn-lt"/>
              </a:rPr>
              <a:t>th</a:t>
            </a:r>
            <a:r>
              <a:rPr lang="en-US" sz="900">
                <a:solidFill>
                  <a:schemeClr val="tx1"/>
                </a:solidFill>
              </a:rPr>
              <a:t>  Year B. Com Finance</a:t>
            </a:r>
          </a:p>
          <a:p>
            <a:pPr marL="170815" indent="-170815">
              <a:buFont typeface="Wingdings,Sans-Serif"/>
              <a:buChar char="§"/>
            </a:pPr>
            <a:endParaRPr lang="en-US" sz="900">
              <a:cs typeface="Arial"/>
            </a:endParaRPr>
          </a:p>
        </p:txBody>
      </p:sp>
      <p:sp>
        <p:nvSpPr>
          <p:cNvPr id="39" name="Rectangle 38">
            <a:extLst>
              <a:ext uri="{FF2B5EF4-FFF2-40B4-BE49-F238E27FC236}">
                <a16:creationId xmlns:a16="http://schemas.microsoft.com/office/drawing/2014/main" id="{A784512D-A6D6-28EE-E2EF-88CBF425A2EA}"/>
              </a:ext>
            </a:extLst>
          </p:cNvPr>
          <p:cNvSpPr/>
          <p:nvPr/>
        </p:nvSpPr>
        <p:spPr>
          <a:xfrm>
            <a:off x="1183172" y="2583695"/>
            <a:ext cx="3385861"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CA" sz="900" b="1">
                <a:solidFill>
                  <a:schemeClr val="tx2"/>
                </a:solidFill>
              </a:rPr>
              <a:t>Thomas Giroux – Senior Analyst</a:t>
            </a:r>
          </a:p>
        </p:txBody>
      </p:sp>
      <p:sp>
        <p:nvSpPr>
          <p:cNvPr id="41" name="Rectangle 40">
            <a:extLst>
              <a:ext uri="{FF2B5EF4-FFF2-40B4-BE49-F238E27FC236}">
                <a16:creationId xmlns:a16="http://schemas.microsoft.com/office/drawing/2014/main" id="{7E3BEB29-BA4D-09DF-964C-97A3D8B19F2A}"/>
              </a:ext>
            </a:extLst>
          </p:cNvPr>
          <p:cNvSpPr/>
          <p:nvPr/>
        </p:nvSpPr>
        <p:spPr>
          <a:xfrm>
            <a:off x="1183173" y="2753969"/>
            <a:ext cx="3208129"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endParaRPr lang="en-CA" sz="900">
              <a:solidFill>
                <a:schemeClr val="tx1"/>
              </a:solidFill>
            </a:endParaRPr>
          </a:p>
        </p:txBody>
      </p:sp>
      <p:sp>
        <p:nvSpPr>
          <p:cNvPr id="42" name="Rectangle 41">
            <a:extLst>
              <a:ext uri="{FF2B5EF4-FFF2-40B4-BE49-F238E27FC236}">
                <a16:creationId xmlns:a16="http://schemas.microsoft.com/office/drawing/2014/main" id="{0DD53E92-3780-96BF-95F7-A2B1B95C3808}"/>
              </a:ext>
            </a:extLst>
          </p:cNvPr>
          <p:cNvSpPr/>
          <p:nvPr/>
        </p:nvSpPr>
        <p:spPr>
          <a:xfrm>
            <a:off x="4751391" y="2577567"/>
            <a:ext cx="4140911"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CA" sz="900" b="1">
              <a:solidFill>
                <a:schemeClr val="tx2"/>
              </a:solidFill>
            </a:endParaRPr>
          </a:p>
        </p:txBody>
      </p:sp>
      <p:sp>
        <p:nvSpPr>
          <p:cNvPr id="43" name="Rectangle 42">
            <a:extLst>
              <a:ext uri="{FF2B5EF4-FFF2-40B4-BE49-F238E27FC236}">
                <a16:creationId xmlns:a16="http://schemas.microsoft.com/office/drawing/2014/main" id="{618F096D-9752-C167-F532-FC260960C139}"/>
              </a:ext>
            </a:extLst>
          </p:cNvPr>
          <p:cNvSpPr/>
          <p:nvPr/>
        </p:nvSpPr>
        <p:spPr>
          <a:xfrm>
            <a:off x="4765858" y="2759372"/>
            <a:ext cx="4126005" cy="1068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chemeClr val="accent1"/>
              </a:buClr>
              <a:buFont typeface="Wingdings" panose="05000000000000000000" pitchFamily="2" charset="2"/>
              <a:buChar char="§"/>
            </a:pPr>
            <a:r>
              <a:rPr lang="en-CA" sz="900">
                <a:solidFill>
                  <a:schemeClr val="tx1"/>
                </a:solidFill>
              </a:rPr>
              <a:t>Analyst, IG Private Wealth</a:t>
            </a:r>
            <a:endParaRPr lang="en-CA" sz="900">
              <a:solidFill>
                <a:schemeClr val="tx1"/>
              </a:solidFill>
              <a:cs typeface="Arial"/>
            </a:endParaRPr>
          </a:p>
          <a:p>
            <a:pPr>
              <a:buClr>
                <a:schemeClr val="accent1"/>
              </a:buClr>
            </a:pPr>
            <a:endParaRPr lang="en-CA" sz="900">
              <a:solidFill>
                <a:schemeClr val="tx1"/>
              </a:solidFill>
              <a:cs typeface="Arial"/>
            </a:endParaRPr>
          </a:p>
          <a:p>
            <a:pPr>
              <a:buClr>
                <a:schemeClr val="accent1"/>
              </a:buClr>
            </a:pPr>
            <a:endParaRPr lang="en-CA" sz="900">
              <a:solidFill>
                <a:schemeClr val="tx1"/>
              </a:solidFill>
              <a:cs typeface="Arial"/>
            </a:endParaRPr>
          </a:p>
        </p:txBody>
      </p:sp>
      <p:cxnSp>
        <p:nvCxnSpPr>
          <p:cNvPr id="44" name="Straight Arrow Connector 43">
            <a:extLst>
              <a:ext uri="{FF2B5EF4-FFF2-40B4-BE49-F238E27FC236}">
                <a16:creationId xmlns:a16="http://schemas.microsoft.com/office/drawing/2014/main" id="{2C09D518-BDF8-20B0-0EB2-D6048940E329}"/>
              </a:ext>
            </a:extLst>
          </p:cNvPr>
          <p:cNvCxnSpPr>
            <a:cxnSpLocks/>
          </p:cNvCxnSpPr>
          <p:nvPr/>
        </p:nvCxnSpPr>
        <p:spPr>
          <a:xfrm flipV="1">
            <a:off x="1183169" y="2748565"/>
            <a:ext cx="7715707" cy="7499"/>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ZoneTexte 15">
            <a:extLst>
              <a:ext uri="{FF2B5EF4-FFF2-40B4-BE49-F238E27FC236}">
                <a16:creationId xmlns:a16="http://schemas.microsoft.com/office/drawing/2014/main" id="{3A0FAC6C-2301-1291-8527-FE3355B4BB2B}"/>
              </a:ext>
            </a:extLst>
          </p:cNvPr>
          <p:cNvSpPr txBox="1"/>
          <p:nvPr/>
        </p:nvSpPr>
        <p:spPr>
          <a:xfrm>
            <a:off x="1181592" y="2753152"/>
            <a:ext cx="3579539" cy="5078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Clr>
                <a:schemeClr val="accent1"/>
              </a:buClr>
              <a:buFont typeface="Wingdings" panose="05000000000000000000" pitchFamily="2" charset="2"/>
              <a:buChar char="§"/>
            </a:pPr>
            <a:r>
              <a:rPr lang="en-US" sz="900">
                <a:solidFill>
                  <a:schemeClr val="tx1"/>
                </a:solidFill>
              </a:rPr>
              <a:t>Telfer School of Management</a:t>
            </a:r>
          </a:p>
          <a:p>
            <a:pPr marL="171450" lvl="0" indent="-171450">
              <a:buClr>
                <a:srgbClr val="0F3557"/>
              </a:buClr>
              <a:buFont typeface="Wingdings" panose="05000000000000000000" pitchFamily="2" charset="2"/>
              <a:buChar char="§"/>
            </a:pPr>
            <a:r>
              <a:rPr lang="en-US" sz="900">
                <a:solidFill>
                  <a:schemeClr val="tx1"/>
                </a:solidFill>
              </a:rPr>
              <a:t>4</a:t>
            </a:r>
            <a:r>
              <a:rPr lang="en-US" sz="1000" b="0" i="0" u="none" strike="noStrike" baseline="30000" noProof="0" err="1">
                <a:solidFill>
                  <a:schemeClr val="tx1"/>
                </a:solidFill>
                <a:latin typeface="+mn-lt"/>
              </a:rPr>
              <a:t>th</a:t>
            </a:r>
            <a:r>
              <a:rPr lang="en-US" sz="900">
                <a:solidFill>
                  <a:schemeClr val="tx1"/>
                </a:solidFill>
              </a:rPr>
              <a:t> Year B. Com Finance</a:t>
            </a:r>
          </a:p>
          <a:p>
            <a:pPr marL="170815" indent="-170815">
              <a:buFont typeface="Wingdings,Sans-Serif"/>
              <a:buChar char="§"/>
            </a:pPr>
            <a:endParaRPr lang="en-US" sz="900">
              <a:cs typeface="Arial"/>
            </a:endParaRPr>
          </a:p>
        </p:txBody>
      </p:sp>
      <p:sp>
        <p:nvSpPr>
          <p:cNvPr id="48" name="Rectangle 47">
            <a:extLst>
              <a:ext uri="{FF2B5EF4-FFF2-40B4-BE49-F238E27FC236}">
                <a16:creationId xmlns:a16="http://schemas.microsoft.com/office/drawing/2014/main" id="{7A2400B1-6AEA-10AC-A7F7-58BB34033747}"/>
              </a:ext>
            </a:extLst>
          </p:cNvPr>
          <p:cNvSpPr/>
          <p:nvPr/>
        </p:nvSpPr>
        <p:spPr>
          <a:xfrm>
            <a:off x="1176161" y="5071169"/>
            <a:ext cx="3208129"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CA" sz="900" b="1">
                <a:solidFill>
                  <a:schemeClr val="tx2"/>
                </a:solidFill>
              </a:rPr>
              <a:t>Christian Gillam – Junior Analyst</a:t>
            </a:r>
          </a:p>
        </p:txBody>
      </p:sp>
      <p:sp>
        <p:nvSpPr>
          <p:cNvPr id="49" name="Rectangle 48">
            <a:extLst>
              <a:ext uri="{FF2B5EF4-FFF2-40B4-BE49-F238E27FC236}">
                <a16:creationId xmlns:a16="http://schemas.microsoft.com/office/drawing/2014/main" id="{462E58D8-F004-B806-F403-26C4200A77DD}"/>
              </a:ext>
            </a:extLst>
          </p:cNvPr>
          <p:cNvSpPr/>
          <p:nvPr/>
        </p:nvSpPr>
        <p:spPr>
          <a:xfrm>
            <a:off x="1176161" y="5247572"/>
            <a:ext cx="3208129"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endParaRPr lang="en-CA" sz="900">
              <a:solidFill>
                <a:schemeClr val="tx1"/>
              </a:solidFill>
            </a:endParaRPr>
          </a:p>
        </p:txBody>
      </p:sp>
      <p:sp>
        <p:nvSpPr>
          <p:cNvPr id="50" name="Rectangle 49">
            <a:extLst>
              <a:ext uri="{FF2B5EF4-FFF2-40B4-BE49-F238E27FC236}">
                <a16:creationId xmlns:a16="http://schemas.microsoft.com/office/drawing/2014/main" id="{D568656F-6E91-B135-B884-328F9A22F841}"/>
              </a:ext>
            </a:extLst>
          </p:cNvPr>
          <p:cNvSpPr/>
          <p:nvPr/>
        </p:nvSpPr>
        <p:spPr>
          <a:xfrm>
            <a:off x="4744379" y="5070113"/>
            <a:ext cx="4140911"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CA" sz="900" b="1">
                <a:solidFill>
                  <a:schemeClr val="tx2"/>
                </a:solidFill>
                <a:cs typeface="Arial"/>
              </a:rPr>
              <a:t>Equity Research, Asset Management, Case Competitions</a:t>
            </a:r>
          </a:p>
        </p:txBody>
      </p:sp>
      <p:sp>
        <p:nvSpPr>
          <p:cNvPr id="52" name="Rectangle 51">
            <a:extLst>
              <a:ext uri="{FF2B5EF4-FFF2-40B4-BE49-F238E27FC236}">
                <a16:creationId xmlns:a16="http://schemas.microsoft.com/office/drawing/2014/main" id="{2D1D4984-7A57-B8B4-F6A4-940AAF03D147}"/>
              </a:ext>
            </a:extLst>
          </p:cNvPr>
          <p:cNvSpPr/>
          <p:nvPr/>
        </p:nvSpPr>
        <p:spPr>
          <a:xfrm>
            <a:off x="4751391" y="5254090"/>
            <a:ext cx="4140472"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0815" indent="-170815">
              <a:buClr>
                <a:schemeClr val="accent1"/>
              </a:buClr>
              <a:buFont typeface="Wingdings" pitchFamily="2" charset="2"/>
              <a:buChar char="§"/>
            </a:pPr>
            <a:r>
              <a:rPr lang="en-US" sz="900">
                <a:solidFill>
                  <a:schemeClr val="tx1"/>
                </a:solidFill>
              </a:rPr>
              <a:t>Consolidations Intern, Brookfield Corp</a:t>
            </a:r>
          </a:p>
          <a:p>
            <a:pPr marL="170815" indent="-170815">
              <a:buClr>
                <a:schemeClr val="accent1"/>
              </a:buClr>
              <a:buFont typeface="Wingdings" pitchFamily="2" charset="2"/>
              <a:buChar char="§"/>
            </a:pPr>
            <a:r>
              <a:rPr lang="en-US" sz="900">
                <a:solidFill>
                  <a:schemeClr val="tx1"/>
                </a:solidFill>
              </a:rPr>
              <a:t>Chief Analyst, Telfer Asset Management League</a:t>
            </a:r>
          </a:p>
          <a:p>
            <a:pPr marL="170815" indent="-170815">
              <a:buClr>
                <a:schemeClr val="accent1"/>
              </a:buClr>
              <a:buFont typeface="Wingdings" pitchFamily="2" charset="2"/>
              <a:buChar char="§"/>
            </a:pPr>
            <a:r>
              <a:rPr lang="en-US" sz="900">
                <a:solidFill>
                  <a:schemeClr val="tx1"/>
                </a:solidFill>
              </a:rPr>
              <a:t>VP Finance, Telfer Business Journal</a:t>
            </a:r>
          </a:p>
          <a:p>
            <a:pPr marL="170815" indent="-170815">
              <a:buClr>
                <a:schemeClr val="accent1"/>
              </a:buClr>
              <a:buFont typeface="Wingdings" pitchFamily="2" charset="2"/>
              <a:buChar char="§"/>
            </a:pPr>
            <a:endParaRPr lang="en-CA" sz="900">
              <a:solidFill>
                <a:schemeClr val="tx1"/>
              </a:solidFill>
              <a:cs typeface="Arial"/>
            </a:endParaRPr>
          </a:p>
          <a:p>
            <a:pPr>
              <a:buClr>
                <a:schemeClr val="accent1"/>
              </a:buClr>
            </a:pPr>
            <a:endParaRPr lang="en-CA" sz="900">
              <a:solidFill>
                <a:schemeClr val="tx1"/>
              </a:solidFill>
              <a:cs typeface="Arial"/>
            </a:endParaRPr>
          </a:p>
          <a:p>
            <a:pPr marL="170815" indent="-170815">
              <a:buClr>
                <a:schemeClr val="accent1"/>
              </a:buClr>
              <a:buFont typeface="Wingdings" pitchFamily="2" charset="2"/>
              <a:buChar char="§"/>
            </a:pPr>
            <a:endParaRPr lang="en-CA" sz="900">
              <a:solidFill>
                <a:schemeClr val="tx1"/>
              </a:solidFill>
              <a:cs typeface="Arial"/>
            </a:endParaRPr>
          </a:p>
        </p:txBody>
      </p:sp>
      <p:cxnSp>
        <p:nvCxnSpPr>
          <p:cNvPr id="53" name="Straight Arrow Connector 52">
            <a:extLst>
              <a:ext uri="{FF2B5EF4-FFF2-40B4-BE49-F238E27FC236}">
                <a16:creationId xmlns:a16="http://schemas.microsoft.com/office/drawing/2014/main" id="{D8C553C4-9F97-71EB-BC2F-565DEE196EBE}"/>
              </a:ext>
            </a:extLst>
          </p:cNvPr>
          <p:cNvCxnSpPr>
            <a:cxnSpLocks/>
          </p:cNvCxnSpPr>
          <p:nvPr/>
        </p:nvCxnSpPr>
        <p:spPr>
          <a:xfrm flipV="1">
            <a:off x="1176157" y="5242690"/>
            <a:ext cx="7715707" cy="7499"/>
          </a:xfrm>
          <a:prstGeom prst="straightConnector1">
            <a:avLst/>
          </a:prstGeom>
          <a:ln w="12700"/>
        </p:spPr>
        <p:style>
          <a:lnRef idx="1">
            <a:schemeClr val="accent1"/>
          </a:lnRef>
          <a:fillRef idx="0">
            <a:schemeClr val="accent1"/>
          </a:fillRef>
          <a:effectRef idx="0">
            <a:schemeClr val="accent1"/>
          </a:effectRef>
          <a:fontRef idx="minor">
            <a:schemeClr val="tx1"/>
          </a:fontRef>
        </p:style>
      </p:cxnSp>
      <p:sp>
        <p:nvSpPr>
          <p:cNvPr id="54" name="ZoneTexte 13">
            <a:extLst>
              <a:ext uri="{FF2B5EF4-FFF2-40B4-BE49-F238E27FC236}">
                <a16:creationId xmlns:a16="http://schemas.microsoft.com/office/drawing/2014/main" id="{D6A41486-7572-97FA-F4D9-48CA9528FAB6}"/>
              </a:ext>
            </a:extLst>
          </p:cNvPr>
          <p:cNvSpPr txBox="1"/>
          <p:nvPr/>
        </p:nvSpPr>
        <p:spPr>
          <a:xfrm>
            <a:off x="1181256" y="5290736"/>
            <a:ext cx="3604413" cy="507831"/>
          </a:xfrm>
          <a:prstGeom prst="rect">
            <a:avLst/>
          </a:prstGeom>
          <a:noFill/>
        </p:spPr>
        <p:txBody>
          <a:bodyPr wrap="square" lIns="91440" tIns="45720" rIns="91440" bIns="45720" anchor="t">
            <a:spAutoFit/>
          </a:bodyPr>
          <a:lstStyle/>
          <a:p>
            <a:pPr marL="171450" indent="-171450">
              <a:buClr>
                <a:schemeClr val="accent1"/>
              </a:buClr>
              <a:buFont typeface="Wingdings" panose="05000000000000000000" pitchFamily="2" charset="2"/>
              <a:buChar char="§"/>
            </a:pPr>
            <a:r>
              <a:rPr lang="en-US" sz="900">
                <a:solidFill>
                  <a:schemeClr val="tx1"/>
                </a:solidFill>
              </a:rPr>
              <a:t>Telfer School of Management</a:t>
            </a:r>
          </a:p>
          <a:p>
            <a:pPr marL="171450" lvl="0" indent="-171450">
              <a:buClr>
                <a:srgbClr val="0F3557"/>
              </a:buClr>
              <a:buFont typeface="Wingdings" panose="05000000000000000000" pitchFamily="2" charset="2"/>
              <a:buChar char="§"/>
            </a:pPr>
            <a:r>
              <a:rPr lang="en-US" sz="900">
                <a:solidFill>
                  <a:schemeClr val="tx1"/>
                </a:solidFill>
              </a:rPr>
              <a:t>2</a:t>
            </a:r>
            <a:r>
              <a:rPr lang="en-US" sz="1000" b="0" i="0" u="none" strike="noStrike" baseline="30000" noProof="0" err="1">
                <a:solidFill>
                  <a:schemeClr val="tx1"/>
                </a:solidFill>
                <a:latin typeface="+mn-lt"/>
              </a:rPr>
              <a:t>nd</a:t>
            </a:r>
            <a:r>
              <a:rPr lang="en-US" sz="900">
                <a:solidFill>
                  <a:schemeClr val="tx1"/>
                </a:solidFill>
              </a:rPr>
              <a:t> Year B. Com Finance</a:t>
            </a:r>
          </a:p>
          <a:p>
            <a:pPr marL="170815" indent="-170815">
              <a:buFont typeface="Wingdings,Sans-Serif"/>
              <a:buChar char="§"/>
            </a:pPr>
            <a:endParaRPr lang="en-US" sz="900">
              <a:cs typeface="Arial"/>
            </a:endParaRPr>
          </a:p>
        </p:txBody>
      </p:sp>
      <p:sp>
        <p:nvSpPr>
          <p:cNvPr id="71" name="Rectangle 70">
            <a:extLst>
              <a:ext uri="{FF2B5EF4-FFF2-40B4-BE49-F238E27FC236}">
                <a16:creationId xmlns:a16="http://schemas.microsoft.com/office/drawing/2014/main" id="{69F34AD6-4167-0FDF-91AD-340D27EEBD15}"/>
              </a:ext>
            </a:extLst>
          </p:cNvPr>
          <p:cNvSpPr/>
          <p:nvPr/>
        </p:nvSpPr>
        <p:spPr>
          <a:xfrm>
            <a:off x="4764715" y="2568919"/>
            <a:ext cx="4140911"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CA" sz="900" b="1">
                <a:solidFill>
                  <a:schemeClr val="tx2"/>
                </a:solidFill>
              </a:rPr>
              <a:t>Equity Research, Asset Management</a:t>
            </a:r>
          </a:p>
        </p:txBody>
      </p:sp>
      <p:sp>
        <p:nvSpPr>
          <p:cNvPr id="8" name="ZoneTexte 15">
            <a:extLst>
              <a:ext uri="{FF2B5EF4-FFF2-40B4-BE49-F238E27FC236}">
                <a16:creationId xmlns:a16="http://schemas.microsoft.com/office/drawing/2014/main" id="{2BDB1743-805D-CFD3-B18A-D44FBCA3CC2B}"/>
              </a:ext>
            </a:extLst>
          </p:cNvPr>
          <p:cNvSpPr txBox="1"/>
          <p:nvPr/>
        </p:nvSpPr>
        <p:spPr>
          <a:xfrm>
            <a:off x="1206130" y="1605160"/>
            <a:ext cx="3579539" cy="5112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Clr>
                <a:schemeClr val="accent1"/>
              </a:buClr>
              <a:buFont typeface="Wingdings" panose="05000000000000000000" pitchFamily="2" charset="2"/>
              <a:buChar char="§"/>
            </a:pPr>
            <a:r>
              <a:rPr lang="en-US" sz="900">
                <a:solidFill>
                  <a:schemeClr val="tx1"/>
                </a:solidFill>
              </a:rPr>
              <a:t>Telfer School of Management</a:t>
            </a:r>
          </a:p>
          <a:p>
            <a:pPr marL="171450" lvl="0" indent="-171450">
              <a:buClr>
                <a:srgbClr val="0F3557"/>
              </a:buClr>
              <a:buFont typeface="Wingdings" panose="05000000000000000000" pitchFamily="2" charset="2"/>
              <a:buChar char="§"/>
            </a:pPr>
            <a:r>
              <a:rPr lang="en-US" sz="900">
                <a:solidFill>
                  <a:schemeClr val="tx1"/>
                </a:solidFill>
              </a:rPr>
              <a:t>4</a:t>
            </a:r>
            <a:r>
              <a:rPr lang="en-US" sz="1000" b="0" i="0" u="none" strike="noStrike" baseline="30000" noProof="0" err="1">
                <a:solidFill>
                  <a:schemeClr val="tx1"/>
                </a:solidFill>
                <a:latin typeface="+mn-lt"/>
              </a:rPr>
              <a:t>th</a:t>
            </a:r>
            <a:r>
              <a:rPr lang="en-US" sz="900">
                <a:solidFill>
                  <a:schemeClr val="tx1"/>
                </a:solidFill>
              </a:rPr>
              <a:t> Year B. Com Finance</a:t>
            </a:r>
          </a:p>
          <a:p>
            <a:pPr marL="170815" indent="-170815">
              <a:buFont typeface="Wingdings,Sans-Serif"/>
              <a:buChar char="§"/>
            </a:pPr>
            <a:endParaRPr lang="en-US" sz="900">
              <a:cs typeface="Arial"/>
            </a:endParaRPr>
          </a:p>
        </p:txBody>
      </p:sp>
      <p:pic>
        <p:nvPicPr>
          <p:cNvPr id="20" name="Picture 19" descr="A person in a suit and tie&#10;&#10;Description automatically generated">
            <a:extLst>
              <a:ext uri="{FF2B5EF4-FFF2-40B4-BE49-F238E27FC236}">
                <a16:creationId xmlns:a16="http://schemas.microsoft.com/office/drawing/2014/main" id="{46BB0594-D331-E973-EC47-30EF137B08CC}"/>
              </a:ext>
            </a:extLst>
          </p:cNvPr>
          <p:cNvPicPr>
            <a:picLocks noChangeAspect="1"/>
          </p:cNvPicPr>
          <p:nvPr/>
        </p:nvPicPr>
        <p:blipFill>
          <a:blip r:embed="rId3">
            <a:extLst>
              <a:ext uri="{28A0092B-C50C-407E-A947-70E740481C1C}">
                <a14:useLocalDpi xmlns:a14="http://schemas.microsoft.com/office/drawing/2010/main" val="0"/>
              </a:ext>
            </a:extLst>
          </a:blip>
          <a:srcRect l="6527" t="11567" r="3154"/>
          <a:stretch/>
        </p:blipFill>
        <p:spPr>
          <a:xfrm>
            <a:off x="488282" y="1397215"/>
            <a:ext cx="646588" cy="950400"/>
          </a:xfrm>
          <a:prstGeom prst="rect">
            <a:avLst/>
          </a:prstGeom>
        </p:spPr>
      </p:pic>
      <p:pic>
        <p:nvPicPr>
          <p:cNvPr id="22" name="Picture 21" descr="A person in a suit and tie&#10;&#10;Description automatically generated">
            <a:extLst>
              <a:ext uri="{FF2B5EF4-FFF2-40B4-BE49-F238E27FC236}">
                <a16:creationId xmlns:a16="http://schemas.microsoft.com/office/drawing/2014/main" id="{317AF584-C36F-564F-600C-181525F886BA}"/>
              </a:ext>
            </a:extLst>
          </p:cNvPr>
          <p:cNvPicPr>
            <a:picLocks noChangeAspect="1"/>
          </p:cNvPicPr>
          <p:nvPr/>
        </p:nvPicPr>
        <p:blipFill>
          <a:blip r:embed="rId4">
            <a:extLst>
              <a:ext uri="{28A0092B-C50C-407E-A947-70E740481C1C}">
                <a14:useLocalDpi xmlns:a14="http://schemas.microsoft.com/office/drawing/2010/main" val="0"/>
              </a:ext>
            </a:extLst>
          </a:blip>
          <a:srcRect l="4651" t="11953" r="5031"/>
          <a:stretch/>
        </p:blipFill>
        <p:spPr>
          <a:xfrm>
            <a:off x="476055" y="2530294"/>
            <a:ext cx="650827" cy="952464"/>
          </a:xfrm>
          <a:prstGeom prst="rect">
            <a:avLst/>
          </a:prstGeom>
        </p:spPr>
      </p:pic>
      <p:pic>
        <p:nvPicPr>
          <p:cNvPr id="24" name="Picture 23" descr="A person in a suit and tie&#10;&#10;Description automatically generated">
            <a:extLst>
              <a:ext uri="{FF2B5EF4-FFF2-40B4-BE49-F238E27FC236}">
                <a16:creationId xmlns:a16="http://schemas.microsoft.com/office/drawing/2014/main" id="{92F3596F-DF71-1CFD-4169-9F8A3B2D043F}"/>
              </a:ext>
            </a:extLst>
          </p:cNvPr>
          <p:cNvPicPr>
            <a:picLocks noChangeAspect="1"/>
          </p:cNvPicPr>
          <p:nvPr/>
        </p:nvPicPr>
        <p:blipFill>
          <a:blip r:embed="rId5">
            <a:extLst>
              <a:ext uri="{28A0092B-C50C-407E-A947-70E740481C1C}">
                <a14:useLocalDpi xmlns:a14="http://schemas.microsoft.com/office/drawing/2010/main" val="0"/>
              </a:ext>
            </a:extLst>
          </a:blip>
          <a:srcRect l="3088" t="13403" r="2773"/>
          <a:stretch/>
        </p:blipFill>
        <p:spPr>
          <a:xfrm>
            <a:off x="483200" y="3833082"/>
            <a:ext cx="646588" cy="937465"/>
          </a:xfrm>
          <a:prstGeom prst="rect">
            <a:avLst/>
          </a:prstGeom>
        </p:spPr>
      </p:pic>
      <p:pic>
        <p:nvPicPr>
          <p:cNvPr id="26" name="Picture 25" descr="A person in a suit and tie&#10;&#10;Description automatically generated">
            <a:extLst>
              <a:ext uri="{FF2B5EF4-FFF2-40B4-BE49-F238E27FC236}">
                <a16:creationId xmlns:a16="http://schemas.microsoft.com/office/drawing/2014/main" id="{ED24B57C-D0AF-8B06-438A-0CF5AD2D6A9A}"/>
              </a:ext>
            </a:extLst>
          </p:cNvPr>
          <p:cNvPicPr>
            <a:picLocks noChangeAspect="1"/>
          </p:cNvPicPr>
          <p:nvPr/>
        </p:nvPicPr>
        <p:blipFill>
          <a:blip r:embed="rId6">
            <a:extLst>
              <a:ext uri="{28A0092B-C50C-407E-A947-70E740481C1C}">
                <a14:useLocalDpi xmlns:a14="http://schemas.microsoft.com/office/drawing/2010/main" val="0"/>
              </a:ext>
            </a:extLst>
          </a:blip>
          <a:srcRect l="3087" t="14676" r="3712"/>
          <a:stretch/>
        </p:blipFill>
        <p:spPr>
          <a:xfrm>
            <a:off x="483199" y="5027903"/>
            <a:ext cx="646588" cy="932438"/>
          </a:xfrm>
          <a:prstGeom prst="rect">
            <a:avLst/>
          </a:prstGeom>
        </p:spPr>
      </p:pic>
    </p:spTree>
    <p:extLst>
      <p:ext uri="{BB962C8B-B14F-4D97-AF65-F5344CB8AC3E}">
        <p14:creationId xmlns:p14="http://schemas.microsoft.com/office/powerpoint/2010/main" val="37550694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841D0B-86FB-0F28-E802-AC1749554CAF}"/>
            </a:ext>
          </a:extLst>
        </p:cNvPr>
        <p:cNvGrpSpPr/>
        <p:nvPr/>
      </p:nvGrpSpPr>
      <p:grpSpPr>
        <a:xfrm>
          <a:off x="0" y="0"/>
          <a:ext cx="0" cy="0"/>
          <a:chOff x="0" y="0"/>
          <a:chExt cx="0" cy="0"/>
        </a:xfrm>
      </p:grpSpPr>
      <p:pic>
        <p:nvPicPr>
          <p:cNvPr id="27" name="Picture 26" descr="A person in a suit and tie&#10;&#10;Description automatically generated">
            <a:extLst>
              <a:ext uri="{FF2B5EF4-FFF2-40B4-BE49-F238E27FC236}">
                <a16:creationId xmlns:a16="http://schemas.microsoft.com/office/drawing/2014/main" id="{0D508981-9CD3-B756-9D53-6620B227C04E}"/>
              </a:ext>
            </a:extLst>
          </p:cNvPr>
          <p:cNvPicPr>
            <a:picLocks noChangeAspect="1"/>
          </p:cNvPicPr>
          <p:nvPr/>
        </p:nvPicPr>
        <p:blipFill>
          <a:blip r:embed="rId3">
            <a:extLst>
              <a:ext uri="{28A0092B-C50C-407E-A947-70E740481C1C}">
                <a14:useLocalDpi xmlns:a14="http://schemas.microsoft.com/office/drawing/2010/main" val="0"/>
              </a:ext>
            </a:extLst>
          </a:blip>
          <a:srcRect l="2148" t="13208" r="3401"/>
          <a:stretch/>
        </p:blipFill>
        <p:spPr>
          <a:xfrm>
            <a:off x="490005" y="1375824"/>
            <a:ext cx="643738" cy="967624"/>
          </a:xfrm>
          <a:prstGeom prst="rect">
            <a:avLst/>
          </a:prstGeom>
        </p:spPr>
      </p:pic>
      <p:sp>
        <p:nvSpPr>
          <p:cNvPr id="12" name="Text Placeholder 11">
            <a:extLst>
              <a:ext uri="{FF2B5EF4-FFF2-40B4-BE49-F238E27FC236}">
                <a16:creationId xmlns:a16="http://schemas.microsoft.com/office/drawing/2014/main" id="{060574BC-1A28-A2DD-05F0-E6AA9B1BE6A4}"/>
              </a:ext>
            </a:extLst>
          </p:cNvPr>
          <p:cNvSpPr>
            <a:spLocks noGrp="1"/>
          </p:cNvSpPr>
          <p:nvPr>
            <p:ph type="body" sz="quarter" idx="21"/>
          </p:nvPr>
        </p:nvSpPr>
        <p:spPr/>
        <p:txBody>
          <a:bodyPr/>
          <a:lstStyle/>
          <a:p>
            <a:r>
              <a:rPr lang="en-CA"/>
              <a:t>Team Overview</a:t>
            </a:r>
          </a:p>
        </p:txBody>
      </p:sp>
      <p:sp>
        <p:nvSpPr>
          <p:cNvPr id="7" name="Title 6">
            <a:extLst>
              <a:ext uri="{FF2B5EF4-FFF2-40B4-BE49-F238E27FC236}">
                <a16:creationId xmlns:a16="http://schemas.microsoft.com/office/drawing/2014/main" id="{217CA414-F556-2DB4-33B5-22290B975C2E}"/>
              </a:ext>
            </a:extLst>
          </p:cNvPr>
          <p:cNvSpPr>
            <a:spLocks noGrp="1"/>
          </p:cNvSpPr>
          <p:nvPr>
            <p:ph type="title"/>
          </p:nvPr>
        </p:nvSpPr>
        <p:spPr/>
        <p:txBody>
          <a:bodyPr/>
          <a:lstStyle/>
          <a:p>
            <a:r>
              <a:rPr lang="en-CA"/>
              <a:t>TMTH Coverage Group</a:t>
            </a:r>
          </a:p>
        </p:txBody>
      </p:sp>
      <p:sp>
        <p:nvSpPr>
          <p:cNvPr id="13" name="Text Placeholder 12">
            <a:extLst>
              <a:ext uri="{FF2B5EF4-FFF2-40B4-BE49-F238E27FC236}">
                <a16:creationId xmlns:a16="http://schemas.microsoft.com/office/drawing/2014/main" id="{53685F40-431F-2506-FC27-5AE7457961FD}"/>
              </a:ext>
            </a:extLst>
          </p:cNvPr>
          <p:cNvSpPr>
            <a:spLocks noGrp="1"/>
          </p:cNvSpPr>
          <p:nvPr>
            <p:ph type="body" idx="22"/>
          </p:nvPr>
        </p:nvSpPr>
        <p:spPr/>
        <p:txBody>
          <a:bodyPr/>
          <a:lstStyle/>
          <a:p>
            <a:r>
              <a:rPr lang="en-CA"/>
              <a:t>Experience</a:t>
            </a:r>
          </a:p>
        </p:txBody>
      </p:sp>
      <p:sp>
        <p:nvSpPr>
          <p:cNvPr id="15" name="Text Placeholder 14">
            <a:extLst>
              <a:ext uri="{FF2B5EF4-FFF2-40B4-BE49-F238E27FC236}">
                <a16:creationId xmlns:a16="http://schemas.microsoft.com/office/drawing/2014/main" id="{58A02082-E5DD-FB16-793C-FF5DC6C3F9EA}"/>
              </a:ext>
            </a:extLst>
          </p:cNvPr>
          <p:cNvSpPr>
            <a:spLocks noGrp="1"/>
          </p:cNvSpPr>
          <p:nvPr>
            <p:ph type="body" idx="26"/>
          </p:nvPr>
        </p:nvSpPr>
        <p:spPr/>
        <p:txBody>
          <a:bodyPr/>
          <a:lstStyle/>
          <a:p>
            <a:r>
              <a:rPr lang="en-CA"/>
              <a:t>Education</a:t>
            </a:r>
          </a:p>
        </p:txBody>
      </p:sp>
      <p:sp>
        <p:nvSpPr>
          <p:cNvPr id="3" name="Rectangle 2">
            <a:extLst>
              <a:ext uri="{FF2B5EF4-FFF2-40B4-BE49-F238E27FC236}">
                <a16:creationId xmlns:a16="http://schemas.microsoft.com/office/drawing/2014/main" id="{64A1D01D-B1FE-BD53-F898-8D7F7D447100}"/>
              </a:ext>
            </a:extLst>
          </p:cNvPr>
          <p:cNvSpPr/>
          <p:nvPr/>
        </p:nvSpPr>
        <p:spPr>
          <a:xfrm>
            <a:off x="1176590" y="2608611"/>
            <a:ext cx="3208129"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CA" sz="900" b="1">
                <a:solidFill>
                  <a:schemeClr val="tx2"/>
                </a:solidFill>
              </a:rPr>
              <a:t>Armaan Kumar – First Year Analyst</a:t>
            </a:r>
          </a:p>
        </p:txBody>
      </p:sp>
      <p:sp>
        <p:nvSpPr>
          <p:cNvPr id="4" name="Rectangle 3">
            <a:extLst>
              <a:ext uri="{FF2B5EF4-FFF2-40B4-BE49-F238E27FC236}">
                <a16:creationId xmlns:a16="http://schemas.microsoft.com/office/drawing/2014/main" id="{4B6422CF-1A71-1E49-D910-6551B982B982}"/>
              </a:ext>
            </a:extLst>
          </p:cNvPr>
          <p:cNvSpPr/>
          <p:nvPr/>
        </p:nvSpPr>
        <p:spPr>
          <a:xfrm>
            <a:off x="1176590" y="2785014"/>
            <a:ext cx="3208129"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0815" indent="-170815">
              <a:buClr>
                <a:schemeClr val="accent1"/>
              </a:buClr>
              <a:buFont typeface="Wingdings" pitchFamily="2" charset="2"/>
              <a:buChar char="§"/>
            </a:pPr>
            <a:endParaRPr lang="en-CA" sz="900">
              <a:solidFill>
                <a:schemeClr val="tx1"/>
              </a:solidFill>
              <a:cs typeface="Arial"/>
            </a:endParaRPr>
          </a:p>
        </p:txBody>
      </p:sp>
      <p:sp>
        <p:nvSpPr>
          <p:cNvPr id="5" name="Rectangle 4">
            <a:extLst>
              <a:ext uri="{FF2B5EF4-FFF2-40B4-BE49-F238E27FC236}">
                <a16:creationId xmlns:a16="http://schemas.microsoft.com/office/drawing/2014/main" id="{AF577936-04F4-E1E4-F8C7-02594028FDC3}"/>
              </a:ext>
            </a:extLst>
          </p:cNvPr>
          <p:cNvSpPr/>
          <p:nvPr/>
        </p:nvSpPr>
        <p:spPr>
          <a:xfrm>
            <a:off x="4744808" y="2607555"/>
            <a:ext cx="4140911"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CA" sz="900" b="1">
                <a:solidFill>
                  <a:schemeClr val="tx2"/>
                </a:solidFill>
              </a:rPr>
              <a:t>Equity Research, Asset Management, Private Equity</a:t>
            </a:r>
          </a:p>
        </p:txBody>
      </p:sp>
      <p:sp>
        <p:nvSpPr>
          <p:cNvPr id="6" name="Rectangle 5">
            <a:extLst>
              <a:ext uri="{FF2B5EF4-FFF2-40B4-BE49-F238E27FC236}">
                <a16:creationId xmlns:a16="http://schemas.microsoft.com/office/drawing/2014/main" id="{74BFEB17-88FF-994C-BACC-E14487C3E857}"/>
              </a:ext>
            </a:extLst>
          </p:cNvPr>
          <p:cNvSpPr/>
          <p:nvPr/>
        </p:nvSpPr>
        <p:spPr>
          <a:xfrm>
            <a:off x="4751820" y="2791532"/>
            <a:ext cx="4140472"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0815" indent="-170815">
              <a:buClr>
                <a:schemeClr val="accent1"/>
              </a:buClr>
              <a:buFont typeface="Wingdings" pitchFamily="2" charset="2"/>
              <a:buChar char="§"/>
            </a:pPr>
            <a:r>
              <a:rPr lang="en-CA" sz="900">
                <a:solidFill>
                  <a:schemeClr val="tx1"/>
                </a:solidFill>
                <a:cs typeface="Arial" panose="020B0604020202020204"/>
              </a:rPr>
              <a:t>Private Equity Analyst, Sycamore Canyon Capital</a:t>
            </a:r>
          </a:p>
        </p:txBody>
      </p:sp>
      <p:cxnSp>
        <p:nvCxnSpPr>
          <p:cNvPr id="8" name="Straight Arrow Connector 7">
            <a:extLst>
              <a:ext uri="{FF2B5EF4-FFF2-40B4-BE49-F238E27FC236}">
                <a16:creationId xmlns:a16="http://schemas.microsoft.com/office/drawing/2014/main" id="{A0484164-582C-6039-1F49-0064B41233AB}"/>
              </a:ext>
            </a:extLst>
          </p:cNvPr>
          <p:cNvCxnSpPr>
            <a:cxnSpLocks/>
          </p:cNvCxnSpPr>
          <p:nvPr/>
        </p:nvCxnSpPr>
        <p:spPr>
          <a:xfrm flipV="1">
            <a:off x="1176586" y="2780132"/>
            <a:ext cx="7715707" cy="7499"/>
          </a:xfrm>
          <a:prstGeom prst="straightConnector1">
            <a:avLst/>
          </a:prstGeom>
          <a:ln w="12700"/>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9193667-B56B-573E-209E-BD73B48DEA49}"/>
              </a:ext>
            </a:extLst>
          </p:cNvPr>
          <p:cNvSpPr/>
          <p:nvPr/>
        </p:nvSpPr>
        <p:spPr>
          <a:xfrm>
            <a:off x="1184484" y="1459011"/>
            <a:ext cx="3208129"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CA" sz="900" b="1">
                <a:solidFill>
                  <a:schemeClr val="tx2"/>
                </a:solidFill>
              </a:rPr>
              <a:t>Michael Penney – Junior Analyst</a:t>
            </a:r>
          </a:p>
        </p:txBody>
      </p:sp>
      <p:sp>
        <p:nvSpPr>
          <p:cNvPr id="14" name="Rectangle 13">
            <a:extLst>
              <a:ext uri="{FF2B5EF4-FFF2-40B4-BE49-F238E27FC236}">
                <a16:creationId xmlns:a16="http://schemas.microsoft.com/office/drawing/2014/main" id="{5B0AFD3C-A3E1-ABFA-3F3F-F6174B335F5E}"/>
              </a:ext>
            </a:extLst>
          </p:cNvPr>
          <p:cNvSpPr/>
          <p:nvPr/>
        </p:nvSpPr>
        <p:spPr>
          <a:xfrm>
            <a:off x="1184484" y="1635414"/>
            <a:ext cx="3208129"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endParaRPr lang="en-CA" sz="900">
              <a:solidFill>
                <a:schemeClr val="tx1"/>
              </a:solidFill>
            </a:endParaRPr>
          </a:p>
        </p:txBody>
      </p:sp>
      <p:sp>
        <p:nvSpPr>
          <p:cNvPr id="17" name="Rectangle 16">
            <a:extLst>
              <a:ext uri="{FF2B5EF4-FFF2-40B4-BE49-F238E27FC236}">
                <a16:creationId xmlns:a16="http://schemas.microsoft.com/office/drawing/2014/main" id="{DC41E672-0B33-BE37-31DF-F06A90A7E86D}"/>
              </a:ext>
            </a:extLst>
          </p:cNvPr>
          <p:cNvSpPr/>
          <p:nvPr/>
        </p:nvSpPr>
        <p:spPr>
          <a:xfrm>
            <a:off x="4752702" y="1457955"/>
            <a:ext cx="4140911" cy="1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CA" sz="900" b="1">
                <a:solidFill>
                  <a:schemeClr val="tx2"/>
                </a:solidFill>
              </a:rPr>
              <a:t>Equity Research, Asset Management, Leadership</a:t>
            </a:r>
          </a:p>
        </p:txBody>
      </p:sp>
      <p:sp>
        <p:nvSpPr>
          <p:cNvPr id="18" name="Rectangle 17">
            <a:extLst>
              <a:ext uri="{FF2B5EF4-FFF2-40B4-BE49-F238E27FC236}">
                <a16:creationId xmlns:a16="http://schemas.microsoft.com/office/drawing/2014/main" id="{73B5B9B4-C7C4-C29A-3988-0FFC3387608C}"/>
              </a:ext>
            </a:extLst>
          </p:cNvPr>
          <p:cNvSpPr/>
          <p:nvPr/>
        </p:nvSpPr>
        <p:spPr>
          <a:xfrm>
            <a:off x="4759714" y="1641932"/>
            <a:ext cx="4140472"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0815" indent="-170815">
              <a:buClr>
                <a:schemeClr val="accent1"/>
              </a:buClr>
              <a:buFont typeface="Wingdings" pitchFamily="2" charset="2"/>
              <a:buChar char="§"/>
            </a:pPr>
            <a:r>
              <a:rPr lang="en-CA" sz="900">
                <a:solidFill>
                  <a:schemeClr val="tx1"/>
                </a:solidFill>
                <a:cs typeface="Arial" panose="020B0604020202020204"/>
              </a:rPr>
              <a:t>VP Club Development, Telfer Finance Society</a:t>
            </a:r>
          </a:p>
          <a:p>
            <a:pPr>
              <a:buClr>
                <a:schemeClr val="accent1"/>
              </a:buClr>
            </a:pPr>
            <a:endParaRPr lang="en-CA" sz="900">
              <a:solidFill>
                <a:schemeClr val="tx1"/>
              </a:solidFill>
              <a:cs typeface="Arial" panose="020B0604020202020204"/>
            </a:endParaRPr>
          </a:p>
          <a:p>
            <a:pPr marL="170815" indent="-170815">
              <a:buClr>
                <a:schemeClr val="accent1"/>
              </a:buClr>
              <a:buFont typeface="Wingdings" pitchFamily="2" charset="2"/>
              <a:buChar char="§"/>
            </a:pPr>
            <a:endParaRPr lang="en-CA" sz="900">
              <a:solidFill>
                <a:schemeClr val="tx1"/>
              </a:solidFill>
              <a:cs typeface="Arial" panose="020B0604020202020204"/>
            </a:endParaRPr>
          </a:p>
          <a:p>
            <a:pPr marL="170815" indent="-170815">
              <a:buClr>
                <a:schemeClr val="accent1"/>
              </a:buClr>
              <a:buFont typeface="Wingdings" pitchFamily="2" charset="2"/>
              <a:buChar char="§"/>
            </a:pPr>
            <a:endParaRPr lang="en-CA" sz="900">
              <a:solidFill>
                <a:schemeClr val="tx1"/>
              </a:solidFill>
              <a:cs typeface="Arial" panose="020B0604020202020204"/>
            </a:endParaRPr>
          </a:p>
        </p:txBody>
      </p:sp>
      <p:cxnSp>
        <p:nvCxnSpPr>
          <p:cNvPr id="19" name="Straight Arrow Connector 18">
            <a:extLst>
              <a:ext uri="{FF2B5EF4-FFF2-40B4-BE49-F238E27FC236}">
                <a16:creationId xmlns:a16="http://schemas.microsoft.com/office/drawing/2014/main" id="{603AABFF-92A0-9488-48B5-CAEB9B4AE429}"/>
              </a:ext>
            </a:extLst>
          </p:cNvPr>
          <p:cNvCxnSpPr>
            <a:cxnSpLocks/>
          </p:cNvCxnSpPr>
          <p:nvPr/>
        </p:nvCxnSpPr>
        <p:spPr>
          <a:xfrm flipV="1">
            <a:off x="1184480" y="1630532"/>
            <a:ext cx="7715707" cy="7499"/>
          </a:xfrm>
          <a:prstGeom prst="straightConnector1">
            <a:avLst/>
          </a:prstGeom>
          <a:ln w="12700"/>
        </p:spPr>
        <p:style>
          <a:lnRef idx="1">
            <a:schemeClr val="accent1"/>
          </a:lnRef>
          <a:fillRef idx="0">
            <a:schemeClr val="accent1"/>
          </a:fillRef>
          <a:effectRef idx="0">
            <a:schemeClr val="accent1"/>
          </a:effectRef>
          <a:fontRef idx="minor">
            <a:schemeClr val="tx1"/>
          </a:fontRef>
        </p:style>
      </p:cxnSp>
      <p:sp>
        <p:nvSpPr>
          <p:cNvPr id="10" name="Rectangle 3">
            <a:extLst>
              <a:ext uri="{FF2B5EF4-FFF2-40B4-BE49-F238E27FC236}">
                <a16:creationId xmlns:a16="http://schemas.microsoft.com/office/drawing/2014/main" id="{C697B348-D2DD-3402-332A-10D3DC7CF897}"/>
              </a:ext>
            </a:extLst>
          </p:cNvPr>
          <p:cNvSpPr/>
          <p:nvPr/>
        </p:nvSpPr>
        <p:spPr>
          <a:xfrm>
            <a:off x="1187795" y="1709248"/>
            <a:ext cx="3208129"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0815" indent="-170815">
              <a:buClr>
                <a:schemeClr val="accent1"/>
              </a:buClr>
              <a:buFont typeface="Wingdings" pitchFamily="2" charset="2"/>
              <a:buChar char="§"/>
            </a:pPr>
            <a:endParaRPr lang="en-CA" sz="900">
              <a:solidFill>
                <a:schemeClr val="tx1"/>
              </a:solidFill>
              <a:cs typeface="Arial"/>
            </a:endParaRPr>
          </a:p>
        </p:txBody>
      </p:sp>
      <p:sp>
        <p:nvSpPr>
          <p:cNvPr id="16" name="TextBox 15">
            <a:extLst>
              <a:ext uri="{FF2B5EF4-FFF2-40B4-BE49-F238E27FC236}">
                <a16:creationId xmlns:a16="http://schemas.microsoft.com/office/drawing/2014/main" id="{F41A9337-7DD8-4C8E-177A-D96F7C04972A}"/>
              </a:ext>
            </a:extLst>
          </p:cNvPr>
          <p:cNvSpPr txBox="1"/>
          <p:nvPr/>
        </p:nvSpPr>
        <p:spPr>
          <a:xfrm>
            <a:off x="1176586" y="1619207"/>
            <a:ext cx="3632358" cy="369332"/>
          </a:xfrm>
          <a:prstGeom prst="rect">
            <a:avLst/>
          </a:prstGeom>
          <a:noFill/>
        </p:spPr>
        <p:txBody>
          <a:bodyPr wrap="square">
            <a:spAutoFit/>
          </a:bodyPr>
          <a:lstStyle/>
          <a:p>
            <a:pPr marL="171450" indent="-171450">
              <a:buClr>
                <a:schemeClr val="accent1"/>
              </a:buClr>
              <a:buFont typeface="Wingdings" panose="05000000000000000000" pitchFamily="2" charset="2"/>
              <a:buChar char="§"/>
            </a:pPr>
            <a:r>
              <a:rPr lang="en-US" sz="900">
                <a:solidFill>
                  <a:schemeClr val="tx1"/>
                </a:solidFill>
              </a:rPr>
              <a:t>Telfer School of Management</a:t>
            </a:r>
          </a:p>
          <a:p>
            <a:pPr marL="171450" lvl="0" indent="-171450">
              <a:buClr>
                <a:srgbClr val="0F3557"/>
              </a:buClr>
              <a:buFont typeface="Wingdings" panose="05000000000000000000" pitchFamily="2" charset="2"/>
              <a:buChar char="§"/>
            </a:pPr>
            <a:r>
              <a:rPr lang="en-US" sz="900">
                <a:solidFill>
                  <a:schemeClr val="tx1"/>
                </a:solidFill>
              </a:rPr>
              <a:t>3</a:t>
            </a:r>
            <a:r>
              <a:rPr lang="en-US" sz="900" baseline="30000"/>
              <a:t>rd</a:t>
            </a:r>
            <a:r>
              <a:rPr lang="en-US" sz="900">
                <a:solidFill>
                  <a:schemeClr val="tx1"/>
                </a:solidFill>
              </a:rPr>
              <a:t> Year B. Com Finance</a:t>
            </a:r>
          </a:p>
        </p:txBody>
      </p:sp>
      <p:sp>
        <p:nvSpPr>
          <p:cNvPr id="21" name="TextBox 20">
            <a:extLst>
              <a:ext uri="{FF2B5EF4-FFF2-40B4-BE49-F238E27FC236}">
                <a16:creationId xmlns:a16="http://schemas.microsoft.com/office/drawing/2014/main" id="{2BAD4657-A6CC-FF52-EF62-91F0F4546737}"/>
              </a:ext>
            </a:extLst>
          </p:cNvPr>
          <p:cNvSpPr txBox="1"/>
          <p:nvPr/>
        </p:nvSpPr>
        <p:spPr>
          <a:xfrm>
            <a:off x="1184480" y="2787631"/>
            <a:ext cx="3092018" cy="369332"/>
          </a:xfrm>
          <a:prstGeom prst="rect">
            <a:avLst/>
          </a:prstGeom>
          <a:noFill/>
        </p:spPr>
        <p:txBody>
          <a:bodyPr wrap="square">
            <a:spAutoFit/>
          </a:bodyPr>
          <a:lstStyle/>
          <a:p>
            <a:pPr marL="171450" indent="-171450">
              <a:buClr>
                <a:schemeClr val="accent1"/>
              </a:buClr>
              <a:buFont typeface="Wingdings" panose="05000000000000000000" pitchFamily="2" charset="2"/>
              <a:buChar char="§"/>
            </a:pPr>
            <a:r>
              <a:rPr lang="en-US" sz="900">
                <a:solidFill>
                  <a:schemeClr val="tx1"/>
                </a:solidFill>
              </a:rPr>
              <a:t>Telfer School of Management</a:t>
            </a:r>
          </a:p>
          <a:p>
            <a:pPr marL="171450" lvl="0" indent="-171450">
              <a:buClr>
                <a:srgbClr val="0F3557"/>
              </a:buClr>
              <a:buFont typeface="Wingdings" panose="05000000000000000000" pitchFamily="2" charset="2"/>
              <a:buChar char="§"/>
            </a:pPr>
            <a:r>
              <a:rPr lang="en-US" sz="900">
                <a:solidFill>
                  <a:schemeClr val="tx1"/>
                </a:solidFill>
              </a:rPr>
              <a:t>1</a:t>
            </a:r>
            <a:r>
              <a:rPr lang="en-US" sz="900" baseline="30000"/>
              <a:t>st</a:t>
            </a:r>
            <a:r>
              <a:rPr lang="en-US" sz="900">
                <a:solidFill>
                  <a:schemeClr val="tx1"/>
                </a:solidFill>
              </a:rPr>
              <a:t> Year B. Com Finance</a:t>
            </a:r>
          </a:p>
        </p:txBody>
      </p:sp>
      <p:pic>
        <p:nvPicPr>
          <p:cNvPr id="24" name="Picture 23" descr="A person in a suit and tie&#10;&#10;Description automatically generated">
            <a:extLst>
              <a:ext uri="{FF2B5EF4-FFF2-40B4-BE49-F238E27FC236}">
                <a16:creationId xmlns:a16="http://schemas.microsoft.com/office/drawing/2014/main" id="{796BA51B-EFBA-511C-E4B6-4D76ADA6E6C2}"/>
              </a:ext>
            </a:extLst>
          </p:cNvPr>
          <p:cNvPicPr>
            <a:picLocks noChangeAspect="1"/>
          </p:cNvPicPr>
          <p:nvPr/>
        </p:nvPicPr>
        <p:blipFill>
          <a:blip r:embed="rId4">
            <a:extLst>
              <a:ext uri="{28A0092B-C50C-407E-A947-70E740481C1C}">
                <a14:useLocalDpi xmlns:a14="http://schemas.microsoft.com/office/drawing/2010/main" val="0"/>
              </a:ext>
            </a:extLst>
          </a:blip>
          <a:srcRect t="13375" r="2461"/>
          <a:stretch/>
        </p:blipFill>
        <p:spPr>
          <a:xfrm>
            <a:off x="491828" y="2474819"/>
            <a:ext cx="649287" cy="951696"/>
          </a:xfrm>
          <a:prstGeom prst="rect">
            <a:avLst/>
          </a:prstGeom>
        </p:spPr>
      </p:pic>
    </p:spTree>
    <p:extLst>
      <p:ext uri="{BB962C8B-B14F-4D97-AF65-F5344CB8AC3E}">
        <p14:creationId xmlns:p14="http://schemas.microsoft.com/office/powerpoint/2010/main" val="1074022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B6597BD-FC20-5B67-67E2-B07589627E28}"/>
              </a:ext>
            </a:extLst>
          </p:cNvPr>
          <p:cNvSpPr>
            <a:spLocks noGrp="1"/>
          </p:cNvSpPr>
          <p:nvPr>
            <p:ph type="body" sz="quarter" idx="13"/>
          </p:nvPr>
        </p:nvSpPr>
        <p:spPr/>
        <p:txBody>
          <a:bodyPr/>
          <a:lstStyle/>
          <a:p>
            <a:endParaRPr lang="en-CA"/>
          </a:p>
        </p:txBody>
      </p:sp>
    </p:spTree>
    <p:extLst>
      <p:ext uri="{BB962C8B-B14F-4D97-AF65-F5344CB8AC3E}">
        <p14:creationId xmlns:p14="http://schemas.microsoft.com/office/powerpoint/2010/main" val="28295995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971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2E9DA9-60A3-4A99-347B-6A8A27272833}"/>
              </a:ext>
            </a:extLst>
          </p:cNvPr>
          <p:cNvSpPr>
            <a:spLocks noGrp="1"/>
          </p:cNvSpPr>
          <p:nvPr>
            <p:ph type="body" sz="quarter" idx="13"/>
          </p:nvPr>
        </p:nvSpPr>
        <p:spPr/>
        <p:txBody>
          <a:bodyPr/>
          <a:lstStyle/>
          <a:p>
            <a:r>
              <a:rPr lang="en-US" sz="700"/>
              <a:t>Note: All market data is as of Feb 21, 2025</a:t>
            </a:r>
            <a:endParaRPr lang="en-CA" sz="700"/>
          </a:p>
        </p:txBody>
      </p:sp>
      <p:sp>
        <p:nvSpPr>
          <p:cNvPr id="7" name="Text Placeholder 6">
            <a:extLst>
              <a:ext uri="{FF2B5EF4-FFF2-40B4-BE49-F238E27FC236}">
                <a16:creationId xmlns:a16="http://schemas.microsoft.com/office/drawing/2014/main" id="{C864F461-9D5D-A41C-B608-D3724AA8B3DC}"/>
              </a:ext>
            </a:extLst>
          </p:cNvPr>
          <p:cNvSpPr>
            <a:spLocks noGrp="1"/>
          </p:cNvSpPr>
          <p:nvPr>
            <p:ph type="body" sz="quarter" idx="21"/>
          </p:nvPr>
        </p:nvSpPr>
        <p:spPr/>
        <p:txBody>
          <a:bodyPr/>
          <a:lstStyle/>
          <a:p>
            <a:r>
              <a:rPr lang="en-US"/>
              <a:t>Rating: BUY</a:t>
            </a:r>
            <a:endParaRPr lang="en-CA"/>
          </a:p>
        </p:txBody>
      </p:sp>
      <p:sp>
        <p:nvSpPr>
          <p:cNvPr id="8" name="Title 7">
            <a:extLst>
              <a:ext uri="{FF2B5EF4-FFF2-40B4-BE49-F238E27FC236}">
                <a16:creationId xmlns:a16="http://schemas.microsoft.com/office/drawing/2014/main" id="{3B10BF27-BAA5-AF3E-BB33-34C1B5C89F77}"/>
              </a:ext>
            </a:extLst>
          </p:cNvPr>
          <p:cNvSpPr>
            <a:spLocks noGrp="1"/>
          </p:cNvSpPr>
          <p:nvPr>
            <p:ph type="title"/>
          </p:nvPr>
        </p:nvSpPr>
        <p:spPr/>
        <p:txBody>
          <a:bodyPr/>
          <a:lstStyle/>
          <a:p>
            <a:r>
              <a:rPr lang="en-CA"/>
              <a:t>Executive Summary</a:t>
            </a:r>
          </a:p>
        </p:txBody>
      </p:sp>
      <p:graphicFrame>
        <p:nvGraphicFramePr>
          <p:cNvPr id="9" name="Table 8">
            <a:extLst>
              <a:ext uri="{FF2B5EF4-FFF2-40B4-BE49-F238E27FC236}">
                <a16:creationId xmlns:a16="http://schemas.microsoft.com/office/drawing/2014/main" id="{2DEFA061-198A-9964-1C0D-75681BB4E3FE}"/>
              </a:ext>
            </a:extLst>
          </p:cNvPr>
          <p:cNvGraphicFramePr>
            <a:graphicFrameLocks/>
          </p:cNvGraphicFramePr>
          <p:nvPr>
            <p:extLst>
              <p:ext uri="{D42A27DB-BD31-4B8C-83A1-F6EECF244321}">
                <p14:modId xmlns:p14="http://schemas.microsoft.com/office/powerpoint/2010/main" val="882499491"/>
              </p:ext>
            </p:extLst>
          </p:nvPr>
        </p:nvGraphicFramePr>
        <p:xfrm>
          <a:off x="250830" y="1030605"/>
          <a:ext cx="5117147" cy="274320"/>
        </p:xfrm>
        <a:graphic>
          <a:graphicData uri="http://schemas.openxmlformats.org/drawingml/2006/table">
            <a:tbl>
              <a:tblPr firstRow="1" bandRow="1">
                <a:tableStyleId>{5C22544A-7EE6-4342-B048-85BDC9FD1C3A}</a:tableStyleId>
              </a:tblPr>
              <a:tblGrid>
                <a:gridCol w="5117147">
                  <a:extLst>
                    <a:ext uri="{9D8B030D-6E8A-4147-A177-3AD203B41FA5}">
                      <a16:colId xmlns:a16="http://schemas.microsoft.com/office/drawing/2014/main" val="3437084154"/>
                    </a:ext>
                  </a:extLst>
                </a:gridCol>
              </a:tblGrid>
              <a:tr h="274320">
                <a:tc>
                  <a:txBody>
                    <a:bodyPr/>
                    <a:lstStyle/>
                    <a:p>
                      <a:r>
                        <a:rPr lang="en-US" sz="1200" b="1">
                          <a:solidFill>
                            <a:schemeClr val="tx2"/>
                          </a:solidFill>
                          <a:latin typeface="+mj-lt"/>
                        </a:rPr>
                        <a:t>5 Year Historical Performance vs. S&amp;P Technology Select</a:t>
                      </a:r>
                      <a:endParaRPr lang="en-CA" sz="130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graphicFrame>
        <p:nvGraphicFramePr>
          <p:cNvPr id="10" name="Table 9">
            <a:extLst>
              <a:ext uri="{FF2B5EF4-FFF2-40B4-BE49-F238E27FC236}">
                <a16:creationId xmlns:a16="http://schemas.microsoft.com/office/drawing/2014/main" id="{8C62E157-A351-D9E5-C69E-60A8AAC17D29}"/>
              </a:ext>
            </a:extLst>
          </p:cNvPr>
          <p:cNvGraphicFramePr>
            <a:graphicFrameLocks/>
          </p:cNvGraphicFramePr>
          <p:nvPr>
            <p:extLst>
              <p:ext uri="{D42A27DB-BD31-4B8C-83A1-F6EECF244321}">
                <p14:modId xmlns:p14="http://schemas.microsoft.com/office/powerpoint/2010/main" val="2222531336"/>
              </p:ext>
            </p:extLst>
          </p:nvPr>
        </p:nvGraphicFramePr>
        <p:xfrm>
          <a:off x="5726750" y="1030605"/>
          <a:ext cx="3166427" cy="274320"/>
        </p:xfrm>
        <a:graphic>
          <a:graphicData uri="http://schemas.openxmlformats.org/drawingml/2006/table">
            <a:tbl>
              <a:tblPr firstRow="1" bandRow="1">
                <a:tableStyleId>{5C22544A-7EE6-4342-B048-85BDC9FD1C3A}</a:tableStyleId>
              </a:tblPr>
              <a:tblGrid>
                <a:gridCol w="3166427">
                  <a:extLst>
                    <a:ext uri="{9D8B030D-6E8A-4147-A177-3AD203B41FA5}">
                      <a16:colId xmlns:a16="http://schemas.microsoft.com/office/drawing/2014/main" val="3437084154"/>
                    </a:ext>
                  </a:extLst>
                </a:gridCol>
              </a:tblGrid>
              <a:tr h="274320">
                <a:tc>
                  <a:txBody>
                    <a:bodyPr/>
                    <a:lstStyle/>
                    <a:p>
                      <a:r>
                        <a:rPr lang="en-US" sz="1200" b="1">
                          <a:solidFill>
                            <a:schemeClr val="tx2"/>
                          </a:solidFill>
                          <a:latin typeface="+mj-lt"/>
                        </a:rPr>
                        <a:t>Summary Statistics</a:t>
                      </a:r>
                      <a:endParaRPr lang="en-CA" sz="130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graphicFrame>
        <p:nvGraphicFramePr>
          <p:cNvPr id="12" name="Table 11">
            <a:extLst>
              <a:ext uri="{FF2B5EF4-FFF2-40B4-BE49-F238E27FC236}">
                <a16:creationId xmlns:a16="http://schemas.microsoft.com/office/drawing/2014/main" id="{4493664D-1ED4-74D3-1EFD-B45F1B408405}"/>
              </a:ext>
            </a:extLst>
          </p:cNvPr>
          <p:cNvGraphicFramePr>
            <a:graphicFrameLocks/>
          </p:cNvGraphicFramePr>
          <p:nvPr>
            <p:extLst>
              <p:ext uri="{D42A27DB-BD31-4B8C-83A1-F6EECF244321}">
                <p14:modId xmlns:p14="http://schemas.microsoft.com/office/powerpoint/2010/main" val="3100389388"/>
              </p:ext>
            </p:extLst>
          </p:nvPr>
        </p:nvGraphicFramePr>
        <p:xfrm>
          <a:off x="250825" y="3708485"/>
          <a:ext cx="5117147" cy="274320"/>
        </p:xfrm>
        <a:graphic>
          <a:graphicData uri="http://schemas.openxmlformats.org/drawingml/2006/table">
            <a:tbl>
              <a:tblPr firstRow="1" bandRow="1">
                <a:tableStyleId>{5C22544A-7EE6-4342-B048-85BDC9FD1C3A}</a:tableStyleId>
              </a:tblPr>
              <a:tblGrid>
                <a:gridCol w="5117147">
                  <a:extLst>
                    <a:ext uri="{9D8B030D-6E8A-4147-A177-3AD203B41FA5}">
                      <a16:colId xmlns:a16="http://schemas.microsoft.com/office/drawing/2014/main" val="3437084154"/>
                    </a:ext>
                  </a:extLst>
                </a:gridCol>
              </a:tblGrid>
              <a:tr h="274320">
                <a:tc>
                  <a:txBody>
                    <a:bodyPr/>
                    <a:lstStyle/>
                    <a:p>
                      <a:r>
                        <a:rPr lang="en-US" sz="1200" b="1">
                          <a:solidFill>
                            <a:schemeClr val="tx2"/>
                          </a:solidFill>
                          <a:latin typeface="+mj-lt"/>
                        </a:rPr>
                        <a:t>Executive Summary</a:t>
                      </a:r>
                      <a:endParaRPr lang="en-CA" sz="130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5" name="Content Placeholder 14">
            <a:extLst>
              <a:ext uri="{FF2B5EF4-FFF2-40B4-BE49-F238E27FC236}">
                <a16:creationId xmlns:a16="http://schemas.microsoft.com/office/drawing/2014/main" id="{C48A4E1E-E808-D5A5-9D33-88CA8F60389A}"/>
              </a:ext>
            </a:extLst>
          </p:cNvPr>
          <p:cNvSpPr>
            <a:spLocks noGrp="1"/>
          </p:cNvSpPr>
          <p:nvPr>
            <p:ph sz="quarter" idx="15"/>
          </p:nvPr>
        </p:nvSpPr>
        <p:spPr>
          <a:xfrm>
            <a:off x="250825" y="4030980"/>
            <a:ext cx="5117146" cy="2144429"/>
          </a:xfrm>
        </p:spPr>
        <p:txBody>
          <a:bodyPr vert="horz" lIns="91440" tIns="45720" rIns="91440" bIns="45720" rtlCol="0" anchor="t">
            <a:normAutofit/>
          </a:bodyPr>
          <a:lstStyle/>
          <a:p>
            <a:pPr marL="227965" indent="-227965"/>
            <a:r>
              <a:rPr lang="en-US" b="1">
                <a:solidFill>
                  <a:schemeClr val="accent1"/>
                </a:solidFill>
              </a:rPr>
              <a:t>Investment Theses</a:t>
            </a:r>
            <a:endParaRPr lang="en-US">
              <a:solidFill>
                <a:schemeClr val="accent1"/>
              </a:solidFill>
            </a:endParaRPr>
          </a:p>
          <a:p>
            <a:pPr marL="448945" lvl="1" indent="-227965"/>
            <a:r>
              <a:rPr lang="en-US"/>
              <a:t>Thesis 1: TAM $80 bn in NA retail + EMEA hospitality, with growing need for POS</a:t>
            </a:r>
          </a:p>
          <a:p>
            <a:pPr marL="448945" lvl="1" indent="-227965"/>
            <a:r>
              <a:rPr lang="en-US"/>
              <a:t>Thesis 2: Reorganization will lower </a:t>
            </a:r>
            <a:r>
              <a:rPr lang="en-US" err="1"/>
              <a:t>OpEx</a:t>
            </a:r>
            <a:r>
              <a:rPr lang="en-US"/>
              <a:t>, while fully monetizing NA + EMEA segments </a:t>
            </a:r>
          </a:p>
          <a:p>
            <a:pPr marL="448945" lvl="1" indent="-227965"/>
            <a:endParaRPr lang="en-US"/>
          </a:p>
          <a:p>
            <a:pPr marL="227965" indent="-227965"/>
            <a:r>
              <a:rPr lang="en-US" b="1">
                <a:solidFill>
                  <a:schemeClr val="accent1"/>
                </a:solidFill>
              </a:rPr>
              <a:t>Valuation</a:t>
            </a:r>
          </a:p>
          <a:p>
            <a:pPr marL="448945" lvl="1" indent="-227965"/>
            <a:r>
              <a:rPr lang="en-US"/>
              <a:t>We are pitching Lightspeed Commerce with a $23.31 target price, implying a 77.27% return. We derive our valuation with a DCF (10.10% discount rate, 3.00% TGR), and a comps analysis using EV/Revenue, EV/Gross Profit, and Price/Gross Profit. </a:t>
            </a:r>
          </a:p>
        </p:txBody>
      </p:sp>
      <p:graphicFrame>
        <p:nvGraphicFramePr>
          <p:cNvPr id="3" name="Table 2">
            <a:extLst>
              <a:ext uri="{FF2B5EF4-FFF2-40B4-BE49-F238E27FC236}">
                <a16:creationId xmlns:a16="http://schemas.microsoft.com/office/drawing/2014/main" id="{C4869B7A-28D2-4087-CA6E-FC5C3C806D0D}"/>
              </a:ext>
            </a:extLst>
          </p:cNvPr>
          <p:cNvGraphicFramePr>
            <a:graphicFrameLocks noGrp="1"/>
          </p:cNvGraphicFramePr>
          <p:nvPr>
            <p:extLst>
              <p:ext uri="{D42A27DB-BD31-4B8C-83A1-F6EECF244321}">
                <p14:modId xmlns:p14="http://schemas.microsoft.com/office/powerpoint/2010/main" val="1482489269"/>
              </p:ext>
            </p:extLst>
          </p:nvPr>
        </p:nvGraphicFramePr>
        <p:xfrm>
          <a:off x="5835028" y="1489585"/>
          <a:ext cx="3058145" cy="4351889"/>
        </p:xfrm>
        <a:graphic>
          <a:graphicData uri="http://schemas.openxmlformats.org/drawingml/2006/table">
            <a:tbl>
              <a:tblPr/>
              <a:tblGrid>
                <a:gridCol w="1869358">
                  <a:extLst>
                    <a:ext uri="{9D8B030D-6E8A-4147-A177-3AD203B41FA5}">
                      <a16:colId xmlns:a16="http://schemas.microsoft.com/office/drawing/2014/main" val="3198911684"/>
                    </a:ext>
                  </a:extLst>
                </a:gridCol>
                <a:gridCol w="301832">
                  <a:extLst>
                    <a:ext uri="{9D8B030D-6E8A-4147-A177-3AD203B41FA5}">
                      <a16:colId xmlns:a16="http://schemas.microsoft.com/office/drawing/2014/main" val="561669953"/>
                    </a:ext>
                  </a:extLst>
                </a:gridCol>
                <a:gridCol w="886955">
                  <a:extLst>
                    <a:ext uri="{9D8B030D-6E8A-4147-A177-3AD203B41FA5}">
                      <a16:colId xmlns:a16="http://schemas.microsoft.com/office/drawing/2014/main" val="4050206775"/>
                    </a:ext>
                  </a:extLst>
                </a:gridCol>
              </a:tblGrid>
              <a:tr h="246869">
                <a:tc gridSpan="3">
                  <a:txBody>
                    <a:bodyPr/>
                    <a:lstStyle/>
                    <a:p>
                      <a:pPr algn="ctr" fontAlgn="base">
                        <a:lnSpc>
                          <a:spcPts val="1050"/>
                        </a:lnSpc>
                      </a:pPr>
                      <a:r>
                        <a:rPr lang="en-CA" sz="900" b="1" i="0" u="none" strike="noStrike">
                          <a:solidFill>
                            <a:srgbClr val="FFFFFF"/>
                          </a:solidFill>
                          <a:effectLst/>
                          <a:latin typeface="Arial"/>
                        </a:rPr>
                        <a:t>General Information</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F355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32873166"/>
                  </a:ext>
                </a:extLst>
              </a:tr>
              <a:tr h="320777">
                <a:tc>
                  <a:txBody>
                    <a:bodyPr/>
                    <a:lstStyle/>
                    <a:p>
                      <a:pPr algn="l" fontAlgn="base">
                        <a:lnSpc>
                          <a:spcPts val="1050"/>
                        </a:lnSpc>
                      </a:pPr>
                      <a:r>
                        <a:rPr lang="en-CA" sz="900" b="0" i="0" u="none" strike="noStrike">
                          <a:solidFill>
                            <a:srgbClr val="000000"/>
                          </a:solidFill>
                          <a:effectLst/>
                          <a:latin typeface="Arial"/>
                        </a:rPr>
                        <a:t>Current Price</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ts val="1050"/>
                        </a:lnSpc>
                      </a:pPr>
                      <a:endParaRPr lang="en-CA" sz="900" b="0" i="0">
                        <a:solidFill>
                          <a:srgbClr val="000000"/>
                        </a:solidFill>
                        <a:effectLst/>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ase">
                        <a:lnSpc>
                          <a:spcPts val="1050"/>
                        </a:lnSpc>
                      </a:pPr>
                      <a:r>
                        <a:rPr lang="en-CA" sz="900" b="0" i="0">
                          <a:solidFill>
                            <a:srgbClr val="000000"/>
                          </a:solidFill>
                          <a:effectLst/>
                        </a:rPr>
                        <a:t>$13.15</a:t>
                      </a: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916"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0047057"/>
                  </a:ext>
                </a:extLst>
              </a:tr>
              <a:tr h="366977">
                <a:tc>
                  <a:txBody>
                    <a:bodyPr/>
                    <a:lstStyle/>
                    <a:p>
                      <a:pPr algn="l" fontAlgn="base">
                        <a:lnSpc>
                          <a:spcPts val="1050"/>
                        </a:lnSpc>
                      </a:pPr>
                      <a:r>
                        <a:rPr lang="en-CA" sz="900" b="0" i="0" u="none" strike="noStrike">
                          <a:solidFill>
                            <a:srgbClr val="000000"/>
                          </a:solidFill>
                          <a:effectLst/>
                          <a:latin typeface="Arial"/>
                        </a:rPr>
                        <a:t>Headquarters</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auto">
                        <a:lnSpc>
                          <a:spcPts val="1050"/>
                        </a:lnSpc>
                      </a:pPr>
                      <a:endParaRPr lang="en-CA" sz="900" b="0" i="0" u="none" strike="noStrike">
                        <a:solidFill>
                          <a:srgbClr val="000000"/>
                        </a:solidFill>
                        <a:effectLst/>
                        <a:latin typeface="Arial" panose="020B0604020202020204" pitchFamily="34" charset="0"/>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ase">
                        <a:lnSpc>
                          <a:spcPts val="1050"/>
                        </a:lnSpc>
                      </a:pPr>
                      <a:r>
                        <a:rPr lang="en-CA" sz="900" b="0" i="0" u="none" strike="noStrike">
                          <a:solidFill>
                            <a:srgbClr val="000000"/>
                          </a:solidFill>
                          <a:effectLst/>
                          <a:latin typeface="Arial"/>
                        </a:rPr>
                        <a:t>Montreal, QC</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144975"/>
                  </a:ext>
                </a:extLst>
              </a:tr>
              <a:tr h="356363">
                <a:tc>
                  <a:txBody>
                    <a:bodyPr/>
                    <a:lstStyle/>
                    <a:p>
                      <a:pPr algn="l" fontAlgn="base">
                        <a:lnSpc>
                          <a:spcPts val="1050"/>
                        </a:lnSpc>
                      </a:pPr>
                      <a:r>
                        <a:rPr lang="en-CA" sz="900" b="0" i="0" u="none" strike="noStrike">
                          <a:solidFill>
                            <a:srgbClr val="000000"/>
                          </a:solidFill>
                          <a:effectLst/>
                          <a:latin typeface="Arial"/>
                        </a:rPr>
                        <a:t>Currency</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auto">
                        <a:lnSpc>
                          <a:spcPts val="1050"/>
                        </a:lnSpc>
                      </a:pPr>
                      <a:endParaRPr lang="en-CA" sz="900" b="0" i="0" u="none" strike="noStrike">
                        <a:solidFill>
                          <a:srgbClr val="000000"/>
                        </a:solidFill>
                        <a:effectLst/>
                        <a:latin typeface="Arial" panose="020B0604020202020204" pitchFamily="34" charset="0"/>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ase">
                        <a:lnSpc>
                          <a:spcPts val="1050"/>
                        </a:lnSpc>
                      </a:pPr>
                      <a:r>
                        <a:rPr lang="en-CA" sz="900" b="0" i="0" u="none" strike="noStrike">
                          <a:solidFill>
                            <a:srgbClr val="000000"/>
                          </a:solidFill>
                          <a:effectLst/>
                          <a:latin typeface="Arial"/>
                        </a:rPr>
                        <a:t>USD</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2870664"/>
                  </a:ext>
                </a:extLst>
              </a:tr>
              <a:tr h="250202">
                <a:tc gridSpan="3">
                  <a:txBody>
                    <a:bodyPr/>
                    <a:lstStyle/>
                    <a:p>
                      <a:pPr algn="ctr" fontAlgn="base">
                        <a:lnSpc>
                          <a:spcPts val="1050"/>
                        </a:lnSpc>
                      </a:pPr>
                      <a:r>
                        <a:rPr lang="en-CA" sz="900" b="1" i="0" u="none" strike="noStrike">
                          <a:solidFill>
                            <a:srgbClr val="FFFFFF"/>
                          </a:solidFill>
                          <a:effectLst/>
                          <a:latin typeface="Arial"/>
                        </a:rPr>
                        <a:t>Historical Performance</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F355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89902707"/>
                  </a:ext>
                </a:extLst>
              </a:tr>
              <a:tr h="386843">
                <a:tc>
                  <a:txBody>
                    <a:bodyPr/>
                    <a:lstStyle/>
                    <a:p>
                      <a:pPr algn="l" fontAlgn="base">
                        <a:lnSpc>
                          <a:spcPts val="1050"/>
                        </a:lnSpc>
                      </a:pPr>
                      <a:r>
                        <a:rPr lang="en-CA" sz="900" b="0" i="0" u="none" strike="noStrike">
                          <a:solidFill>
                            <a:srgbClr val="000000"/>
                          </a:solidFill>
                          <a:effectLst/>
                          <a:latin typeface="Arial"/>
                        </a:rPr>
                        <a:t>52 Week Range</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ts val="1050"/>
                        </a:lnSpc>
                      </a:pPr>
                      <a:endParaRPr lang="en-CA" sz="900" b="0" i="0">
                        <a:solidFill>
                          <a:srgbClr val="000000"/>
                        </a:solidFill>
                        <a:effectLst/>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ase">
                        <a:lnSpc>
                          <a:spcPts val="1050"/>
                        </a:lnSpc>
                      </a:pPr>
                      <a:r>
                        <a:rPr lang="en-CA" sz="900" b="0" i="0" u="none" strike="noStrike">
                          <a:solidFill>
                            <a:srgbClr val="000000"/>
                          </a:solidFill>
                          <a:effectLst/>
                          <a:latin typeface="Arial"/>
                        </a:rPr>
                        <a:t>11.01/18.96</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916"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4858469"/>
                  </a:ext>
                </a:extLst>
              </a:tr>
              <a:tr h="250202">
                <a:tc>
                  <a:txBody>
                    <a:bodyPr/>
                    <a:lstStyle/>
                    <a:p>
                      <a:pPr algn="l" fontAlgn="base">
                        <a:lnSpc>
                          <a:spcPts val="1050"/>
                        </a:lnSpc>
                      </a:pPr>
                      <a:r>
                        <a:rPr lang="en-CA" sz="900" b="0" i="0" u="none" strike="noStrike">
                          <a:solidFill>
                            <a:srgbClr val="000000"/>
                          </a:solidFill>
                          <a:effectLst/>
                          <a:latin typeface="Arial"/>
                        </a:rPr>
                        <a:t>YTD Return</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ts val="1050"/>
                        </a:lnSpc>
                      </a:pPr>
                      <a:endParaRPr lang="en-CA" sz="900" b="0" i="0">
                        <a:solidFill>
                          <a:srgbClr val="000000"/>
                        </a:solidFill>
                        <a:effectLst/>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ase">
                        <a:lnSpc>
                          <a:spcPts val="1050"/>
                        </a:lnSpc>
                      </a:pPr>
                      <a:r>
                        <a:rPr lang="en-CA" sz="900" b="0" i="0" u="none" strike="noStrike">
                          <a:solidFill>
                            <a:srgbClr val="000000"/>
                          </a:solidFill>
                          <a:effectLst/>
                          <a:latin typeface="Arial"/>
                        </a:rPr>
                        <a:t>19.73%</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2436043"/>
                  </a:ext>
                </a:extLst>
              </a:tr>
              <a:tr h="250202">
                <a:tc gridSpan="3">
                  <a:txBody>
                    <a:bodyPr/>
                    <a:lstStyle/>
                    <a:p>
                      <a:pPr algn="ctr" fontAlgn="base">
                        <a:lnSpc>
                          <a:spcPts val="1050"/>
                        </a:lnSpc>
                      </a:pPr>
                      <a:r>
                        <a:rPr lang="en-CA" sz="900" b="1" i="0" u="none" strike="noStrike">
                          <a:solidFill>
                            <a:srgbClr val="FFFFFF"/>
                          </a:solidFill>
                          <a:effectLst/>
                          <a:latin typeface="Arial"/>
                        </a:rPr>
                        <a:t>LTM Market Values</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F355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44173458"/>
                  </a:ext>
                </a:extLst>
              </a:tr>
              <a:tr h="356363">
                <a:tc>
                  <a:txBody>
                    <a:bodyPr/>
                    <a:lstStyle/>
                    <a:p>
                      <a:pPr algn="l" fontAlgn="base">
                        <a:lnSpc>
                          <a:spcPts val="1050"/>
                        </a:lnSpc>
                      </a:pPr>
                      <a:r>
                        <a:rPr lang="en-CA" sz="900" b="0" i="0" u="none" strike="noStrike">
                          <a:solidFill>
                            <a:srgbClr val="000000"/>
                          </a:solidFill>
                          <a:effectLst/>
                          <a:latin typeface="Arial"/>
                        </a:rPr>
                        <a:t>EV/Revenue</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auto">
                        <a:lnSpc>
                          <a:spcPts val="1050"/>
                        </a:lnSpc>
                      </a:pPr>
                      <a:endParaRPr lang="en-CA" sz="900" b="0" i="0" u="none" strike="noStrike">
                        <a:solidFill>
                          <a:srgbClr val="000000"/>
                        </a:solidFill>
                        <a:effectLst/>
                        <a:latin typeface="Arial" panose="020B0604020202020204" pitchFamily="34" charset="0"/>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ase">
                        <a:lnSpc>
                          <a:spcPts val="1050"/>
                        </a:lnSpc>
                      </a:pPr>
                      <a:r>
                        <a:rPr lang="en-CA" sz="900" b="0" i="0" u="none" strike="noStrike">
                          <a:solidFill>
                            <a:srgbClr val="000000"/>
                          </a:solidFill>
                          <a:effectLst/>
                          <a:latin typeface="Arial"/>
                        </a:rPr>
                        <a:t>1.57x</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916"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1019307"/>
                  </a:ext>
                </a:extLst>
              </a:tr>
              <a:tr h="356363">
                <a:tc>
                  <a:txBody>
                    <a:bodyPr/>
                    <a:lstStyle/>
                    <a:p>
                      <a:pPr algn="l" fontAlgn="base">
                        <a:lnSpc>
                          <a:spcPts val="1050"/>
                        </a:lnSpc>
                      </a:pPr>
                      <a:r>
                        <a:rPr lang="en-CA" sz="900" b="0" i="0" u="none" strike="noStrike">
                          <a:solidFill>
                            <a:srgbClr val="000000"/>
                          </a:solidFill>
                          <a:effectLst/>
                          <a:latin typeface="Arial"/>
                        </a:rPr>
                        <a:t>EV/Gross Profit</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auto">
                        <a:lnSpc>
                          <a:spcPts val="1050"/>
                        </a:lnSpc>
                      </a:pPr>
                      <a:endParaRPr lang="en-CA" sz="900" b="0" i="0" u="none" strike="noStrike">
                        <a:solidFill>
                          <a:srgbClr val="000000"/>
                        </a:solidFill>
                        <a:effectLst/>
                        <a:latin typeface="Arial" panose="020B0604020202020204" pitchFamily="34" charset="0"/>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ase">
                        <a:lnSpc>
                          <a:spcPts val="1050"/>
                        </a:lnSpc>
                      </a:pPr>
                      <a:r>
                        <a:rPr lang="en-CA" sz="900" b="0" i="0" u="none" strike="noStrike">
                          <a:solidFill>
                            <a:srgbClr val="000000"/>
                          </a:solidFill>
                          <a:effectLst/>
                          <a:latin typeface="Arial"/>
                        </a:rPr>
                        <a:t>3.75x</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322819"/>
                  </a:ext>
                </a:extLst>
              </a:tr>
              <a:tr h="356363">
                <a:tc>
                  <a:txBody>
                    <a:bodyPr/>
                    <a:lstStyle/>
                    <a:p>
                      <a:pPr algn="l" fontAlgn="base">
                        <a:lnSpc>
                          <a:spcPts val="1050"/>
                        </a:lnSpc>
                      </a:pPr>
                      <a:r>
                        <a:rPr lang="en-CA" sz="900" b="0" i="0">
                          <a:solidFill>
                            <a:srgbClr val="000000"/>
                          </a:solidFill>
                          <a:effectLst/>
                        </a:rPr>
                        <a:t>Price/Gross Profit</a:t>
                      </a: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auto">
                        <a:lnSpc>
                          <a:spcPts val="1050"/>
                        </a:lnSpc>
                      </a:pPr>
                      <a:endParaRPr lang="en-CA" sz="900" b="0" i="0" u="none" strike="noStrike">
                        <a:solidFill>
                          <a:srgbClr val="000000"/>
                        </a:solidFill>
                        <a:effectLst/>
                        <a:latin typeface="Arial" panose="020B0604020202020204" pitchFamily="34" charset="0"/>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ase">
                        <a:lnSpc>
                          <a:spcPts val="1050"/>
                        </a:lnSpc>
                      </a:pPr>
                      <a:r>
                        <a:rPr lang="en-CA" sz="900" b="0" i="0" u="none" strike="noStrike">
                          <a:solidFill>
                            <a:srgbClr val="000000"/>
                          </a:solidFill>
                          <a:effectLst/>
                          <a:latin typeface="Arial"/>
                        </a:rPr>
                        <a:t>5.25x</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5318251"/>
                  </a:ext>
                </a:extLst>
              </a:tr>
              <a:tr h="250202">
                <a:tc gridSpan="3">
                  <a:txBody>
                    <a:bodyPr/>
                    <a:lstStyle/>
                    <a:p>
                      <a:pPr algn="ctr" fontAlgn="base">
                        <a:lnSpc>
                          <a:spcPts val="1050"/>
                        </a:lnSpc>
                      </a:pPr>
                      <a:r>
                        <a:rPr lang="en-CA" sz="900" b="1" i="0" u="none" strike="noStrike">
                          <a:solidFill>
                            <a:srgbClr val="FFFFFF"/>
                          </a:solidFill>
                          <a:effectLst/>
                          <a:latin typeface="Arial"/>
                        </a:rPr>
                        <a:t>Valuation Summary</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F355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61693599"/>
                  </a:ext>
                </a:extLst>
              </a:tr>
              <a:tr h="353961">
                <a:tc>
                  <a:txBody>
                    <a:bodyPr/>
                    <a:lstStyle/>
                    <a:p>
                      <a:pPr algn="l" fontAlgn="base">
                        <a:lnSpc>
                          <a:spcPts val="1050"/>
                        </a:lnSpc>
                      </a:pPr>
                      <a:r>
                        <a:rPr lang="en-CA" sz="900" b="0" i="0" u="none" strike="noStrike">
                          <a:solidFill>
                            <a:srgbClr val="000000"/>
                          </a:solidFill>
                          <a:effectLst/>
                          <a:latin typeface="Arial"/>
                        </a:rPr>
                        <a:t>Reconciled DCF Share Price</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ts val="1050"/>
                        </a:lnSpc>
                      </a:pPr>
                      <a:endParaRPr lang="en-CA" sz="900" b="0" i="0">
                        <a:solidFill>
                          <a:srgbClr val="000000"/>
                        </a:solidFill>
                        <a:effectLst/>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ase">
                        <a:lnSpc>
                          <a:spcPts val="1050"/>
                        </a:lnSpc>
                      </a:pPr>
                      <a:r>
                        <a:rPr lang="en-CA" sz="900" b="0" i="0">
                          <a:solidFill>
                            <a:srgbClr val="000000"/>
                          </a:solidFill>
                          <a:effectLst/>
                        </a:rPr>
                        <a:t>$23.31</a:t>
                      </a: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916"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2355428"/>
                  </a:ext>
                </a:extLst>
              </a:tr>
              <a:tr h="250202">
                <a:tc>
                  <a:txBody>
                    <a:bodyPr/>
                    <a:lstStyle/>
                    <a:p>
                      <a:pPr algn="l" fontAlgn="base">
                        <a:lnSpc>
                          <a:spcPts val="1050"/>
                        </a:lnSpc>
                      </a:pPr>
                      <a:r>
                        <a:rPr lang="en-CA" sz="900" b="0" i="0" u="none" strike="noStrike">
                          <a:solidFill>
                            <a:srgbClr val="000000"/>
                          </a:solidFill>
                          <a:effectLst/>
                          <a:latin typeface="Arial"/>
                        </a:rPr>
                        <a:t>Implied Upside</a:t>
                      </a:r>
                      <a:endParaRPr lang="en-CA" sz="900" b="0" i="0">
                        <a:solidFill>
                          <a:srgbClr val="000000"/>
                        </a:solidFill>
                        <a:effectLst/>
                        <a:latin typeface="Arial"/>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ts val="1050"/>
                        </a:lnSpc>
                      </a:pPr>
                      <a:endParaRPr lang="en-CA" sz="900" b="0" i="0">
                        <a:solidFill>
                          <a:srgbClr val="000000"/>
                        </a:solidFill>
                        <a:effectLst/>
                      </a:endParaRP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ase">
                        <a:lnSpc>
                          <a:spcPts val="1050"/>
                        </a:lnSpc>
                      </a:pPr>
                      <a:r>
                        <a:rPr lang="en-CA" sz="900" b="0" i="0">
                          <a:solidFill>
                            <a:srgbClr val="000000"/>
                          </a:solidFill>
                          <a:effectLst/>
                        </a:rPr>
                        <a:t>77.27%</a:t>
                      </a:r>
                    </a:p>
                  </a:txBody>
                  <a:tcPr marL="83827" marR="83827" marT="41914" marB="419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8079176"/>
                  </a:ext>
                </a:extLst>
              </a:tr>
            </a:tbl>
          </a:graphicData>
        </a:graphic>
      </p:graphicFrame>
      <p:sp>
        <p:nvSpPr>
          <p:cNvPr id="4" name="Rectangle 1">
            <a:extLst>
              <a:ext uri="{FF2B5EF4-FFF2-40B4-BE49-F238E27FC236}">
                <a16:creationId xmlns:a16="http://schemas.microsoft.com/office/drawing/2014/main" id="{5A8ED15B-6F21-F668-9F05-533468A88F7A}"/>
              </a:ext>
            </a:extLst>
          </p:cNvPr>
          <p:cNvSpPr>
            <a:spLocks noChangeArrowheads="1"/>
          </p:cNvSpPr>
          <p:nvPr/>
        </p:nvSpPr>
        <p:spPr bwMode="auto">
          <a:xfrm>
            <a:off x="5835551" y="1489586"/>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6" name="Chart 5">
            <a:extLst>
              <a:ext uri="{FF2B5EF4-FFF2-40B4-BE49-F238E27FC236}">
                <a16:creationId xmlns:a16="http://schemas.microsoft.com/office/drawing/2014/main" id="{B2BABB7D-B004-6E4D-A8DF-909AFB9E0A09}"/>
              </a:ext>
            </a:extLst>
          </p:cNvPr>
          <p:cNvGraphicFramePr>
            <a:graphicFrameLocks/>
          </p:cNvGraphicFramePr>
          <p:nvPr>
            <p:extLst>
              <p:ext uri="{D42A27DB-BD31-4B8C-83A1-F6EECF244321}">
                <p14:modId xmlns:p14="http://schemas.microsoft.com/office/powerpoint/2010/main" val="3449855510"/>
              </p:ext>
            </p:extLst>
          </p:nvPr>
        </p:nvGraphicFramePr>
        <p:xfrm>
          <a:off x="250825" y="1379635"/>
          <a:ext cx="5117147" cy="2328847"/>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40528892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AEBC693-4ECD-0961-2CE1-1C952BD1ED04}"/>
              </a:ext>
            </a:extLst>
          </p:cNvPr>
          <p:cNvSpPr>
            <a:spLocks noGrp="1"/>
          </p:cNvSpPr>
          <p:nvPr>
            <p:ph type="title"/>
          </p:nvPr>
        </p:nvSpPr>
        <p:spPr/>
        <p:txBody>
          <a:bodyPr/>
          <a:lstStyle/>
          <a:p>
            <a:r>
              <a:rPr lang="en-US"/>
              <a:t>II. Company Overview</a:t>
            </a:r>
          </a:p>
        </p:txBody>
      </p:sp>
      <p:sp>
        <p:nvSpPr>
          <p:cNvPr id="10" name="Text Placeholder 9">
            <a:extLst>
              <a:ext uri="{FF2B5EF4-FFF2-40B4-BE49-F238E27FC236}">
                <a16:creationId xmlns:a16="http://schemas.microsoft.com/office/drawing/2014/main" id="{1EBEA3CC-E59D-2BA3-A2FC-E4DBA2E13276}"/>
              </a:ext>
            </a:extLst>
          </p:cNvPr>
          <p:cNvSpPr>
            <a:spLocks noGrp="1"/>
          </p:cNvSpPr>
          <p:nvPr>
            <p:ph type="body" sz="quarter" idx="18"/>
          </p:nvPr>
        </p:nvSpPr>
        <p:spPr/>
        <p:txBody>
          <a:bodyPr/>
          <a:lstStyle/>
          <a:p>
            <a:endParaRPr lang="en-US"/>
          </a:p>
        </p:txBody>
      </p:sp>
      <p:sp>
        <p:nvSpPr>
          <p:cNvPr id="11" name="Text Placeholder 10">
            <a:extLst>
              <a:ext uri="{FF2B5EF4-FFF2-40B4-BE49-F238E27FC236}">
                <a16:creationId xmlns:a16="http://schemas.microsoft.com/office/drawing/2014/main" id="{38E18A89-7920-8796-CE8B-A08D1FCFFA00}"/>
              </a:ext>
            </a:extLst>
          </p:cNvPr>
          <p:cNvSpPr>
            <a:spLocks noGrp="1"/>
          </p:cNvSpPr>
          <p:nvPr>
            <p:ph type="body" sz="quarter" idx="19"/>
          </p:nvPr>
        </p:nvSpPr>
        <p:spPr/>
        <p:txBody>
          <a:bodyPr/>
          <a:lstStyle/>
          <a:p>
            <a:endParaRPr lang="en-US"/>
          </a:p>
        </p:txBody>
      </p:sp>
    </p:spTree>
    <p:extLst>
      <p:ext uri="{BB962C8B-B14F-4D97-AF65-F5344CB8AC3E}">
        <p14:creationId xmlns:p14="http://schemas.microsoft.com/office/powerpoint/2010/main" val="1049359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BA24EC-0E0E-550A-4821-C0C3030FCACE}"/>
              </a:ext>
            </a:extLst>
          </p:cNvPr>
          <p:cNvSpPr>
            <a:spLocks noGrp="1"/>
          </p:cNvSpPr>
          <p:nvPr>
            <p:ph type="body" sz="quarter" idx="13"/>
          </p:nvPr>
        </p:nvSpPr>
        <p:spPr/>
        <p:txBody>
          <a:bodyPr/>
          <a:lstStyle/>
          <a:p>
            <a:r>
              <a:rPr lang="en-CA" sz="700"/>
              <a:t>Source(s): </a:t>
            </a:r>
            <a:r>
              <a:rPr lang="en-US"/>
              <a:t>Company Website, Lightspeed Q’3 Earnings Slides</a:t>
            </a:r>
          </a:p>
        </p:txBody>
      </p:sp>
      <p:sp>
        <p:nvSpPr>
          <p:cNvPr id="3" name="Text Placeholder 2">
            <a:extLst>
              <a:ext uri="{FF2B5EF4-FFF2-40B4-BE49-F238E27FC236}">
                <a16:creationId xmlns:a16="http://schemas.microsoft.com/office/drawing/2014/main" id="{9A72DF77-351F-17CD-CD2D-6C464790A118}"/>
              </a:ext>
            </a:extLst>
          </p:cNvPr>
          <p:cNvSpPr>
            <a:spLocks noGrp="1"/>
          </p:cNvSpPr>
          <p:nvPr>
            <p:ph type="body" sz="quarter" idx="21"/>
          </p:nvPr>
        </p:nvSpPr>
        <p:spPr/>
        <p:txBody>
          <a:bodyPr vert="horz" lIns="91440" tIns="45720" rIns="91440" bIns="45720" rtlCol="0" anchor="t">
            <a:normAutofit/>
          </a:bodyPr>
          <a:lstStyle/>
          <a:p>
            <a:r>
              <a:rPr lang="en-US"/>
              <a:t>What is Lightspeed?</a:t>
            </a:r>
          </a:p>
        </p:txBody>
      </p:sp>
      <p:sp>
        <p:nvSpPr>
          <p:cNvPr id="4" name="Title 3">
            <a:extLst>
              <a:ext uri="{FF2B5EF4-FFF2-40B4-BE49-F238E27FC236}">
                <a16:creationId xmlns:a16="http://schemas.microsoft.com/office/drawing/2014/main" id="{9DADB980-008F-E8F3-B29E-452120CB8264}"/>
              </a:ext>
            </a:extLst>
          </p:cNvPr>
          <p:cNvSpPr>
            <a:spLocks noGrp="1"/>
          </p:cNvSpPr>
          <p:nvPr>
            <p:ph type="title"/>
          </p:nvPr>
        </p:nvSpPr>
        <p:spPr/>
        <p:txBody>
          <a:bodyPr/>
          <a:lstStyle/>
          <a:p>
            <a:r>
              <a:rPr lang="en-US"/>
              <a:t>Company Overview </a:t>
            </a:r>
          </a:p>
        </p:txBody>
      </p:sp>
      <p:sp>
        <p:nvSpPr>
          <p:cNvPr id="5" name="Text Placeholder 4">
            <a:extLst>
              <a:ext uri="{FF2B5EF4-FFF2-40B4-BE49-F238E27FC236}">
                <a16:creationId xmlns:a16="http://schemas.microsoft.com/office/drawing/2014/main" id="{1FF3FB14-03C3-5FDE-9899-C637CDBB52F8}"/>
              </a:ext>
            </a:extLst>
          </p:cNvPr>
          <p:cNvSpPr>
            <a:spLocks noGrp="1"/>
          </p:cNvSpPr>
          <p:nvPr>
            <p:ph type="body" idx="22"/>
          </p:nvPr>
        </p:nvSpPr>
        <p:spPr/>
        <p:txBody>
          <a:bodyPr/>
          <a:lstStyle/>
          <a:p>
            <a:r>
              <a:rPr lang="en-US"/>
              <a:t>Customer Types</a:t>
            </a:r>
          </a:p>
        </p:txBody>
      </p:sp>
      <p:sp>
        <p:nvSpPr>
          <p:cNvPr id="6" name="Content Placeholder 5">
            <a:extLst>
              <a:ext uri="{FF2B5EF4-FFF2-40B4-BE49-F238E27FC236}">
                <a16:creationId xmlns:a16="http://schemas.microsoft.com/office/drawing/2014/main" id="{6D621F5C-0A0B-AD13-B1A9-021DF7A92231}"/>
              </a:ext>
            </a:extLst>
          </p:cNvPr>
          <p:cNvSpPr>
            <a:spLocks noGrp="1"/>
          </p:cNvSpPr>
          <p:nvPr>
            <p:ph sz="quarter" idx="23"/>
          </p:nvPr>
        </p:nvSpPr>
        <p:spPr/>
        <p:txBody>
          <a:bodyPr>
            <a:normAutofit/>
          </a:bodyPr>
          <a:lstStyle/>
          <a:p>
            <a:r>
              <a:rPr lang="en-US"/>
              <a:t>Lightspeed Commerce provides </a:t>
            </a:r>
            <a:r>
              <a:rPr lang="en-US" b="1"/>
              <a:t>point-of-sales </a:t>
            </a:r>
            <a:r>
              <a:rPr lang="en-US"/>
              <a:t>(POS) and </a:t>
            </a:r>
            <a:r>
              <a:rPr lang="en-US" b="1"/>
              <a:t>e-commerce software, </a:t>
            </a:r>
            <a:r>
              <a:rPr lang="en-US"/>
              <a:t>targeting SMB’s (Small to Medium Sized Businesses) as they are prominent in retail, hospitality (restaurants), and golf industries</a:t>
            </a:r>
          </a:p>
          <a:p>
            <a:r>
              <a:rPr lang="en-US"/>
              <a:t>Lightspeed’s business model is </a:t>
            </a:r>
            <a:r>
              <a:rPr lang="en-US" b="1"/>
              <a:t>subscription-based SaaS </a:t>
            </a:r>
            <a:r>
              <a:rPr lang="en-US"/>
              <a:t>(Software-as-a-Service) with additional revenue streams: </a:t>
            </a:r>
          </a:p>
          <a:p>
            <a:pPr lvl="1"/>
            <a:r>
              <a:rPr lang="en-US"/>
              <a:t>Lightspeed generates its revenue through </a:t>
            </a:r>
            <a:r>
              <a:rPr lang="en-US" b="1"/>
              <a:t>subscription</a:t>
            </a:r>
            <a:r>
              <a:rPr lang="en-US"/>
              <a:t> fees, </a:t>
            </a:r>
            <a:r>
              <a:rPr lang="en-US" b="1"/>
              <a:t>transaction</a:t>
            </a:r>
            <a:r>
              <a:rPr lang="en-US"/>
              <a:t> fees, </a:t>
            </a:r>
            <a:r>
              <a:rPr lang="en-US" b="1"/>
              <a:t>hardware</a:t>
            </a:r>
            <a:r>
              <a:rPr lang="en-US"/>
              <a:t> sale, and other premium products</a:t>
            </a:r>
          </a:p>
          <a:p>
            <a:r>
              <a:rPr lang="en-US"/>
              <a:t>Lightspeed’s objective is to empower SMBs with cloud-bases, all in one commerce platform that enables them to efficiently manage sales, payments, inventory, and customer relations</a:t>
            </a:r>
          </a:p>
          <a:p>
            <a:endParaRPr lang="en-US"/>
          </a:p>
          <a:p>
            <a:pPr lvl="3"/>
            <a:endParaRPr lang="en-US"/>
          </a:p>
          <a:p>
            <a:endParaRPr lang="en-US"/>
          </a:p>
          <a:p>
            <a:endParaRPr lang="en-US"/>
          </a:p>
          <a:p>
            <a:endParaRPr lang="en-US"/>
          </a:p>
        </p:txBody>
      </p:sp>
      <p:sp>
        <p:nvSpPr>
          <p:cNvPr id="7" name="Text Placeholder 6">
            <a:extLst>
              <a:ext uri="{FF2B5EF4-FFF2-40B4-BE49-F238E27FC236}">
                <a16:creationId xmlns:a16="http://schemas.microsoft.com/office/drawing/2014/main" id="{873D3DE9-C5EC-7455-A790-920832166571}"/>
              </a:ext>
            </a:extLst>
          </p:cNvPr>
          <p:cNvSpPr>
            <a:spLocks noGrp="1"/>
          </p:cNvSpPr>
          <p:nvPr>
            <p:ph type="body" idx="26"/>
          </p:nvPr>
        </p:nvSpPr>
        <p:spPr/>
        <p:txBody>
          <a:bodyPr/>
          <a:lstStyle/>
          <a:p>
            <a:r>
              <a:rPr lang="en-US"/>
              <a:t>Business Model</a:t>
            </a:r>
          </a:p>
        </p:txBody>
      </p:sp>
      <p:sp>
        <p:nvSpPr>
          <p:cNvPr id="8" name="Text Placeholder 7">
            <a:extLst>
              <a:ext uri="{FF2B5EF4-FFF2-40B4-BE49-F238E27FC236}">
                <a16:creationId xmlns:a16="http://schemas.microsoft.com/office/drawing/2014/main" id="{303B4F63-351B-3521-E321-190CCEB5B6C0}"/>
              </a:ext>
            </a:extLst>
          </p:cNvPr>
          <p:cNvSpPr>
            <a:spLocks noGrp="1"/>
          </p:cNvSpPr>
          <p:nvPr>
            <p:ph type="body" idx="27"/>
          </p:nvPr>
        </p:nvSpPr>
        <p:spPr/>
        <p:txBody>
          <a:bodyPr/>
          <a:lstStyle/>
          <a:p>
            <a:r>
              <a:rPr lang="en-US"/>
              <a:t>Industry &amp; Market Position</a:t>
            </a:r>
          </a:p>
        </p:txBody>
      </p:sp>
      <p:sp>
        <p:nvSpPr>
          <p:cNvPr id="10" name="Content Placeholder 9">
            <a:extLst>
              <a:ext uri="{FF2B5EF4-FFF2-40B4-BE49-F238E27FC236}">
                <a16:creationId xmlns:a16="http://schemas.microsoft.com/office/drawing/2014/main" id="{4084DEC5-102B-7418-5870-3F46216FB0CD}"/>
              </a:ext>
            </a:extLst>
          </p:cNvPr>
          <p:cNvSpPr>
            <a:spLocks noGrp="1"/>
          </p:cNvSpPr>
          <p:nvPr>
            <p:ph sz="quarter" idx="29"/>
          </p:nvPr>
        </p:nvSpPr>
        <p:spPr/>
        <p:txBody>
          <a:bodyPr/>
          <a:lstStyle/>
          <a:p>
            <a:r>
              <a:rPr lang="en-US"/>
              <a:t>Lightspeed competes with </a:t>
            </a:r>
            <a:r>
              <a:rPr lang="en-US" b="1"/>
              <a:t>Shopify, Block (Square), Toast, and other companies</a:t>
            </a:r>
          </a:p>
          <a:p>
            <a:r>
              <a:rPr lang="en-US"/>
              <a:t>Focuses on omni-channel commerce, focused on integrating physical retail with online sales</a:t>
            </a:r>
          </a:p>
          <a:p>
            <a:r>
              <a:rPr lang="en-US"/>
              <a:t>Leveraging AI to analyze individual businesses and using AI-driven Inventory Management</a:t>
            </a:r>
          </a:p>
          <a:p>
            <a:r>
              <a:rPr lang="en-US"/>
              <a:t>Lightspeed is positioned to capitalize on growing demand for unified commerce solutions</a:t>
            </a:r>
          </a:p>
          <a:p>
            <a:pPr marL="0" indent="0">
              <a:buNone/>
            </a:pPr>
            <a:endParaRPr lang="en-US"/>
          </a:p>
        </p:txBody>
      </p:sp>
      <p:graphicFrame>
        <p:nvGraphicFramePr>
          <p:cNvPr id="15" name="Content Placeholder 14">
            <a:extLst>
              <a:ext uri="{FF2B5EF4-FFF2-40B4-BE49-F238E27FC236}">
                <a16:creationId xmlns:a16="http://schemas.microsoft.com/office/drawing/2014/main" id="{F162E662-FA96-69E7-A739-A11781C97B4A}"/>
              </a:ext>
            </a:extLst>
          </p:cNvPr>
          <p:cNvGraphicFramePr>
            <a:graphicFrameLocks noGrp="1"/>
          </p:cNvGraphicFramePr>
          <p:nvPr>
            <p:ph sz="quarter" idx="30"/>
            <p:extLst>
              <p:ext uri="{D42A27DB-BD31-4B8C-83A1-F6EECF244321}">
                <p14:modId xmlns:p14="http://schemas.microsoft.com/office/powerpoint/2010/main" val="1163245357"/>
              </p:ext>
            </p:extLst>
          </p:nvPr>
        </p:nvGraphicFramePr>
        <p:xfrm>
          <a:off x="4751386" y="4015458"/>
          <a:ext cx="4141787" cy="2177861"/>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 Placeholder 11">
            <a:extLst>
              <a:ext uri="{FF2B5EF4-FFF2-40B4-BE49-F238E27FC236}">
                <a16:creationId xmlns:a16="http://schemas.microsoft.com/office/drawing/2014/main" id="{D69351CD-FBF4-1461-4EE5-5C01D045F8FC}"/>
              </a:ext>
            </a:extLst>
          </p:cNvPr>
          <p:cNvSpPr>
            <a:spLocks noGrp="1"/>
          </p:cNvSpPr>
          <p:nvPr>
            <p:ph type="body" idx="31"/>
          </p:nvPr>
        </p:nvSpPr>
        <p:spPr/>
        <p:txBody>
          <a:bodyPr/>
          <a:lstStyle/>
          <a:p>
            <a:r>
              <a:rPr lang="en-US"/>
              <a:t>Revenue (</a:t>
            </a:r>
            <a:r>
              <a:rPr lang="en-US" i="1"/>
              <a:t>USD mm)</a:t>
            </a:r>
            <a:endParaRPr lang="en-CA"/>
          </a:p>
        </p:txBody>
      </p:sp>
      <p:cxnSp>
        <p:nvCxnSpPr>
          <p:cNvPr id="18" name="Straight Arrow Connector 17">
            <a:extLst>
              <a:ext uri="{FF2B5EF4-FFF2-40B4-BE49-F238E27FC236}">
                <a16:creationId xmlns:a16="http://schemas.microsoft.com/office/drawing/2014/main" id="{6541C9CF-89B5-03CC-2486-CC6E92813550}"/>
              </a:ext>
            </a:extLst>
          </p:cNvPr>
          <p:cNvCxnSpPr>
            <a:cxnSpLocks/>
          </p:cNvCxnSpPr>
          <p:nvPr/>
        </p:nvCxnSpPr>
        <p:spPr>
          <a:xfrm flipV="1">
            <a:off x="5296426" y="4050552"/>
            <a:ext cx="3241182" cy="1398398"/>
          </a:xfrm>
          <a:prstGeom prst="straightConnector1">
            <a:avLst/>
          </a:prstGeom>
          <a:ln w="12700">
            <a:solidFill>
              <a:srgbClr val="0F3557"/>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D569EBF-B844-5AA4-4B76-1E2E87BEF403}"/>
              </a:ext>
            </a:extLst>
          </p:cNvPr>
          <p:cNvSpPr txBox="1"/>
          <p:nvPr/>
        </p:nvSpPr>
        <p:spPr>
          <a:xfrm rot="20166446">
            <a:off x="6459199" y="4509432"/>
            <a:ext cx="915635" cy="230832"/>
          </a:xfrm>
          <a:prstGeom prst="rect">
            <a:avLst/>
          </a:prstGeom>
          <a:noFill/>
        </p:spPr>
        <p:txBody>
          <a:bodyPr wrap="none" rtlCol="0">
            <a:spAutoFit/>
          </a:bodyPr>
          <a:lstStyle/>
          <a:p>
            <a:r>
              <a:rPr lang="en-CA" sz="900" b="1"/>
              <a:t>CAGR 39.0%</a:t>
            </a:r>
          </a:p>
        </p:txBody>
      </p:sp>
      <p:graphicFrame>
        <p:nvGraphicFramePr>
          <p:cNvPr id="16" name="Chart 15">
            <a:extLst>
              <a:ext uri="{FF2B5EF4-FFF2-40B4-BE49-F238E27FC236}">
                <a16:creationId xmlns:a16="http://schemas.microsoft.com/office/drawing/2014/main" id="{5D8CC849-7E34-A72D-7C08-207F22B9DE75}"/>
              </a:ext>
              <a:ext uri="{147F2762-F138-4A5C-976F-8EAC2B608ADB}">
                <a16:predDERef xmlns:a16="http://schemas.microsoft.com/office/drawing/2014/main" pred="{D0AA0D52-558F-DFEC-78F5-46B5221A9FC7}"/>
              </a:ext>
            </a:extLst>
          </p:cNvPr>
          <p:cNvGraphicFramePr>
            <a:graphicFrameLocks/>
          </p:cNvGraphicFramePr>
          <p:nvPr>
            <p:extLst>
              <p:ext uri="{D42A27DB-BD31-4B8C-83A1-F6EECF244321}">
                <p14:modId xmlns:p14="http://schemas.microsoft.com/office/powerpoint/2010/main" val="1881437325"/>
              </p:ext>
            </p:extLst>
          </p:nvPr>
        </p:nvGraphicFramePr>
        <p:xfrm>
          <a:off x="5073761" y="1387383"/>
          <a:ext cx="3497036" cy="21717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040482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A59E12-DE3E-D160-B38E-010F3E2CB46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55DE85C-0B1E-2E76-175A-18360939996A}"/>
              </a:ext>
            </a:extLst>
          </p:cNvPr>
          <p:cNvSpPr>
            <a:spLocks noGrp="1"/>
          </p:cNvSpPr>
          <p:nvPr>
            <p:ph type="body" sz="quarter" idx="13"/>
          </p:nvPr>
        </p:nvSpPr>
        <p:spPr/>
        <p:txBody>
          <a:bodyPr/>
          <a:lstStyle/>
          <a:p>
            <a:r>
              <a:rPr lang="en-CA" sz="700"/>
              <a:t>Source(s): </a:t>
            </a:r>
            <a:r>
              <a:rPr lang="en-US"/>
              <a:t>Company Website, Lightspeed Q’3 Earnings Slides</a:t>
            </a:r>
          </a:p>
          <a:p>
            <a:endParaRPr lang="en-CA"/>
          </a:p>
        </p:txBody>
      </p:sp>
      <p:sp>
        <p:nvSpPr>
          <p:cNvPr id="3" name="Text Placeholder 2">
            <a:extLst>
              <a:ext uri="{FF2B5EF4-FFF2-40B4-BE49-F238E27FC236}">
                <a16:creationId xmlns:a16="http://schemas.microsoft.com/office/drawing/2014/main" id="{64057AAE-B0BC-25B3-FB63-AE1EED7607BB}"/>
              </a:ext>
            </a:extLst>
          </p:cNvPr>
          <p:cNvSpPr>
            <a:spLocks noGrp="1"/>
          </p:cNvSpPr>
          <p:nvPr>
            <p:ph type="body" sz="quarter" idx="21"/>
          </p:nvPr>
        </p:nvSpPr>
        <p:spPr/>
        <p:txBody>
          <a:bodyPr/>
          <a:lstStyle/>
          <a:p>
            <a:r>
              <a:rPr lang="en-US">
                <a:cs typeface="Arial"/>
              </a:rPr>
              <a:t>Understanding Lightspeed</a:t>
            </a:r>
            <a:endParaRPr lang="en-US">
              <a:solidFill>
                <a:srgbClr val="000000"/>
              </a:solidFill>
              <a:cs typeface="Arial"/>
            </a:endParaRPr>
          </a:p>
        </p:txBody>
      </p:sp>
      <p:sp>
        <p:nvSpPr>
          <p:cNvPr id="4" name="Title 3">
            <a:extLst>
              <a:ext uri="{FF2B5EF4-FFF2-40B4-BE49-F238E27FC236}">
                <a16:creationId xmlns:a16="http://schemas.microsoft.com/office/drawing/2014/main" id="{F530B6B8-FDE8-AF4B-57DD-111926606B2B}"/>
              </a:ext>
            </a:extLst>
          </p:cNvPr>
          <p:cNvSpPr>
            <a:spLocks noGrp="1"/>
          </p:cNvSpPr>
          <p:nvPr>
            <p:ph type="title"/>
          </p:nvPr>
        </p:nvSpPr>
        <p:spPr/>
        <p:txBody>
          <a:bodyPr/>
          <a:lstStyle/>
          <a:p>
            <a:r>
              <a:rPr lang="en-US"/>
              <a:t>Company Highlights</a:t>
            </a:r>
            <a:endParaRPr lang="en-CA"/>
          </a:p>
        </p:txBody>
      </p:sp>
      <p:sp>
        <p:nvSpPr>
          <p:cNvPr id="5" name="Text Placeholder 4">
            <a:extLst>
              <a:ext uri="{FF2B5EF4-FFF2-40B4-BE49-F238E27FC236}">
                <a16:creationId xmlns:a16="http://schemas.microsoft.com/office/drawing/2014/main" id="{D78DBC09-2033-7F86-6E03-5AA52044520C}"/>
              </a:ext>
            </a:extLst>
          </p:cNvPr>
          <p:cNvSpPr>
            <a:spLocks noGrp="1"/>
          </p:cNvSpPr>
          <p:nvPr>
            <p:ph type="body" idx="22"/>
          </p:nvPr>
        </p:nvSpPr>
        <p:spPr/>
        <p:txBody>
          <a:bodyPr/>
          <a:lstStyle/>
          <a:p>
            <a:r>
              <a:rPr lang="en-US"/>
              <a:t>Adjusted EBITDA (</a:t>
            </a:r>
            <a:r>
              <a:rPr lang="en-US" i="1"/>
              <a:t>USD mm</a:t>
            </a:r>
            <a:r>
              <a:rPr lang="en-US"/>
              <a:t>)</a:t>
            </a:r>
          </a:p>
        </p:txBody>
      </p:sp>
      <p:sp>
        <p:nvSpPr>
          <p:cNvPr id="6" name="Content Placeholder 5">
            <a:extLst>
              <a:ext uri="{FF2B5EF4-FFF2-40B4-BE49-F238E27FC236}">
                <a16:creationId xmlns:a16="http://schemas.microsoft.com/office/drawing/2014/main" id="{6D4C11B6-3EE5-67E8-45C8-3D0D28D18B8E}"/>
              </a:ext>
            </a:extLst>
          </p:cNvPr>
          <p:cNvSpPr>
            <a:spLocks noGrp="1"/>
          </p:cNvSpPr>
          <p:nvPr>
            <p:ph sz="quarter" idx="23"/>
          </p:nvPr>
        </p:nvSpPr>
        <p:spPr/>
        <p:txBody>
          <a:bodyPr>
            <a:normAutofit/>
          </a:bodyPr>
          <a:lstStyle/>
          <a:p>
            <a:pPr marL="227965" indent="-227965"/>
            <a:r>
              <a:rPr lang="en-US">
                <a:ea typeface="+mj-lt"/>
                <a:cs typeface="+mj-lt"/>
              </a:rPr>
              <a:t>Lightspeed is a global leader in cloud-based commerce solutions, offering </a:t>
            </a:r>
            <a:r>
              <a:rPr lang="en-US" b="1">
                <a:ea typeface="+mj-lt"/>
                <a:cs typeface="+mj-lt"/>
              </a:rPr>
              <a:t>omnichannel engagement</a:t>
            </a:r>
            <a:r>
              <a:rPr lang="en-US">
                <a:ea typeface="+mj-lt"/>
                <a:cs typeface="+mj-lt"/>
              </a:rPr>
              <a:t>, </a:t>
            </a:r>
            <a:r>
              <a:rPr lang="en-US" b="1">
                <a:ea typeface="+mj-lt"/>
                <a:cs typeface="+mj-lt"/>
              </a:rPr>
              <a:t>real-time business insights</a:t>
            </a:r>
            <a:r>
              <a:rPr lang="en-US">
                <a:ea typeface="+mj-lt"/>
                <a:cs typeface="+mj-lt"/>
              </a:rPr>
              <a:t>, and </a:t>
            </a:r>
            <a:r>
              <a:rPr lang="en-US" b="1">
                <a:ea typeface="+mj-lt"/>
                <a:cs typeface="+mj-lt"/>
              </a:rPr>
              <a:t>automated operations</a:t>
            </a:r>
            <a:r>
              <a:rPr lang="en-US">
                <a:ea typeface="+mj-lt"/>
                <a:cs typeface="+mj-lt"/>
              </a:rPr>
              <a:t> to drive efficiency and growth</a:t>
            </a:r>
            <a:endParaRPr lang="en-US"/>
          </a:p>
          <a:p>
            <a:pPr marL="227965" indent="-227965"/>
            <a:r>
              <a:rPr lang="en-US">
                <a:ea typeface="+mj-lt"/>
                <a:cs typeface="+mj-lt"/>
              </a:rPr>
              <a:t>The company empowers retailers, restaurateurs, businesses with an all-in-one platform that integrates point-of-sale (POS) systems, payments, inventory, and analytics for seamless operations.</a:t>
            </a:r>
          </a:p>
          <a:p>
            <a:pPr marL="227965" indent="-227965"/>
            <a:r>
              <a:rPr lang="en-US">
                <a:ea typeface="+mj-lt"/>
                <a:cs typeface="+mj-lt"/>
              </a:rPr>
              <a:t>Lightspeed’s </a:t>
            </a:r>
            <a:r>
              <a:rPr lang="en-US" b="1">
                <a:ea typeface="+mj-lt"/>
                <a:cs typeface="+mj-lt"/>
              </a:rPr>
              <a:t>unified payments system</a:t>
            </a:r>
            <a:r>
              <a:rPr lang="en-US">
                <a:ea typeface="+mj-lt"/>
                <a:cs typeface="+mj-lt"/>
              </a:rPr>
              <a:t> simplifies transactions, while </a:t>
            </a:r>
            <a:r>
              <a:rPr lang="en-US" b="1">
                <a:ea typeface="+mj-lt"/>
                <a:cs typeface="+mj-lt"/>
              </a:rPr>
              <a:t>Lightspeed Capital</a:t>
            </a:r>
            <a:r>
              <a:rPr lang="en-US">
                <a:ea typeface="+mj-lt"/>
                <a:cs typeface="+mj-lt"/>
              </a:rPr>
              <a:t> provides merchants with funding for expansion </a:t>
            </a:r>
            <a:endParaRPr lang="en-US" b="1">
              <a:cs typeface="Arial"/>
            </a:endParaRPr>
          </a:p>
          <a:p>
            <a:pPr marL="227965" indent="-227965"/>
            <a:r>
              <a:rPr lang="en-US">
                <a:ea typeface="+mj-lt"/>
                <a:cs typeface="+mj-lt"/>
              </a:rPr>
              <a:t>Headquartered in Canada, the company is trusted by businesses worldwide, helping them scale with </a:t>
            </a:r>
            <a:r>
              <a:rPr lang="en-US" b="1">
                <a:ea typeface="+mj-lt"/>
                <a:cs typeface="+mj-lt"/>
              </a:rPr>
              <a:t>cutting-edge technology and regulatory compliance</a:t>
            </a:r>
            <a:r>
              <a:rPr lang="en-US">
                <a:ea typeface="+mj-lt"/>
                <a:cs typeface="+mj-lt"/>
              </a:rPr>
              <a:t> across global markets</a:t>
            </a:r>
            <a:endParaRPr lang="en-US">
              <a:latin typeface="+mn-lt"/>
              <a:cs typeface="Arial"/>
            </a:endParaRPr>
          </a:p>
          <a:p>
            <a:pPr marL="0" indent="0">
              <a:buFont typeface="Wingdings" panose="05000000000000000000" pitchFamily="2" charset="2"/>
              <a:buNone/>
            </a:pPr>
            <a:endParaRPr lang="en-US">
              <a:latin typeface="+mn-lt"/>
              <a:cs typeface="Arial"/>
            </a:endParaRPr>
          </a:p>
          <a:p>
            <a:pPr marL="0" indent="0">
              <a:buFont typeface="Wingdings" panose="05000000000000000000" pitchFamily="2" charset="2"/>
              <a:buNone/>
            </a:pPr>
            <a:endParaRPr lang="en-US">
              <a:latin typeface="+mn-lt"/>
            </a:endParaRPr>
          </a:p>
          <a:p>
            <a:pPr marL="227965" indent="-227965"/>
            <a:endParaRPr lang="en-US">
              <a:latin typeface="+mn-lt"/>
            </a:endParaRPr>
          </a:p>
          <a:p>
            <a:pPr marL="227965" indent="-227965"/>
            <a:endParaRPr lang="en-US">
              <a:latin typeface="+mn-lt"/>
            </a:endParaRPr>
          </a:p>
          <a:p>
            <a:pPr marL="227965" indent="-227965"/>
            <a:endParaRPr lang="en-US">
              <a:latin typeface="+mn-lt"/>
            </a:endParaRPr>
          </a:p>
          <a:p>
            <a:pPr marL="227965" indent="-227965"/>
            <a:endParaRPr lang="en-US">
              <a:latin typeface="+mn-lt"/>
            </a:endParaRPr>
          </a:p>
          <a:p>
            <a:pPr marL="0" indent="0">
              <a:buFont typeface="Wingdings" panose="05000000000000000000" pitchFamily="2" charset="2"/>
              <a:buNone/>
            </a:pPr>
            <a:endParaRPr lang="en-US">
              <a:latin typeface="+mn-lt"/>
            </a:endParaRPr>
          </a:p>
          <a:p>
            <a:endParaRPr lang="en-CA"/>
          </a:p>
        </p:txBody>
      </p:sp>
      <p:sp>
        <p:nvSpPr>
          <p:cNvPr id="7" name="Text Placeholder 6">
            <a:extLst>
              <a:ext uri="{FF2B5EF4-FFF2-40B4-BE49-F238E27FC236}">
                <a16:creationId xmlns:a16="http://schemas.microsoft.com/office/drawing/2014/main" id="{78A449D3-79F7-B2D9-251A-15EAC3FB7B76}"/>
              </a:ext>
            </a:extLst>
          </p:cNvPr>
          <p:cNvSpPr>
            <a:spLocks noGrp="1"/>
          </p:cNvSpPr>
          <p:nvPr>
            <p:ph type="body" idx="26"/>
          </p:nvPr>
        </p:nvSpPr>
        <p:spPr/>
        <p:txBody>
          <a:bodyPr/>
          <a:lstStyle/>
          <a:p>
            <a:r>
              <a:rPr lang="fr-FR"/>
              <a:t>Business Description</a:t>
            </a:r>
            <a:endParaRPr lang="en-US"/>
          </a:p>
        </p:txBody>
      </p:sp>
      <p:sp>
        <p:nvSpPr>
          <p:cNvPr id="8" name="Text Placeholder 7">
            <a:extLst>
              <a:ext uri="{FF2B5EF4-FFF2-40B4-BE49-F238E27FC236}">
                <a16:creationId xmlns:a16="http://schemas.microsoft.com/office/drawing/2014/main" id="{62E8A404-EF20-7C68-50BD-28CE5D3C0650}"/>
              </a:ext>
            </a:extLst>
          </p:cNvPr>
          <p:cNvSpPr>
            <a:spLocks noGrp="1"/>
          </p:cNvSpPr>
          <p:nvPr>
            <p:ph type="body" idx="27"/>
          </p:nvPr>
        </p:nvSpPr>
        <p:spPr/>
        <p:txBody>
          <a:bodyPr/>
          <a:lstStyle/>
          <a:p>
            <a:r>
              <a:rPr lang="en-US"/>
              <a:t>Key Developments</a:t>
            </a:r>
          </a:p>
        </p:txBody>
      </p:sp>
      <p:graphicFrame>
        <p:nvGraphicFramePr>
          <p:cNvPr id="14" name="Content Placeholder 13">
            <a:extLst>
              <a:ext uri="{FF2B5EF4-FFF2-40B4-BE49-F238E27FC236}">
                <a16:creationId xmlns:a16="http://schemas.microsoft.com/office/drawing/2014/main" id="{CEFA03DE-4A17-6A0F-38EE-4CDEC42DC3D7}"/>
              </a:ext>
            </a:extLst>
          </p:cNvPr>
          <p:cNvGraphicFramePr>
            <a:graphicFrameLocks noGrp="1"/>
          </p:cNvGraphicFramePr>
          <p:nvPr>
            <p:ph sz="quarter" idx="28"/>
            <p:extLst>
              <p:ext uri="{D42A27DB-BD31-4B8C-83A1-F6EECF244321}">
                <p14:modId xmlns:p14="http://schemas.microsoft.com/office/powerpoint/2010/main" val="3723885540"/>
              </p:ext>
            </p:extLst>
          </p:nvPr>
        </p:nvGraphicFramePr>
        <p:xfrm>
          <a:off x="4751867" y="4012132"/>
          <a:ext cx="4141787" cy="2178050"/>
        </p:xfrm>
        <a:graphic>
          <a:graphicData uri="http://schemas.openxmlformats.org/drawingml/2006/chart">
            <c:chart xmlns:c="http://schemas.openxmlformats.org/drawingml/2006/chart" xmlns:r="http://schemas.openxmlformats.org/officeDocument/2006/relationships" r:id="rId3"/>
          </a:graphicData>
        </a:graphic>
      </p:graphicFrame>
      <p:sp>
        <p:nvSpPr>
          <p:cNvPr id="10" name="Content Placeholder 9">
            <a:extLst>
              <a:ext uri="{FF2B5EF4-FFF2-40B4-BE49-F238E27FC236}">
                <a16:creationId xmlns:a16="http://schemas.microsoft.com/office/drawing/2014/main" id="{CF617D86-7DCF-CB97-03BF-BD9DD218F65C}"/>
              </a:ext>
            </a:extLst>
          </p:cNvPr>
          <p:cNvSpPr>
            <a:spLocks noGrp="1"/>
          </p:cNvSpPr>
          <p:nvPr>
            <p:ph sz="quarter" idx="29"/>
          </p:nvPr>
        </p:nvSpPr>
        <p:spPr/>
        <p:txBody>
          <a:bodyPr>
            <a:normAutofit/>
          </a:bodyPr>
          <a:lstStyle/>
          <a:p>
            <a:pPr marL="227965" indent="-227965"/>
            <a:r>
              <a:rPr lang="en-US" b="1">
                <a:latin typeface="+mn-lt"/>
              </a:rPr>
              <a:t>Rumored Acquisition: </a:t>
            </a:r>
          </a:p>
          <a:p>
            <a:pPr marL="448945" lvl="1" indent="-227965"/>
            <a:r>
              <a:rPr lang="en-US">
                <a:latin typeface="+mn-lt"/>
              </a:rPr>
              <a:t>Lightspeed is currently in discussion for a small-scale acquisition, while the financial details remain undisclosed. In the second quarter, the company raised over $287.6 million for this potential acquisition.</a:t>
            </a:r>
          </a:p>
          <a:p>
            <a:pPr marL="227965" indent="-227965"/>
            <a:r>
              <a:rPr lang="en-US" b="1">
                <a:latin typeface="+mn-lt"/>
              </a:rPr>
              <a:t>Beating Analyst Estimates:</a:t>
            </a:r>
            <a:endParaRPr lang="en-US"/>
          </a:p>
          <a:p>
            <a:pPr marL="448945" lvl="1" indent="-227965"/>
            <a:r>
              <a:rPr lang="en-US">
                <a:latin typeface="+mn-lt"/>
              </a:rPr>
              <a:t>Revenue hit 277.18 Million beating estimates of 273.90 Million. Additionally, LSPD topped Q4 Estimates by 0.02 EPS indicating higher growth than initially expected</a:t>
            </a:r>
            <a:endParaRPr lang="en-US" b="1"/>
          </a:p>
          <a:p>
            <a:pPr marL="227965" indent="-227965"/>
            <a:r>
              <a:rPr lang="en-US" b="1"/>
              <a:t>Stock Buy-Back: </a:t>
            </a:r>
            <a:r>
              <a:rPr lang="en-US"/>
              <a:t>LSPD plans to buy back 400 Million of its stock</a:t>
            </a:r>
          </a:p>
          <a:p>
            <a:pPr marL="448945" lvl="1" indent="-227965"/>
            <a:r>
              <a:rPr lang="en-US">
                <a:latin typeface="+mn-lt"/>
              </a:rPr>
              <a:t>100 Million of the total will be repurchased immediately. This announcement comes after LSPD is searching for a way to integrate AI and improve inventory management to free up more capital for growth</a:t>
            </a:r>
          </a:p>
        </p:txBody>
      </p:sp>
      <p:sp>
        <p:nvSpPr>
          <p:cNvPr id="12" name="Text Placeholder 11">
            <a:extLst>
              <a:ext uri="{FF2B5EF4-FFF2-40B4-BE49-F238E27FC236}">
                <a16:creationId xmlns:a16="http://schemas.microsoft.com/office/drawing/2014/main" id="{3FEBEE74-9776-0672-CC2D-22425C50B151}"/>
              </a:ext>
            </a:extLst>
          </p:cNvPr>
          <p:cNvSpPr>
            <a:spLocks noGrp="1"/>
          </p:cNvSpPr>
          <p:nvPr>
            <p:ph type="body" idx="31"/>
          </p:nvPr>
        </p:nvSpPr>
        <p:spPr/>
        <p:txBody>
          <a:bodyPr/>
          <a:lstStyle/>
          <a:p>
            <a:r>
              <a:rPr lang="en-US"/>
              <a:t>Stock Buy-back Breakdown </a:t>
            </a:r>
            <a:r>
              <a:rPr lang="en-US" i="1"/>
              <a:t>(USD mm)</a:t>
            </a:r>
          </a:p>
        </p:txBody>
      </p:sp>
      <p:graphicFrame>
        <p:nvGraphicFramePr>
          <p:cNvPr id="20" name="Content Placeholder 19">
            <a:extLst>
              <a:ext uri="{FF2B5EF4-FFF2-40B4-BE49-F238E27FC236}">
                <a16:creationId xmlns:a16="http://schemas.microsoft.com/office/drawing/2014/main" id="{82FEB5FD-7296-7084-B8D1-AB70850C8A07}"/>
              </a:ext>
            </a:extLst>
          </p:cNvPr>
          <p:cNvGraphicFramePr>
            <a:graphicFrameLocks noGrp="1"/>
          </p:cNvGraphicFramePr>
          <p:nvPr>
            <p:ph sz="quarter" idx="30"/>
            <p:extLst>
              <p:ext uri="{D42A27DB-BD31-4B8C-83A1-F6EECF244321}">
                <p14:modId xmlns:p14="http://schemas.microsoft.com/office/powerpoint/2010/main" val="1227308991"/>
              </p:ext>
            </p:extLst>
          </p:nvPr>
        </p:nvGraphicFramePr>
        <p:xfrm>
          <a:off x="4751387" y="1389113"/>
          <a:ext cx="4141788" cy="217646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48201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2601001-C36B-2857-9FF7-3ECD702A7AFA}"/>
              </a:ext>
            </a:extLst>
          </p:cNvPr>
          <p:cNvSpPr>
            <a:spLocks noGrp="1"/>
          </p:cNvSpPr>
          <p:nvPr>
            <p:ph type="body" sz="quarter" idx="13"/>
          </p:nvPr>
        </p:nvSpPr>
        <p:spPr/>
        <p:txBody>
          <a:bodyPr/>
          <a:lstStyle/>
          <a:p>
            <a:r>
              <a:rPr lang="en-CA" sz="700"/>
              <a:t>Source(s): </a:t>
            </a:r>
            <a:r>
              <a:rPr lang="en-US"/>
              <a:t>Company Website, Lightspeed Q’3 Earnings Slides</a:t>
            </a:r>
          </a:p>
        </p:txBody>
      </p:sp>
      <p:sp>
        <p:nvSpPr>
          <p:cNvPr id="3" name="Text Placeholder 2">
            <a:extLst>
              <a:ext uri="{FF2B5EF4-FFF2-40B4-BE49-F238E27FC236}">
                <a16:creationId xmlns:a16="http://schemas.microsoft.com/office/drawing/2014/main" id="{CE7C7C79-3172-2A91-E181-714659B5133C}"/>
              </a:ext>
            </a:extLst>
          </p:cNvPr>
          <p:cNvSpPr>
            <a:spLocks noGrp="1"/>
          </p:cNvSpPr>
          <p:nvPr>
            <p:ph type="body" sz="quarter" idx="21"/>
          </p:nvPr>
        </p:nvSpPr>
        <p:spPr/>
        <p:txBody>
          <a:bodyPr/>
          <a:lstStyle/>
          <a:p>
            <a:r>
              <a:rPr lang="en-CA"/>
              <a:t>Lightspeed’s Vast Product Offerings vs. Competitors’ Product Offerings </a:t>
            </a:r>
          </a:p>
        </p:txBody>
      </p:sp>
      <p:sp>
        <p:nvSpPr>
          <p:cNvPr id="4" name="Title 3">
            <a:extLst>
              <a:ext uri="{FF2B5EF4-FFF2-40B4-BE49-F238E27FC236}">
                <a16:creationId xmlns:a16="http://schemas.microsoft.com/office/drawing/2014/main" id="{38C5FCE7-557E-4605-A7B3-69834CC75B0F}"/>
              </a:ext>
            </a:extLst>
          </p:cNvPr>
          <p:cNvSpPr>
            <a:spLocks noGrp="1"/>
          </p:cNvSpPr>
          <p:nvPr>
            <p:ph type="title"/>
          </p:nvPr>
        </p:nvSpPr>
        <p:spPr/>
        <p:txBody>
          <a:bodyPr/>
          <a:lstStyle/>
          <a:p>
            <a:r>
              <a:rPr lang="en-CA"/>
              <a:t>Lightspeed’s Product Offerings</a:t>
            </a:r>
          </a:p>
        </p:txBody>
      </p:sp>
      <p:sp>
        <p:nvSpPr>
          <p:cNvPr id="6" name="Text Placeholder 5">
            <a:extLst>
              <a:ext uri="{FF2B5EF4-FFF2-40B4-BE49-F238E27FC236}">
                <a16:creationId xmlns:a16="http://schemas.microsoft.com/office/drawing/2014/main" id="{06A21AEE-7798-6027-B1AE-C97B54350613}"/>
              </a:ext>
            </a:extLst>
          </p:cNvPr>
          <p:cNvSpPr>
            <a:spLocks noGrp="1"/>
          </p:cNvSpPr>
          <p:nvPr>
            <p:ph type="body" idx="26"/>
          </p:nvPr>
        </p:nvSpPr>
        <p:spPr/>
        <p:txBody>
          <a:bodyPr/>
          <a:lstStyle/>
          <a:p>
            <a:r>
              <a:rPr lang="en-CA"/>
              <a:t>Lightspeed Product Offering</a:t>
            </a:r>
          </a:p>
        </p:txBody>
      </p:sp>
      <p:sp>
        <p:nvSpPr>
          <p:cNvPr id="7" name="Text Placeholder 6">
            <a:extLst>
              <a:ext uri="{FF2B5EF4-FFF2-40B4-BE49-F238E27FC236}">
                <a16:creationId xmlns:a16="http://schemas.microsoft.com/office/drawing/2014/main" id="{E4077A5A-87E7-560B-8ACC-804EFE60CA17}"/>
              </a:ext>
            </a:extLst>
          </p:cNvPr>
          <p:cNvSpPr>
            <a:spLocks noGrp="1"/>
          </p:cNvSpPr>
          <p:nvPr>
            <p:ph type="body" idx="27"/>
          </p:nvPr>
        </p:nvSpPr>
        <p:spPr/>
        <p:txBody>
          <a:bodyPr/>
          <a:lstStyle/>
          <a:p>
            <a:r>
              <a:rPr lang="en-CA"/>
              <a:t>Features Available With Lightspeed vs. Competitors</a:t>
            </a:r>
          </a:p>
        </p:txBody>
      </p:sp>
      <p:graphicFrame>
        <p:nvGraphicFramePr>
          <p:cNvPr id="22" name="Content Placeholder 21">
            <a:extLst>
              <a:ext uri="{FF2B5EF4-FFF2-40B4-BE49-F238E27FC236}">
                <a16:creationId xmlns:a16="http://schemas.microsoft.com/office/drawing/2014/main" id="{8113E9E7-2CCE-EF16-45AA-CC7F5C7A30B9}"/>
              </a:ext>
            </a:extLst>
          </p:cNvPr>
          <p:cNvGraphicFramePr>
            <a:graphicFrameLocks noGrp="1"/>
          </p:cNvGraphicFramePr>
          <p:nvPr>
            <p:ph sz="quarter" idx="29"/>
            <p:extLst>
              <p:ext uri="{D42A27DB-BD31-4B8C-83A1-F6EECF244321}">
                <p14:modId xmlns:p14="http://schemas.microsoft.com/office/powerpoint/2010/main" val="876184916"/>
              </p:ext>
            </p:extLst>
          </p:nvPr>
        </p:nvGraphicFramePr>
        <p:xfrm>
          <a:off x="250825" y="4014788"/>
          <a:ext cx="8642350" cy="21780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ontent Placeholder 26">
            <a:extLst>
              <a:ext uri="{FF2B5EF4-FFF2-40B4-BE49-F238E27FC236}">
                <a16:creationId xmlns:a16="http://schemas.microsoft.com/office/drawing/2014/main" id="{2B6AC870-0568-D60C-947F-3410F36F5C70}"/>
              </a:ext>
            </a:extLst>
          </p:cNvPr>
          <p:cNvGraphicFramePr>
            <a:graphicFrameLocks noGrp="1"/>
          </p:cNvGraphicFramePr>
          <p:nvPr>
            <p:ph sz="quarter" idx="23"/>
            <p:extLst>
              <p:ext uri="{D42A27DB-BD31-4B8C-83A1-F6EECF244321}">
                <p14:modId xmlns:p14="http://schemas.microsoft.com/office/powerpoint/2010/main" val="3006796798"/>
              </p:ext>
            </p:extLst>
          </p:nvPr>
        </p:nvGraphicFramePr>
        <p:xfrm>
          <a:off x="250826" y="1420819"/>
          <a:ext cx="8642345" cy="22253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151483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0270434-F926-FAD6-9491-AEDCCD21154B}"/>
              </a:ext>
            </a:extLst>
          </p:cNvPr>
          <p:cNvSpPr>
            <a:spLocks noGrp="1"/>
          </p:cNvSpPr>
          <p:nvPr>
            <p:ph type="body" sz="quarter" idx="13"/>
          </p:nvPr>
        </p:nvSpPr>
        <p:spPr/>
        <p:txBody>
          <a:bodyPr/>
          <a:lstStyle/>
          <a:p>
            <a:r>
              <a:rPr lang="en-US"/>
              <a:t>Source(s): Capital IQ, FactSet, Company Website, Annual Report, Note that all figures shown are in CAD</a:t>
            </a:r>
          </a:p>
        </p:txBody>
      </p:sp>
      <p:sp>
        <p:nvSpPr>
          <p:cNvPr id="7" name="Text Placeholder 6">
            <a:extLst>
              <a:ext uri="{FF2B5EF4-FFF2-40B4-BE49-F238E27FC236}">
                <a16:creationId xmlns:a16="http://schemas.microsoft.com/office/drawing/2014/main" id="{DFFD8A52-4043-D255-FACD-261356667ECD}"/>
              </a:ext>
            </a:extLst>
          </p:cNvPr>
          <p:cNvSpPr>
            <a:spLocks noGrp="1"/>
          </p:cNvSpPr>
          <p:nvPr>
            <p:ph type="body" sz="quarter" idx="21"/>
          </p:nvPr>
        </p:nvSpPr>
        <p:spPr/>
        <p:txBody>
          <a:bodyPr/>
          <a:lstStyle/>
          <a:p>
            <a:r>
              <a:rPr lang="en-US"/>
              <a:t>Segmented Revenue Breakdown</a:t>
            </a:r>
          </a:p>
        </p:txBody>
      </p:sp>
      <p:sp>
        <p:nvSpPr>
          <p:cNvPr id="8" name="Title 7">
            <a:extLst>
              <a:ext uri="{FF2B5EF4-FFF2-40B4-BE49-F238E27FC236}">
                <a16:creationId xmlns:a16="http://schemas.microsoft.com/office/drawing/2014/main" id="{7B757AE6-418D-7F43-C421-C671A6A3E81C}"/>
              </a:ext>
            </a:extLst>
          </p:cNvPr>
          <p:cNvSpPr>
            <a:spLocks noGrp="1"/>
          </p:cNvSpPr>
          <p:nvPr>
            <p:ph type="title"/>
          </p:nvPr>
        </p:nvSpPr>
        <p:spPr/>
        <p:txBody>
          <a:bodyPr/>
          <a:lstStyle/>
          <a:p>
            <a:r>
              <a:rPr lang="en-US"/>
              <a:t>Revenue Breakdown</a:t>
            </a:r>
          </a:p>
        </p:txBody>
      </p:sp>
      <p:sp>
        <p:nvSpPr>
          <p:cNvPr id="10" name="Text Placeholder 9">
            <a:extLst>
              <a:ext uri="{FF2B5EF4-FFF2-40B4-BE49-F238E27FC236}">
                <a16:creationId xmlns:a16="http://schemas.microsoft.com/office/drawing/2014/main" id="{972D857C-2219-E949-94AF-06C95AEC0EFC}"/>
              </a:ext>
            </a:extLst>
          </p:cNvPr>
          <p:cNvSpPr>
            <a:spLocks noGrp="1"/>
          </p:cNvSpPr>
          <p:nvPr>
            <p:ph type="body" idx="22"/>
          </p:nvPr>
        </p:nvSpPr>
        <p:spPr/>
        <p:txBody>
          <a:bodyPr/>
          <a:lstStyle/>
          <a:p>
            <a:r>
              <a:rPr lang="en-US"/>
              <a:t>Revenue Segmentation by Channel (FY24) </a:t>
            </a:r>
          </a:p>
        </p:txBody>
      </p:sp>
      <p:sp>
        <p:nvSpPr>
          <p:cNvPr id="11" name="Content Placeholder 10">
            <a:extLst>
              <a:ext uri="{FF2B5EF4-FFF2-40B4-BE49-F238E27FC236}">
                <a16:creationId xmlns:a16="http://schemas.microsoft.com/office/drawing/2014/main" id="{B0434A7E-E35C-23B0-292F-F55553CFA903}"/>
              </a:ext>
            </a:extLst>
          </p:cNvPr>
          <p:cNvSpPr>
            <a:spLocks noGrp="1"/>
          </p:cNvSpPr>
          <p:nvPr>
            <p:ph sz="quarter" idx="23"/>
          </p:nvPr>
        </p:nvSpPr>
        <p:spPr/>
        <p:txBody>
          <a:bodyPr>
            <a:normAutofit/>
          </a:bodyPr>
          <a:lstStyle/>
          <a:p>
            <a:r>
              <a:rPr lang="en-US"/>
              <a:t>Transaction-based channels showcase the strongest revenues followed by subscription-based</a:t>
            </a:r>
          </a:p>
          <a:p>
            <a:pPr lvl="1"/>
            <a:r>
              <a:rPr lang="en-US"/>
              <a:t>Take rate for transactions </a:t>
            </a:r>
            <a:r>
              <a:rPr lang="en-US" b="1"/>
              <a:t>~2.6-2.9% plus 10-30</a:t>
            </a:r>
            <a:r>
              <a:rPr lang="en-CA" b="1"/>
              <a:t>¢</a:t>
            </a:r>
            <a:endParaRPr lang="en-US" b="1"/>
          </a:p>
          <a:p>
            <a:r>
              <a:rPr lang="en-US"/>
              <a:t>Businesses pay a recurring subscription fee based on the specific plan, segment, and features they require</a:t>
            </a:r>
          </a:p>
          <a:p>
            <a:pPr lvl="1"/>
            <a:r>
              <a:rPr lang="en-US" b="1"/>
              <a:t>Retail</a:t>
            </a:r>
            <a:r>
              <a:rPr lang="en-US"/>
              <a:t> base cost of </a:t>
            </a:r>
            <a:r>
              <a:rPr lang="en-US" b="1"/>
              <a:t>$119 </a:t>
            </a:r>
            <a:r>
              <a:rPr lang="en-US"/>
              <a:t>monthly, but can vary depending on business needs</a:t>
            </a:r>
            <a:endParaRPr lang="en-US" b="1"/>
          </a:p>
          <a:p>
            <a:pPr lvl="1"/>
            <a:r>
              <a:rPr lang="en-US" b="1"/>
              <a:t>Restaurant</a:t>
            </a:r>
            <a:r>
              <a:rPr lang="en-US"/>
              <a:t> base cost of </a:t>
            </a:r>
            <a:r>
              <a:rPr lang="en-US" b="1"/>
              <a:t>$239 </a:t>
            </a:r>
            <a:r>
              <a:rPr lang="en-US"/>
              <a:t>monthly, but can be adjusted to business needs</a:t>
            </a:r>
          </a:p>
          <a:p>
            <a:r>
              <a:rPr lang="en-US"/>
              <a:t>Hardware sold vary from iPad displays, receipt printers, scanners, transaction terminals, and many more</a:t>
            </a:r>
          </a:p>
          <a:p>
            <a:pPr lvl="1"/>
            <a:r>
              <a:rPr lang="en-US" b="1"/>
              <a:t>Hardware</a:t>
            </a:r>
            <a:r>
              <a:rPr lang="en-US"/>
              <a:t> prices can range from </a:t>
            </a:r>
            <a:r>
              <a:rPr lang="en-US" b="1"/>
              <a:t>$30 to $400+ </a:t>
            </a:r>
            <a:r>
              <a:rPr lang="en-US"/>
              <a:t>depending on type</a:t>
            </a:r>
          </a:p>
        </p:txBody>
      </p:sp>
      <p:sp>
        <p:nvSpPr>
          <p:cNvPr id="12" name="Text Placeholder 11">
            <a:extLst>
              <a:ext uri="{FF2B5EF4-FFF2-40B4-BE49-F238E27FC236}">
                <a16:creationId xmlns:a16="http://schemas.microsoft.com/office/drawing/2014/main" id="{7EF6F771-902A-D704-4366-846DE65DFF96}"/>
              </a:ext>
            </a:extLst>
          </p:cNvPr>
          <p:cNvSpPr>
            <a:spLocks noGrp="1"/>
          </p:cNvSpPr>
          <p:nvPr>
            <p:ph type="body" idx="26"/>
          </p:nvPr>
        </p:nvSpPr>
        <p:spPr/>
        <p:txBody>
          <a:bodyPr/>
          <a:lstStyle/>
          <a:p>
            <a:r>
              <a:rPr lang="en-US"/>
              <a:t>Revenue Segments </a:t>
            </a:r>
          </a:p>
        </p:txBody>
      </p:sp>
      <p:sp>
        <p:nvSpPr>
          <p:cNvPr id="13" name="Text Placeholder 12">
            <a:extLst>
              <a:ext uri="{FF2B5EF4-FFF2-40B4-BE49-F238E27FC236}">
                <a16:creationId xmlns:a16="http://schemas.microsoft.com/office/drawing/2014/main" id="{98CEE33B-C107-BB40-CC4E-4E1EFFBCE387}"/>
              </a:ext>
            </a:extLst>
          </p:cNvPr>
          <p:cNvSpPr>
            <a:spLocks noGrp="1"/>
          </p:cNvSpPr>
          <p:nvPr>
            <p:ph type="body" idx="27"/>
          </p:nvPr>
        </p:nvSpPr>
        <p:spPr/>
        <p:txBody>
          <a:bodyPr/>
          <a:lstStyle/>
          <a:p>
            <a:r>
              <a:rPr lang="en-US"/>
              <a:t>Revenue Segmentation by Region (FY24)</a:t>
            </a:r>
          </a:p>
        </p:txBody>
      </p:sp>
      <p:sp>
        <p:nvSpPr>
          <p:cNvPr id="17" name="Text Placeholder 16">
            <a:extLst>
              <a:ext uri="{FF2B5EF4-FFF2-40B4-BE49-F238E27FC236}">
                <a16:creationId xmlns:a16="http://schemas.microsoft.com/office/drawing/2014/main" id="{307203D3-A40E-AA08-0CA1-70C8FE6228A7}"/>
              </a:ext>
            </a:extLst>
          </p:cNvPr>
          <p:cNvSpPr>
            <a:spLocks noGrp="1"/>
          </p:cNvSpPr>
          <p:nvPr>
            <p:ph type="body" idx="31"/>
          </p:nvPr>
        </p:nvSpPr>
        <p:spPr/>
        <p:txBody>
          <a:bodyPr/>
          <a:lstStyle/>
          <a:p>
            <a:r>
              <a:rPr lang="en-US"/>
              <a:t>YoY % Revenue Growth by Segment (FY24)</a:t>
            </a:r>
          </a:p>
        </p:txBody>
      </p:sp>
      <p:graphicFrame>
        <p:nvGraphicFramePr>
          <p:cNvPr id="14" name="Content Placeholder 13">
            <a:extLst>
              <a:ext uri="{FF2B5EF4-FFF2-40B4-BE49-F238E27FC236}">
                <a16:creationId xmlns:a16="http://schemas.microsoft.com/office/drawing/2014/main" id="{029114CA-01C7-4CD4-2799-6D733EEF93E1}"/>
              </a:ext>
            </a:extLst>
          </p:cNvPr>
          <p:cNvGraphicFramePr>
            <a:graphicFrameLocks noGrp="1"/>
          </p:cNvGraphicFramePr>
          <p:nvPr>
            <p:ph sz="quarter" idx="30"/>
            <p:extLst>
              <p:ext uri="{D42A27DB-BD31-4B8C-83A1-F6EECF244321}">
                <p14:modId xmlns:p14="http://schemas.microsoft.com/office/powerpoint/2010/main" val="3079350268"/>
              </p:ext>
            </p:extLst>
          </p:nvPr>
        </p:nvGraphicFramePr>
        <p:xfrm>
          <a:off x="4751388" y="4014788"/>
          <a:ext cx="4141787" cy="21780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ontent Placeholder 17">
            <a:extLst>
              <a:ext uri="{FF2B5EF4-FFF2-40B4-BE49-F238E27FC236}">
                <a16:creationId xmlns:a16="http://schemas.microsoft.com/office/drawing/2014/main" id="{4630AE13-97CE-60EC-531D-5BA651B18853}"/>
              </a:ext>
            </a:extLst>
          </p:cNvPr>
          <p:cNvGraphicFramePr>
            <a:graphicFrameLocks noGrp="1"/>
          </p:cNvGraphicFramePr>
          <p:nvPr>
            <p:ph sz="quarter" idx="29"/>
            <p:extLst>
              <p:ext uri="{D42A27DB-BD31-4B8C-83A1-F6EECF244321}">
                <p14:modId xmlns:p14="http://schemas.microsoft.com/office/powerpoint/2010/main" val="936589409"/>
              </p:ext>
            </p:extLst>
          </p:nvPr>
        </p:nvGraphicFramePr>
        <p:xfrm>
          <a:off x="250825" y="4014788"/>
          <a:ext cx="4141788" cy="21780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Content Placeholder 23">
            <a:extLst>
              <a:ext uri="{FF2B5EF4-FFF2-40B4-BE49-F238E27FC236}">
                <a16:creationId xmlns:a16="http://schemas.microsoft.com/office/drawing/2014/main" id="{15EE75C4-5218-AED9-183A-B367A54E99BF}"/>
              </a:ext>
            </a:extLst>
          </p:cNvPr>
          <p:cNvGraphicFramePr>
            <a:graphicFrameLocks noGrp="1"/>
          </p:cNvGraphicFramePr>
          <p:nvPr>
            <p:ph sz="quarter" idx="28"/>
            <p:extLst>
              <p:ext uri="{D42A27DB-BD31-4B8C-83A1-F6EECF244321}">
                <p14:modId xmlns:p14="http://schemas.microsoft.com/office/powerpoint/2010/main" val="2297710900"/>
              </p:ext>
            </p:extLst>
          </p:nvPr>
        </p:nvGraphicFramePr>
        <p:xfrm>
          <a:off x="4751388" y="1384300"/>
          <a:ext cx="4141787" cy="21780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94330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a2b292bd-f88b-41dd-a361-e58abce3f06d"/>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Calibri&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quot; customLayoutIndex=&quot;3&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hideSeparatingSlides=&quot;0&quot; createSections=&quot;0&quot; singleSlideId=&quot;1cd913cb-a2a2-467d-a71b-aab388b5dc87&quot; backupSlideId=&quot;8ff4a81a-da3e-4578-9bb3-4e01671b9953&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1.8497&quot; /&gt;&lt;column field=&quot;responsible&quot; label=&quot;Responsible&quot; visible=&quot;1&quot; checked=&quot;1&quot; leftSpacing=&quot;10&quot; rightDistribute=&quot;1&quot; dock=&quot;1&quot; rightSpacing=&quot;51.8497&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fa06727-855d-449b-81e9-fed7d030b982&quot; parentId=&quot;&quot; level=&quot;1&quot; generateAgendaSlide=&quot;1&quot; showAgendaItem=&quot;1&quot; isBreak=&quot;0&quot; topic=&quot;Executive Summary&quot; agendaSlideId=&quot;072b1f53-2534-4d49-96f8-f88f1e4f41e5&quot; /&gt;&lt;item duration=&quot;30&quot; id=&quot;071f5b9c-dea0-4607-9122-84a4d86b33e4&quot; parentId=&quot;&quot; level=&quot;1&quot; generateAgendaSlide=&quot;1&quot; showAgendaItem=&quot;1&quot; isBreak=&quot;0&quot; topic=&quot;TFS Investment Group Overview&quot; agendaSlideId=&quot;bb86328d-c677-40e3-8a9d-d0deab97b825&quot; /&gt;&lt;item duration=&quot;30&quot; id=&quot;a151a993-562e-46b9-8635-eae5be0a501c&quot; parentId=&quot;&quot; level=&quot;1&quot; generateAgendaSlide=&quot;1&quot; showAgendaItem=&quot;1&quot; isBreak=&quot;0&quot; topic=&quot;Creating Recurring Revenue Streams&quot; agendaSlideId=&quot;e73efe9a-6de2-4b1a-9e73-31393ae3b283&quot; /&gt;&lt;item duration=&quot;30&quot; id=&quot;b80e7a37-faad-48f6-bd61-323fd6038f9c&quot; parentId=&quot;&quot; level=&quot;1&quot; generateAgendaSlide=&quot;1&quot; showAgendaItem=&quot;1&quot; isBreak=&quot;0&quot; topic=&quot;Promoting Career Development at Telfer&quot; agendaSlideId=&quot;2d987822-1ed9-4a95-b640-a3f0aade5265&quot; /&gt;&lt;item duration=&quot;30&quot; id=&quot;f31f5914-dc68-45c2-918a-c4207b2be562&quot; parentId=&quot;&quot; level=&quot;1&quot; generateAgendaSlide=&quot;1&quot; showAgendaItem=&quot;1&quot; isBreak=&quot;0&quot; topic=&quot;Proven Comitmment and Success&quot; agendaSlideId=&quot;69f49ccd-f9f1-4232-bb44-5f8557c0b150&quot; /&gt;&lt;item duration=&quot;30&quot; id=&quot;9a556651-20ca-4df2-9334-d99830bbebc1&quot; parentId=&quot;&quot; level=&quot;1&quot; generateAgendaSlide=&quot;1&quot; showAgendaItem=&quot;1&quot; isBreak=&quot;0&quot; topic=&quot;Conclusion&quot; agendaSlideId=&quot;8c6d1885-37e4-4e36-9908-7953be4e3fb1&quot; /&gt;&lt;/items&gt;&lt;/agenda&gt;&lt;/contents&gt;&lt;/ee4p&gt;"/>
  <p:tag name="EE4P_AGENDAWIZARD_UPDATEPAGENUMBERS" val="1"/>
  <p:tag name="DH_FLYSHEET_STYLE" val="1"/>
  <p:tag name="MM_STAMP_CONVERTED" val="True"/>
  <p:tag name="MM_SECTION_CONVERTED" val="True"/>
</p:tagLst>
</file>

<file path=ppt/tags/tag10.xml><?xml version="1.0" encoding="utf-8"?>
<p:tagLst xmlns:a="http://schemas.openxmlformats.org/drawingml/2006/main" xmlns:r="http://schemas.openxmlformats.org/officeDocument/2006/relationships" xmlns:p="http://schemas.openxmlformats.org/presentationml/2006/main">
  <p:tag name="MM_SLIDE_TYPE" val="6"/>
</p:tagLst>
</file>

<file path=ppt/tags/tag11.xml><?xml version="1.0" encoding="utf-8"?>
<p:tagLst xmlns:a="http://schemas.openxmlformats.org/drawingml/2006/main" xmlns:r="http://schemas.openxmlformats.org/officeDocument/2006/relationships" xmlns:p="http://schemas.openxmlformats.org/presentationml/2006/main">
  <p:tag name="MM_SLIDE_TYPE" val="6"/>
</p:tagLst>
</file>

<file path=ppt/tags/tag12.xml><?xml version="1.0" encoding="utf-8"?>
<p:tagLst xmlns:a="http://schemas.openxmlformats.org/drawingml/2006/main" xmlns:r="http://schemas.openxmlformats.org/officeDocument/2006/relationships" xmlns:p="http://schemas.openxmlformats.org/presentationml/2006/main">
  <p:tag name="PRESCENTERCHARTINGCHARTSBYID" val="3"/>
  <p:tag name="PRESCENTERCHARTINGCHARTS" val="Content Placeholder 2"/>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MM_SLIDE_TYPE" val="6"/>
</p:tagLst>
</file>

<file path=ppt/tags/tag9.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1_office theme">
  <a:themeElements>
    <a:clrScheme name="TFSIG">
      <a:dk1>
        <a:srgbClr val="000000"/>
      </a:dk1>
      <a:lt1>
        <a:srgbClr val="FFFFFF"/>
      </a:lt1>
      <a:dk2>
        <a:srgbClr val="0F3557"/>
      </a:dk2>
      <a:lt2>
        <a:srgbClr val="DDDDDD"/>
      </a:lt2>
      <a:accent1>
        <a:srgbClr val="0F3557"/>
      </a:accent1>
      <a:accent2>
        <a:srgbClr val="2E89DB"/>
      </a:accent2>
      <a:accent3>
        <a:srgbClr val="74B1E7"/>
      </a:accent3>
      <a:accent4>
        <a:srgbClr val="DDD9C3"/>
      </a:accent4>
      <a:accent5>
        <a:srgbClr val="081A2C"/>
      </a:accent5>
      <a:accent6>
        <a:srgbClr val="DDDDDD"/>
      </a:accent6>
      <a:hlink>
        <a:srgbClr val="2E89DA"/>
      </a:hlink>
      <a:folHlink>
        <a:srgbClr val="954EC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TFSIG">
      <a:dk1>
        <a:srgbClr val="000000"/>
      </a:dk1>
      <a:lt1>
        <a:srgbClr val="FFFFFF"/>
      </a:lt1>
      <a:dk2>
        <a:srgbClr val="0F3557"/>
      </a:dk2>
      <a:lt2>
        <a:srgbClr val="DDDDDD"/>
      </a:lt2>
      <a:accent1>
        <a:srgbClr val="0F3557"/>
      </a:accent1>
      <a:accent2>
        <a:srgbClr val="2E89DB"/>
      </a:accent2>
      <a:accent3>
        <a:srgbClr val="74B1E7"/>
      </a:accent3>
      <a:accent4>
        <a:srgbClr val="DDD9C3"/>
      </a:accent4>
      <a:accent5>
        <a:srgbClr val="081A2C"/>
      </a:accent5>
      <a:accent6>
        <a:srgbClr val="DDDDDD"/>
      </a:accent6>
      <a:hlink>
        <a:srgbClr val="2E89DA"/>
      </a:hlink>
      <a:folHlink>
        <a:srgbClr val="954EC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ACFC9ADE09C944F84622B237F87DF4A" ma:contentTypeVersion="21" ma:contentTypeDescription="Create a new document." ma:contentTypeScope="" ma:versionID="8d2670d17de97ec6d3070c0484a002e8">
  <xsd:schema xmlns:xsd="http://www.w3.org/2001/XMLSchema" xmlns:xs="http://www.w3.org/2001/XMLSchema" xmlns:p="http://schemas.microsoft.com/office/2006/metadata/properties" xmlns:ns2="c39ba54e-b9a3-472f-97db-793996792a5d" xmlns:ns3="8bf10d9e-fd70-4a8e-b55f-cacebec34d2e" targetNamespace="http://schemas.microsoft.com/office/2006/metadata/properties" ma:root="true" ma:fieldsID="f80de8a10bd4be04ed3a1f3083aa8c31" ns2:_="" ns3:_="">
    <xsd:import namespace="c39ba54e-b9a3-472f-97db-793996792a5d"/>
    <xsd:import namespace="8bf10d9e-fd70-4a8e-b55f-cacebec34d2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3:SharedWithUsers" minOccurs="0"/>
                <xsd:element ref="ns3:SharedWithDetails" minOccurs="0"/>
                <xsd:element ref="ns2:MediaServiceAutoKeyPoints" minOccurs="0"/>
                <xsd:element ref="ns2:MediaServiceKeyPoints" minOccurs="0"/>
                <xsd:element ref="ns3:TaxCatchAll" minOccurs="0"/>
                <xsd:element ref="ns2:lcf76f155ced4ddcb4097134ff3c332f"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9ba54e-b9a3-472f-97db-793996792a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Length (seconds)" ma:internalName="MediaLengthInSeconds" ma:readOnly="true">
      <xsd:simpleType>
        <xsd:restriction base="dms:Unknow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c489762-de54-417b-aa3d-8bc484f7f14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bf10d9e-fd70-4a8e-b55f-cacebec34d2e"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1e4305bd-66e6-421e-8214-70507df77962}" ma:internalName="TaxCatchAll" ma:showField="CatchAllData" ma:web="8bf10d9e-fd70-4a8e-b55f-cacebec34d2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39ba54e-b9a3-472f-97db-793996792a5d">
      <Terms xmlns="http://schemas.microsoft.com/office/infopath/2007/PartnerControls"/>
    </lcf76f155ced4ddcb4097134ff3c332f>
    <TaxCatchAll xmlns="8bf10d9e-fd70-4a8e-b55f-cacebec34d2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736B50-B058-4EEB-B477-3AC5AF08F1B9}">
  <ds:schemaRefs>
    <ds:schemaRef ds:uri="8bf10d9e-fd70-4a8e-b55f-cacebec34d2e"/>
    <ds:schemaRef ds:uri="c39ba54e-b9a3-472f-97db-793996792a5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D7BE7B98-0BB1-4828-9DFF-944178163F34}">
  <ds:schemaRefs>
    <ds:schemaRef ds:uri="8bf10d9e-fd70-4a8e-b55f-cacebec34d2e"/>
    <ds:schemaRef ds:uri="c39ba54e-b9a3-472f-97db-793996792a5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30F41EB-6E74-4DBA-8A56-CFF2468D453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On-screen Show (4:3)</PresentationFormat>
  <Slides>38</Slides>
  <Notes>10</Notes>
  <HiddenSlides>0</HiddenSlides>
  <ScaleCrop>false</ScaleCrop>
  <HeadingPairs>
    <vt:vector size="4" baseType="variant">
      <vt:variant>
        <vt:lpstr>Theme</vt:lpstr>
      </vt:variant>
      <vt:variant>
        <vt:i4>2</vt:i4>
      </vt:variant>
      <vt:variant>
        <vt:lpstr>Slide Titles</vt:lpstr>
      </vt:variant>
      <vt:variant>
        <vt:i4>38</vt:i4>
      </vt:variant>
    </vt:vector>
  </HeadingPairs>
  <TitlesOfParts>
    <vt:vector size="40" baseType="lpstr">
      <vt:lpstr>1_office theme</vt:lpstr>
      <vt:lpstr>1_office theme</vt:lpstr>
      <vt:lpstr>Lightspeed Commerce (NYSE: LSPD)</vt:lpstr>
      <vt:lpstr>Agenda</vt:lpstr>
      <vt:lpstr>I. Executive Summary</vt:lpstr>
      <vt:lpstr>Executive Summary</vt:lpstr>
      <vt:lpstr>II. Company Overview</vt:lpstr>
      <vt:lpstr>Company Overview </vt:lpstr>
      <vt:lpstr>Company Highlights</vt:lpstr>
      <vt:lpstr>Lightspeed’s Product Offerings</vt:lpstr>
      <vt:lpstr>Revenue Breakdown</vt:lpstr>
      <vt:lpstr>III. Industry Overview</vt:lpstr>
      <vt:lpstr>Industry Outlook</vt:lpstr>
      <vt:lpstr>Competitor Market Share</vt:lpstr>
      <vt:lpstr>IV. Risks &amp; Catalysts</vt:lpstr>
      <vt:lpstr>Risks and Potential Mitigants</vt:lpstr>
      <vt:lpstr>Catalysts</vt:lpstr>
      <vt:lpstr>V. Investment Theses</vt:lpstr>
      <vt:lpstr>Thesis I </vt:lpstr>
      <vt:lpstr>Thesis II</vt:lpstr>
      <vt:lpstr>VI. Valuation</vt:lpstr>
      <vt:lpstr>Drivers, Assumptions, Key Risks, and Catalysts</vt:lpstr>
      <vt:lpstr>Key Assumptions</vt:lpstr>
      <vt:lpstr>Long Term DCF Valuation Summary</vt:lpstr>
      <vt:lpstr>Comparable Companies Overview</vt:lpstr>
      <vt:lpstr>Comparable Companies</vt:lpstr>
      <vt:lpstr>Relative Valuation Summary</vt:lpstr>
      <vt:lpstr>Recommendation Summary</vt:lpstr>
      <vt:lpstr>PowerPoint Presentation</vt:lpstr>
      <vt:lpstr>VII. Appendix </vt:lpstr>
      <vt:lpstr>Appendix I</vt:lpstr>
      <vt:lpstr>Appendix II - Executive Management Overview</vt:lpstr>
      <vt:lpstr>Appendix III - DCF Sensitivity Analysis</vt:lpstr>
      <vt:lpstr>Appendix IV - Bear Case DCF Valuation Summary</vt:lpstr>
      <vt:lpstr>Appendix V – NWC Schedule</vt:lpstr>
      <vt:lpstr>Appendix VI - Reverse DCF</vt:lpstr>
      <vt:lpstr>TMTH Coverage Group</vt:lpstr>
      <vt:lpstr>TMTH Coverage Group</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cas Raponi</dc:creator>
  <cp:revision>1</cp:revision>
  <dcterms:created xsi:type="dcterms:W3CDTF">2021-06-09T21:16:59Z</dcterms:created>
  <dcterms:modified xsi:type="dcterms:W3CDTF">2025-02-24T18:1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CFC9ADE09C944F84622B237F87DF4A</vt:lpwstr>
  </property>
  <property fmtid="{D5CDD505-2E9C-101B-9397-08002B2CF9AE}" pid="3" name="MediaServiceImageTags">
    <vt:lpwstr/>
  </property>
</Properties>
</file>